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theme/theme3.xml" ContentType="application/vnd.openxmlformats-officedocument.theme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8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9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666" r:id="rId1"/>
    <p:sldMasterId id="2147484677" r:id="rId2"/>
    <p:sldMasterId id="2147484791" r:id="rId3"/>
    <p:sldMasterId id="2147483673" r:id="rId4"/>
  </p:sldMasterIdLst>
  <p:notesMasterIdLst>
    <p:notesMasterId r:id="rId50"/>
  </p:notesMasterIdLst>
  <p:sldIdLst>
    <p:sldId id="257" r:id="rId5"/>
    <p:sldId id="1214" r:id="rId6"/>
    <p:sldId id="1212" r:id="rId7"/>
    <p:sldId id="1026" r:id="rId8"/>
    <p:sldId id="1027" r:id="rId9"/>
    <p:sldId id="1028" r:id="rId10"/>
    <p:sldId id="1029" r:id="rId11"/>
    <p:sldId id="306" r:id="rId12"/>
    <p:sldId id="260" r:id="rId13"/>
    <p:sldId id="258" r:id="rId14"/>
    <p:sldId id="992" r:id="rId15"/>
    <p:sldId id="962" r:id="rId16"/>
    <p:sldId id="1150" r:id="rId17"/>
    <p:sldId id="297" r:id="rId18"/>
    <p:sldId id="265" r:id="rId19"/>
    <p:sldId id="298" r:id="rId20"/>
    <p:sldId id="266" r:id="rId21"/>
    <p:sldId id="267" r:id="rId22"/>
    <p:sldId id="299" r:id="rId23"/>
    <p:sldId id="307" r:id="rId24"/>
    <p:sldId id="268" r:id="rId25"/>
    <p:sldId id="1215" r:id="rId26"/>
    <p:sldId id="1160" r:id="rId27"/>
    <p:sldId id="1216" r:id="rId28"/>
    <p:sldId id="1161" r:id="rId29"/>
    <p:sldId id="1217" r:id="rId30"/>
    <p:sldId id="1162" r:id="rId31"/>
    <p:sldId id="1218" r:id="rId32"/>
    <p:sldId id="1219" r:id="rId33"/>
    <p:sldId id="1220" r:id="rId34"/>
    <p:sldId id="1221" r:id="rId35"/>
    <p:sldId id="1207" r:id="rId36"/>
    <p:sldId id="1037" r:id="rId37"/>
    <p:sldId id="1223" r:id="rId38"/>
    <p:sldId id="447" r:id="rId39"/>
    <p:sldId id="481" r:id="rId40"/>
    <p:sldId id="477" r:id="rId41"/>
    <p:sldId id="478" r:id="rId42"/>
    <p:sldId id="482" r:id="rId43"/>
    <p:sldId id="472" r:id="rId44"/>
    <p:sldId id="479" r:id="rId45"/>
    <p:sldId id="483" r:id="rId46"/>
    <p:sldId id="951" r:id="rId47"/>
    <p:sldId id="1190" r:id="rId48"/>
    <p:sldId id="1051" r:id="rId4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C2A8560-FF66-0098-8005-CFDFBDB362E8}" name="Maria Villagomez" initials="MV" userId="S::ogi4543@ads.northwestern.edu::e92d45fd-7dc8-4227-8501-db99678a156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79A4831-6E7F-090E-4D30-CD3A6B3750C0}" v="1" dt="2025-09-11T16:42:31.78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72" autoAdjust="0"/>
    <p:restoredTop sz="94660"/>
  </p:normalViewPr>
  <p:slideViewPr>
    <p:cSldViewPr snapToGrid="0">
      <p:cViewPr varScale="1">
        <p:scale>
          <a:sx n="65" d="100"/>
          <a:sy n="65" d="100"/>
        </p:scale>
        <p:origin x="52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notesMaster" Target="notesMasters/notesMaster1.xml"/><Relationship Id="rId55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heme" Target="theme/theme1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microsoft.com/office/2015/10/relationships/revisionInfo" Target="revisionInfo.xml"/><Relationship Id="rId8" Type="http://schemas.openxmlformats.org/officeDocument/2006/relationships/slide" Target="slides/slide4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microsoft.com/office/2018/10/relationships/authors" Target="author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a Villagomez" userId="S::ogi4543@ads.northwestern.edu::e92d45fd-7dc8-4227-8501-db99678a1568" providerId="AD" clId="Web-{979A4831-6E7F-090E-4D30-CD3A6B3750C0}"/>
    <pc:docChg chg="modSld">
      <pc:chgData name="Maria Villagomez" userId="S::ogi4543@ads.northwestern.edu::e92d45fd-7dc8-4227-8501-db99678a1568" providerId="AD" clId="Web-{979A4831-6E7F-090E-4D30-CD3A6B3750C0}" dt="2025-09-11T16:42:31.784" v="0" actId="1076"/>
      <pc:docMkLst>
        <pc:docMk/>
      </pc:docMkLst>
      <pc:sldChg chg="modSp">
        <pc:chgData name="Maria Villagomez" userId="S::ogi4543@ads.northwestern.edu::e92d45fd-7dc8-4227-8501-db99678a1568" providerId="AD" clId="Web-{979A4831-6E7F-090E-4D30-CD3A6B3750C0}" dt="2025-09-11T16:42:31.784" v="0" actId="1076"/>
        <pc:sldMkLst>
          <pc:docMk/>
          <pc:sldMk cId="0" sldId="268"/>
        </pc:sldMkLst>
        <pc:spChg chg="mod">
          <ac:chgData name="Maria Villagomez" userId="S::ogi4543@ads.northwestern.edu::e92d45fd-7dc8-4227-8501-db99678a1568" providerId="AD" clId="Web-{979A4831-6E7F-090E-4D30-CD3A6B3750C0}" dt="2025-09-11T16:42:31.784" v="0" actId="1076"/>
          <ac:spMkLst>
            <pc:docMk/>
            <pc:sldMk cId="0" sldId="268"/>
            <ac:spMk id="2" creationId="{95A0BCCE-55BC-4DDC-8A2A-5EED42F50487}"/>
          </ac:spMkLst>
        </pc:spChg>
      </pc:sldChg>
    </pc:docChg>
  </pc:docChgLst>
</pc:chgInfo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image" Target="../media/image118.svg"/><Relationship Id="rId1" Type="http://schemas.openxmlformats.org/officeDocument/2006/relationships/image" Target="../media/image117.png"/><Relationship Id="rId6" Type="http://schemas.openxmlformats.org/officeDocument/2006/relationships/image" Target="../media/image122.svg"/><Relationship Id="rId5" Type="http://schemas.openxmlformats.org/officeDocument/2006/relationships/image" Target="../media/image121.png"/><Relationship Id="rId4" Type="http://schemas.openxmlformats.org/officeDocument/2006/relationships/image" Target="../media/image120.sv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image" Target="../media/image118.svg"/><Relationship Id="rId1" Type="http://schemas.openxmlformats.org/officeDocument/2006/relationships/image" Target="../media/image117.png"/><Relationship Id="rId6" Type="http://schemas.openxmlformats.org/officeDocument/2006/relationships/image" Target="../media/image122.svg"/><Relationship Id="rId5" Type="http://schemas.openxmlformats.org/officeDocument/2006/relationships/image" Target="../media/image121.png"/><Relationship Id="rId4" Type="http://schemas.openxmlformats.org/officeDocument/2006/relationships/image" Target="../media/image120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2CED47C-38E7-467C-8A1C-1BD722891462}" type="doc">
      <dgm:prSet loTypeId="urn:microsoft.com/office/officeart/2005/8/layout/list1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DF8C36AC-D358-44C1-8CCF-864E48E9EE34}">
      <dgm:prSet phldrT="[Text]" phldr="0"/>
      <dgm:spPr/>
      <dgm:t>
        <a:bodyPr/>
        <a:lstStyle/>
        <a:p>
          <a:pPr rtl="0"/>
          <a:r>
            <a:rPr lang="en-US" dirty="0">
              <a:solidFill>
                <a:schemeClr val="bg1"/>
              </a:solidFill>
              <a:latin typeface="DM Sans"/>
            </a:rPr>
            <a:t> </a:t>
          </a:r>
          <a:r>
            <a:rPr lang="en-US" b="1" dirty="0">
              <a:solidFill>
                <a:schemeClr val="bg1"/>
              </a:solidFill>
              <a:latin typeface="DM Sans"/>
            </a:rPr>
            <a:t>Submit your Data! </a:t>
          </a:r>
        </a:p>
      </dgm:t>
    </dgm:pt>
    <dgm:pt modelId="{77454E31-4BF7-45E4-A61C-C06BAD198ECF}" type="parTrans" cxnId="{F1C85135-8472-433E-98BE-532497A42780}">
      <dgm:prSet/>
      <dgm:spPr/>
      <dgm:t>
        <a:bodyPr/>
        <a:lstStyle/>
        <a:p>
          <a:endParaRPr lang="en-US"/>
        </a:p>
      </dgm:t>
    </dgm:pt>
    <dgm:pt modelId="{62C93ADB-50F5-4FEA-A9D2-CBD05A488FB7}" type="sibTrans" cxnId="{F1C85135-8472-433E-98BE-532497A42780}">
      <dgm:prSet/>
      <dgm:spPr/>
      <dgm:t>
        <a:bodyPr/>
        <a:lstStyle/>
        <a:p>
          <a:endParaRPr lang="en-US"/>
        </a:p>
      </dgm:t>
    </dgm:pt>
    <dgm:pt modelId="{277CB91B-1C42-48E8-9BA7-10FC79E64F8E}">
      <dgm:prSet phldrT="[Text]" phldr="0"/>
      <dgm:spPr/>
      <dgm:t>
        <a:bodyPr/>
        <a:lstStyle/>
        <a:p>
          <a:pPr rtl="0"/>
          <a:r>
            <a:rPr lang="en-US" b="1" dirty="0">
              <a:solidFill>
                <a:schemeClr val="bg1"/>
              </a:solidFill>
              <a:latin typeface="DM Sans"/>
            </a:rPr>
            <a:t>Call for QI Abstracts! </a:t>
          </a:r>
        </a:p>
      </dgm:t>
    </dgm:pt>
    <dgm:pt modelId="{03D7C569-4529-4991-A0C2-8E79BCD76571}" type="parTrans" cxnId="{DBC449FF-D23E-4F26-BCA7-82B94996073D}">
      <dgm:prSet/>
      <dgm:spPr/>
      <dgm:t>
        <a:bodyPr/>
        <a:lstStyle/>
        <a:p>
          <a:endParaRPr lang="en-US"/>
        </a:p>
      </dgm:t>
    </dgm:pt>
    <dgm:pt modelId="{93624452-662B-4F58-934A-EBE2E5B0D4AB}" type="sibTrans" cxnId="{DBC449FF-D23E-4F26-BCA7-82B94996073D}">
      <dgm:prSet/>
      <dgm:spPr/>
      <dgm:t>
        <a:bodyPr/>
        <a:lstStyle/>
        <a:p>
          <a:endParaRPr lang="en-US"/>
        </a:p>
      </dgm:t>
    </dgm:pt>
    <dgm:pt modelId="{78D4CC8F-2595-4059-ACA1-7005FE483A37}">
      <dgm:prSet phldrT="[Text]" phldr="0"/>
      <dgm:spPr/>
      <dgm:t>
        <a:bodyPr/>
        <a:lstStyle/>
        <a:p>
          <a:pPr rtl="0"/>
          <a:r>
            <a:rPr lang="en-US" dirty="0">
              <a:latin typeface="DM Sans"/>
            </a:rPr>
            <a:t> </a:t>
          </a:r>
          <a:r>
            <a:rPr lang="en-US" b="1" dirty="0">
              <a:latin typeface="DM Sans"/>
            </a:rPr>
            <a:t>Info coming soon!</a:t>
          </a:r>
          <a:r>
            <a:rPr lang="en-US" dirty="0">
              <a:latin typeface="DM Sans"/>
            </a:rPr>
            <a:t> All hospital teams are asked to submit an abstract on their QI work (can be in progress).</a:t>
          </a:r>
        </a:p>
      </dgm:t>
    </dgm:pt>
    <dgm:pt modelId="{A251C99C-8B3D-40DF-81A9-D7542C43875E}" type="parTrans" cxnId="{4FCE7C92-D06E-417F-8E44-A664565D79CE}">
      <dgm:prSet/>
      <dgm:spPr/>
      <dgm:t>
        <a:bodyPr/>
        <a:lstStyle/>
        <a:p>
          <a:endParaRPr lang="en-US"/>
        </a:p>
      </dgm:t>
    </dgm:pt>
    <dgm:pt modelId="{881FC4F4-45E5-4ACC-B91A-47999364CD20}" type="sibTrans" cxnId="{4FCE7C92-D06E-417F-8E44-A664565D79CE}">
      <dgm:prSet/>
      <dgm:spPr/>
      <dgm:t>
        <a:bodyPr/>
        <a:lstStyle/>
        <a:p>
          <a:endParaRPr lang="en-US"/>
        </a:p>
      </dgm:t>
    </dgm:pt>
    <dgm:pt modelId="{6F528CE6-C1A3-4D2B-81A0-CFCEB0EBAD90}">
      <dgm:prSet phldr="0"/>
      <dgm:spPr/>
      <dgm:t>
        <a:bodyPr/>
        <a:lstStyle/>
        <a:p>
          <a:pPr rtl="0"/>
          <a:r>
            <a:rPr lang="en-US" b="1" u="none" dirty="0">
              <a:solidFill>
                <a:schemeClr val="bg1"/>
              </a:solidFill>
              <a:latin typeface="DM Sans"/>
            </a:rPr>
            <a:t>ILPQC Annual Conference Teams </a:t>
          </a:r>
          <a:r>
            <a:rPr lang="en-US" b="1" dirty="0">
              <a:solidFill>
                <a:schemeClr val="bg1"/>
              </a:solidFill>
              <a:latin typeface="DM Sans"/>
            </a:rPr>
            <a:t>Survey! </a:t>
          </a:r>
        </a:p>
      </dgm:t>
    </dgm:pt>
    <dgm:pt modelId="{62346CA0-5B88-4CE8-914A-B6CEB57871F1}" type="parTrans" cxnId="{B6080AEF-5965-4743-A061-CDC32CC39582}">
      <dgm:prSet/>
      <dgm:spPr/>
      <dgm:t>
        <a:bodyPr/>
        <a:lstStyle/>
        <a:p>
          <a:endParaRPr lang="en-US"/>
        </a:p>
      </dgm:t>
    </dgm:pt>
    <dgm:pt modelId="{45C9E60D-23B6-41EB-9B7D-9BC15733F6D1}" type="sibTrans" cxnId="{B6080AEF-5965-4743-A061-CDC32CC39582}">
      <dgm:prSet/>
      <dgm:spPr/>
      <dgm:t>
        <a:bodyPr/>
        <a:lstStyle/>
        <a:p>
          <a:endParaRPr lang="en-US"/>
        </a:p>
      </dgm:t>
    </dgm:pt>
    <dgm:pt modelId="{9A286409-755C-47F6-978F-0B1056CDF2D2}">
      <dgm:prSet phldr="0"/>
      <dgm:spPr/>
      <dgm:t>
        <a:bodyPr/>
        <a:lstStyle/>
        <a:p>
          <a:pPr rtl="0"/>
          <a:r>
            <a:rPr lang="en-US" dirty="0">
              <a:latin typeface="DM Sans"/>
            </a:rPr>
            <a:t>We want to hear from you! </a:t>
          </a:r>
          <a:r>
            <a:rPr lang="en-US" b="1" dirty="0">
              <a:latin typeface="DM Sans"/>
            </a:rPr>
            <a:t>Survey opens in Sept!</a:t>
          </a:r>
        </a:p>
      </dgm:t>
    </dgm:pt>
    <dgm:pt modelId="{9291BA0D-48AB-4364-A092-0919F94C1470}" type="parTrans" cxnId="{8D6E092E-58C8-4D72-B870-0D2F549755C5}">
      <dgm:prSet/>
      <dgm:spPr/>
      <dgm:t>
        <a:bodyPr/>
        <a:lstStyle/>
        <a:p>
          <a:endParaRPr lang="en-US"/>
        </a:p>
      </dgm:t>
    </dgm:pt>
    <dgm:pt modelId="{EDFE8248-1123-45BE-80CC-ED04D63ECAF9}" type="sibTrans" cxnId="{8D6E092E-58C8-4D72-B870-0D2F549755C5}">
      <dgm:prSet/>
      <dgm:spPr/>
      <dgm:t>
        <a:bodyPr/>
        <a:lstStyle/>
        <a:p>
          <a:endParaRPr lang="en-US"/>
        </a:p>
      </dgm:t>
    </dgm:pt>
    <dgm:pt modelId="{F521A60E-AF20-4BC8-BB3E-652F6286D34A}">
      <dgm:prSet phldr="0"/>
      <dgm:spPr/>
      <dgm:t>
        <a:bodyPr/>
        <a:lstStyle/>
        <a:p>
          <a:pPr rtl="0"/>
          <a:r>
            <a:rPr lang="en-US" dirty="0">
              <a:latin typeface="DM Sans"/>
            </a:rPr>
            <a:t>This is a great opportunity to share your teams' thoughts &amp; insights reflecting on 2025 and planning for 2026!</a:t>
          </a:r>
        </a:p>
      </dgm:t>
    </dgm:pt>
    <dgm:pt modelId="{B9351DEB-1B71-494B-81A5-B8A2DF00679D}" type="parTrans" cxnId="{07D213BB-362D-4146-B0ED-D8CC3F3F30C5}">
      <dgm:prSet/>
      <dgm:spPr/>
      <dgm:t>
        <a:bodyPr/>
        <a:lstStyle/>
        <a:p>
          <a:endParaRPr lang="en-US"/>
        </a:p>
      </dgm:t>
    </dgm:pt>
    <dgm:pt modelId="{50985435-0157-41A4-B0CC-BC30B5F0CED9}" type="sibTrans" cxnId="{07D213BB-362D-4146-B0ED-D8CC3F3F30C5}">
      <dgm:prSet/>
      <dgm:spPr/>
      <dgm:t>
        <a:bodyPr/>
        <a:lstStyle/>
        <a:p>
          <a:endParaRPr lang="en-US"/>
        </a:p>
      </dgm:t>
    </dgm:pt>
    <dgm:pt modelId="{7DB66FD1-DB95-4E83-9973-27B94C4E32F0}">
      <dgm:prSet phldr="0"/>
      <dgm:spPr/>
      <dgm:t>
        <a:bodyPr/>
        <a:lstStyle/>
        <a:p>
          <a:r>
            <a:rPr lang="en-US" dirty="0">
              <a:latin typeface="DM Sans"/>
            </a:rPr>
            <a:t>All data baseline-August 2025 will be </a:t>
          </a:r>
          <a:r>
            <a:rPr lang="en-US" b="1" dirty="0">
              <a:latin typeface="DM Sans"/>
            </a:rPr>
            <a:t>due on September 30</a:t>
          </a:r>
          <a:r>
            <a:rPr lang="en-US" b="1" baseline="30000" dirty="0">
              <a:latin typeface="DM Sans"/>
            </a:rPr>
            <a:t>th</a:t>
          </a:r>
          <a:r>
            <a:rPr lang="en-US" b="1" dirty="0">
              <a:latin typeface="DM Sans"/>
            </a:rPr>
            <a:t>, 2025,</a:t>
          </a:r>
          <a:r>
            <a:rPr lang="en-US" dirty="0">
              <a:latin typeface="DM Sans"/>
            </a:rPr>
            <a:t> for award consideration.</a:t>
          </a:r>
          <a:endParaRPr lang="en-US" b="1" dirty="0">
            <a:latin typeface="DM Sans"/>
          </a:endParaRPr>
        </a:p>
      </dgm:t>
    </dgm:pt>
    <dgm:pt modelId="{8ADBA68A-2F57-443B-A36D-89F41C697784}" type="parTrans" cxnId="{D091DFF4-39E8-4F5A-B8FF-9951A0C5E310}">
      <dgm:prSet/>
      <dgm:spPr/>
      <dgm:t>
        <a:bodyPr/>
        <a:lstStyle/>
        <a:p>
          <a:endParaRPr lang="en-US"/>
        </a:p>
      </dgm:t>
    </dgm:pt>
    <dgm:pt modelId="{CBC0D908-B9A4-4932-BF1F-5715E8C42184}" type="sibTrans" cxnId="{D091DFF4-39E8-4F5A-B8FF-9951A0C5E310}">
      <dgm:prSet/>
      <dgm:spPr/>
      <dgm:t>
        <a:bodyPr/>
        <a:lstStyle/>
        <a:p>
          <a:endParaRPr lang="en-US"/>
        </a:p>
      </dgm:t>
    </dgm:pt>
    <dgm:pt modelId="{7DE4044A-91ED-4C0D-84FC-AFAFFCE36CC7}" type="pres">
      <dgm:prSet presAssocID="{92CED47C-38E7-467C-8A1C-1BD722891462}" presName="linear" presStyleCnt="0">
        <dgm:presLayoutVars>
          <dgm:dir/>
          <dgm:animLvl val="lvl"/>
          <dgm:resizeHandles val="exact"/>
        </dgm:presLayoutVars>
      </dgm:prSet>
      <dgm:spPr/>
    </dgm:pt>
    <dgm:pt modelId="{0AF318F5-4834-4567-8FBD-BAC7ADA6E4BF}" type="pres">
      <dgm:prSet presAssocID="{DF8C36AC-D358-44C1-8CCF-864E48E9EE34}" presName="parentLin" presStyleCnt="0"/>
      <dgm:spPr/>
    </dgm:pt>
    <dgm:pt modelId="{01652856-29DD-4888-97C1-C7B2FCEF24C9}" type="pres">
      <dgm:prSet presAssocID="{DF8C36AC-D358-44C1-8CCF-864E48E9EE34}" presName="parentLeftMargin" presStyleLbl="node1" presStyleIdx="0" presStyleCnt="3"/>
      <dgm:spPr/>
    </dgm:pt>
    <dgm:pt modelId="{717BC3C2-DA22-4D51-A406-9086CACDDF9B}" type="pres">
      <dgm:prSet presAssocID="{DF8C36AC-D358-44C1-8CCF-864E48E9EE34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04A28FF3-818A-4AA3-9665-79EF4E644B0D}" type="pres">
      <dgm:prSet presAssocID="{DF8C36AC-D358-44C1-8CCF-864E48E9EE34}" presName="negativeSpace" presStyleCnt="0"/>
      <dgm:spPr/>
    </dgm:pt>
    <dgm:pt modelId="{42DD2E0E-F49E-4BE0-95A3-709CC9C0A47F}" type="pres">
      <dgm:prSet presAssocID="{DF8C36AC-D358-44C1-8CCF-864E48E9EE34}" presName="childText" presStyleLbl="conFgAcc1" presStyleIdx="0" presStyleCnt="3">
        <dgm:presLayoutVars>
          <dgm:bulletEnabled val="1"/>
        </dgm:presLayoutVars>
      </dgm:prSet>
      <dgm:spPr/>
    </dgm:pt>
    <dgm:pt modelId="{96D6F8AA-A05E-497C-B1A2-9318F555889E}" type="pres">
      <dgm:prSet presAssocID="{62C93ADB-50F5-4FEA-A9D2-CBD05A488FB7}" presName="spaceBetweenRectangles" presStyleCnt="0"/>
      <dgm:spPr/>
    </dgm:pt>
    <dgm:pt modelId="{5EDFE944-C54E-4409-BF67-DBDA9FFC256E}" type="pres">
      <dgm:prSet presAssocID="{277CB91B-1C42-48E8-9BA7-10FC79E64F8E}" presName="parentLin" presStyleCnt="0"/>
      <dgm:spPr/>
    </dgm:pt>
    <dgm:pt modelId="{87C4B48B-7C7D-4887-B26E-D734DA9A8C50}" type="pres">
      <dgm:prSet presAssocID="{277CB91B-1C42-48E8-9BA7-10FC79E64F8E}" presName="parentLeftMargin" presStyleLbl="node1" presStyleIdx="0" presStyleCnt="3"/>
      <dgm:spPr/>
    </dgm:pt>
    <dgm:pt modelId="{C8372599-BDA9-4E62-9184-ABA50695DEAE}" type="pres">
      <dgm:prSet presAssocID="{277CB91B-1C42-48E8-9BA7-10FC79E64F8E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242C1C7A-827F-45AF-84C9-2577967EF3C1}" type="pres">
      <dgm:prSet presAssocID="{277CB91B-1C42-48E8-9BA7-10FC79E64F8E}" presName="negativeSpace" presStyleCnt="0"/>
      <dgm:spPr/>
    </dgm:pt>
    <dgm:pt modelId="{6C17968B-3B40-4894-B40F-C49EEEEE87D3}" type="pres">
      <dgm:prSet presAssocID="{277CB91B-1C42-48E8-9BA7-10FC79E64F8E}" presName="childText" presStyleLbl="conFgAcc1" presStyleIdx="1" presStyleCnt="3">
        <dgm:presLayoutVars>
          <dgm:bulletEnabled val="1"/>
        </dgm:presLayoutVars>
      </dgm:prSet>
      <dgm:spPr/>
    </dgm:pt>
    <dgm:pt modelId="{6D9D424A-D22D-4A76-852C-DEFDD3829FDE}" type="pres">
      <dgm:prSet presAssocID="{93624452-662B-4F58-934A-EBE2E5B0D4AB}" presName="spaceBetweenRectangles" presStyleCnt="0"/>
      <dgm:spPr/>
    </dgm:pt>
    <dgm:pt modelId="{FF60C45A-813C-4053-A09D-7269275F80DB}" type="pres">
      <dgm:prSet presAssocID="{6F528CE6-C1A3-4D2B-81A0-CFCEB0EBAD90}" presName="parentLin" presStyleCnt="0"/>
      <dgm:spPr/>
    </dgm:pt>
    <dgm:pt modelId="{BAFEC78A-8DAD-47F6-AE20-1A6B32AC01A4}" type="pres">
      <dgm:prSet presAssocID="{6F528CE6-C1A3-4D2B-81A0-CFCEB0EBAD90}" presName="parentLeftMargin" presStyleLbl="node1" presStyleIdx="1" presStyleCnt="3"/>
      <dgm:spPr/>
    </dgm:pt>
    <dgm:pt modelId="{ECEB8BDC-F220-41C1-B502-A535EC67DE59}" type="pres">
      <dgm:prSet presAssocID="{6F528CE6-C1A3-4D2B-81A0-CFCEB0EBAD90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FE42D628-BBA6-4E36-AA67-F2E179A15711}" type="pres">
      <dgm:prSet presAssocID="{6F528CE6-C1A3-4D2B-81A0-CFCEB0EBAD90}" presName="negativeSpace" presStyleCnt="0"/>
      <dgm:spPr/>
    </dgm:pt>
    <dgm:pt modelId="{E42B4496-FBF8-4DC9-AF60-BFE77B144112}" type="pres">
      <dgm:prSet presAssocID="{6F528CE6-C1A3-4D2B-81A0-CFCEB0EBAD90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689E2010-A57F-4069-8200-CA3F718006C6}" type="presOf" srcId="{6F528CE6-C1A3-4D2B-81A0-CFCEB0EBAD90}" destId="{BAFEC78A-8DAD-47F6-AE20-1A6B32AC01A4}" srcOrd="0" destOrd="0" presId="urn:microsoft.com/office/officeart/2005/8/layout/list1"/>
    <dgm:cxn modelId="{52E3AE29-C5CC-4C79-9B26-CB7C82A1B121}" type="presOf" srcId="{6F528CE6-C1A3-4D2B-81A0-CFCEB0EBAD90}" destId="{ECEB8BDC-F220-41C1-B502-A535EC67DE59}" srcOrd="1" destOrd="0" presId="urn:microsoft.com/office/officeart/2005/8/layout/list1"/>
    <dgm:cxn modelId="{CEE86E2C-B6FA-4185-B7D7-1277DB647415}" type="presOf" srcId="{DF8C36AC-D358-44C1-8CCF-864E48E9EE34}" destId="{717BC3C2-DA22-4D51-A406-9086CACDDF9B}" srcOrd="1" destOrd="0" presId="urn:microsoft.com/office/officeart/2005/8/layout/list1"/>
    <dgm:cxn modelId="{ABBFFE2D-DDF7-4F85-BE66-4DCEC96F45D5}" type="presOf" srcId="{DF8C36AC-D358-44C1-8CCF-864E48E9EE34}" destId="{01652856-29DD-4888-97C1-C7B2FCEF24C9}" srcOrd="0" destOrd="0" presId="urn:microsoft.com/office/officeart/2005/8/layout/list1"/>
    <dgm:cxn modelId="{8D6E092E-58C8-4D72-B870-0D2F549755C5}" srcId="{6F528CE6-C1A3-4D2B-81A0-CFCEB0EBAD90}" destId="{9A286409-755C-47F6-978F-0B1056CDF2D2}" srcOrd="0" destOrd="0" parTransId="{9291BA0D-48AB-4364-A092-0919F94C1470}" sibTransId="{EDFE8248-1123-45BE-80CC-ED04D63ECAF9}"/>
    <dgm:cxn modelId="{F1C85135-8472-433E-98BE-532497A42780}" srcId="{92CED47C-38E7-467C-8A1C-1BD722891462}" destId="{DF8C36AC-D358-44C1-8CCF-864E48E9EE34}" srcOrd="0" destOrd="0" parTransId="{77454E31-4BF7-45E4-A61C-C06BAD198ECF}" sibTransId="{62C93ADB-50F5-4FEA-A9D2-CBD05A488FB7}"/>
    <dgm:cxn modelId="{DA88B244-F5E5-4611-97DA-659C633A7587}" type="presOf" srcId="{277CB91B-1C42-48E8-9BA7-10FC79E64F8E}" destId="{87C4B48B-7C7D-4887-B26E-D734DA9A8C50}" srcOrd="0" destOrd="0" presId="urn:microsoft.com/office/officeart/2005/8/layout/list1"/>
    <dgm:cxn modelId="{96164656-556B-4B15-8824-70096B5A10BD}" type="presOf" srcId="{9A286409-755C-47F6-978F-0B1056CDF2D2}" destId="{E42B4496-FBF8-4DC9-AF60-BFE77B144112}" srcOrd="0" destOrd="0" presId="urn:microsoft.com/office/officeart/2005/8/layout/list1"/>
    <dgm:cxn modelId="{11047979-4753-4BCF-91C8-FE4A8274277B}" type="presOf" srcId="{F521A60E-AF20-4BC8-BB3E-652F6286D34A}" destId="{E42B4496-FBF8-4DC9-AF60-BFE77B144112}" srcOrd="0" destOrd="1" presId="urn:microsoft.com/office/officeart/2005/8/layout/list1"/>
    <dgm:cxn modelId="{CB76AE88-F6B6-4082-AB18-69E71E6EF410}" type="presOf" srcId="{277CB91B-1C42-48E8-9BA7-10FC79E64F8E}" destId="{C8372599-BDA9-4E62-9184-ABA50695DEAE}" srcOrd="1" destOrd="0" presId="urn:microsoft.com/office/officeart/2005/8/layout/list1"/>
    <dgm:cxn modelId="{4FCE7C92-D06E-417F-8E44-A664565D79CE}" srcId="{277CB91B-1C42-48E8-9BA7-10FC79E64F8E}" destId="{78D4CC8F-2595-4059-ACA1-7005FE483A37}" srcOrd="0" destOrd="0" parTransId="{A251C99C-8B3D-40DF-81A9-D7542C43875E}" sibTransId="{881FC4F4-45E5-4ACC-B91A-47999364CD20}"/>
    <dgm:cxn modelId="{46EEE999-2E03-44F0-A90F-B50F08D0E928}" type="presOf" srcId="{78D4CC8F-2595-4059-ACA1-7005FE483A37}" destId="{6C17968B-3B40-4894-B40F-C49EEEEE87D3}" srcOrd="0" destOrd="0" presId="urn:microsoft.com/office/officeart/2005/8/layout/list1"/>
    <dgm:cxn modelId="{07D213BB-362D-4146-B0ED-D8CC3F3F30C5}" srcId="{6F528CE6-C1A3-4D2B-81A0-CFCEB0EBAD90}" destId="{F521A60E-AF20-4BC8-BB3E-652F6286D34A}" srcOrd="1" destOrd="0" parTransId="{B9351DEB-1B71-494B-81A5-B8A2DF00679D}" sibTransId="{50985435-0157-41A4-B0CC-BC30B5F0CED9}"/>
    <dgm:cxn modelId="{B88307E1-DB9A-4185-9FD6-DC8C1FDCC158}" type="presOf" srcId="{92CED47C-38E7-467C-8A1C-1BD722891462}" destId="{7DE4044A-91ED-4C0D-84FC-AFAFFCE36CC7}" srcOrd="0" destOrd="0" presId="urn:microsoft.com/office/officeart/2005/8/layout/list1"/>
    <dgm:cxn modelId="{BD6ED9E6-8181-4AA6-A77D-C77FAC08F3CC}" type="presOf" srcId="{7DB66FD1-DB95-4E83-9973-27B94C4E32F0}" destId="{42DD2E0E-F49E-4BE0-95A3-709CC9C0A47F}" srcOrd="0" destOrd="0" presId="urn:microsoft.com/office/officeart/2005/8/layout/list1"/>
    <dgm:cxn modelId="{B6080AEF-5965-4743-A061-CDC32CC39582}" srcId="{92CED47C-38E7-467C-8A1C-1BD722891462}" destId="{6F528CE6-C1A3-4D2B-81A0-CFCEB0EBAD90}" srcOrd="2" destOrd="0" parTransId="{62346CA0-5B88-4CE8-914A-B6CEB57871F1}" sibTransId="{45C9E60D-23B6-41EB-9B7D-9BC15733F6D1}"/>
    <dgm:cxn modelId="{D091DFF4-39E8-4F5A-B8FF-9951A0C5E310}" srcId="{DF8C36AC-D358-44C1-8CCF-864E48E9EE34}" destId="{7DB66FD1-DB95-4E83-9973-27B94C4E32F0}" srcOrd="0" destOrd="0" parTransId="{8ADBA68A-2F57-443B-A36D-89F41C697784}" sibTransId="{CBC0D908-B9A4-4932-BF1F-5715E8C42184}"/>
    <dgm:cxn modelId="{DBC449FF-D23E-4F26-BCA7-82B94996073D}" srcId="{92CED47C-38E7-467C-8A1C-1BD722891462}" destId="{277CB91B-1C42-48E8-9BA7-10FC79E64F8E}" srcOrd="1" destOrd="0" parTransId="{03D7C569-4529-4991-A0C2-8E79BCD76571}" sibTransId="{93624452-662B-4F58-934A-EBE2E5B0D4AB}"/>
    <dgm:cxn modelId="{F598E0C5-698C-4C12-A200-96A226695F17}" type="presParOf" srcId="{7DE4044A-91ED-4C0D-84FC-AFAFFCE36CC7}" destId="{0AF318F5-4834-4567-8FBD-BAC7ADA6E4BF}" srcOrd="0" destOrd="0" presId="urn:microsoft.com/office/officeart/2005/8/layout/list1"/>
    <dgm:cxn modelId="{70251976-2130-4A94-B16A-3B5A9305CA4C}" type="presParOf" srcId="{0AF318F5-4834-4567-8FBD-BAC7ADA6E4BF}" destId="{01652856-29DD-4888-97C1-C7B2FCEF24C9}" srcOrd="0" destOrd="0" presId="urn:microsoft.com/office/officeart/2005/8/layout/list1"/>
    <dgm:cxn modelId="{7E5DF192-5CA2-4743-8D91-DA01A23D9FBA}" type="presParOf" srcId="{0AF318F5-4834-4567-8FBD-BAC7ADA6E4BF}" destId="{717BC3C2-DA22-4D51-A406-9086CACDDF9B}" srcOrd="1" destOrd="0" presId="urn:microsoft.com/office/officeart/2005/8/layout/list1"/>
    <dgm:cxn modelId="{587F3F18-48F1-4286-A694-4A4837377C2F}" type="presParOf" srcId="{7DE4044A-91ED-4C0D-84FC-AFAFFCE36CC7}" destId="{04A28FF3-818A-4AA3-9665-79EF4E644B0D}" srcOrd="1" destOrd="0" presId="urn:microsoft.com/office/officeart/2005/8/layout/list1"/>
    <dgm:cxn modelId="{9F96B43D-B488-4FA7-8F81-18FF593519A1}" type="presParOf" srcId="{7DE4044A-91ED-4C0D-84FC-AFAFFCE36CC7}" destId="{42DD2E0E-F49E-4BE0-95A3-709CC9C0A47F}" srcOrd="2" destOrd="0" presId="urn:microsoft.com/office/officeart/2005/8/layout/list1"/>
    <dgm:cxn modelId="{08E7A6ED-E07F-4F22-848B-04309F821B43}" type="presParOf" srcId="{7DE4044A-91ED-4C0D-84FC-AFAFFCE36CC7}" destId="{96D6F8AA-A05E-497C-B1A2-9318F555889E}" srcOrd="3" destOrd="0" presId="urn:microsoft.com/office/officeart/2005/8/layout/list1"/>
    <dgm:cxn modelId="{E899D341-20F3-4075-B6A4-B66CDC8E5253}" type="presParOf" srcId="{7DE4044A-91ED-4C0D-84FC-AFAFFCE36CC7}" destId="{5EDFE944-C54E-4409-BF67-DBDA9FFC256E}" srcOrd="4" destOrd="0" presId="urn:microsoft.com/office/officeart/2005/8/layout/list1"/>
    <dgm:cxn modelId="{EAD0CA07-7229-47DB-8397-299350D240F8}" type="presParOf" srcId="{5EDFE944-C54E-4409-BF67-DBDA9FFC256E}" destId="{87C4B48B-7C7D-4887-B26E-D734DA9A8C50}" srcOrd="0" destOrd="0" presId="urn:microsoft.com/office/officeart/2005/8/layout/list1"/>
    <dgm:cxn modelId="{1125D0F0-7743-4E52-941F-124BBA4FBFB1}" type="presParOf" srcId="{5EDFE944-C54E-4409-BF67-DBDA9FFC256E}" destId="{C8372599-BDA9-4E62-9184-ABA50695DEAE}" srcOrd="1" destOrd="0" presId="urn:microsoft.com/office/officeart/2005/8/layout/list1"/>
    <dgm:cxn modelId="{41827606-E482-451B-B7CA-35C3BAC5D202}" type="presParOf" srcId="{7DE4044A-91ED-4C0D-84FC-AFAFFCE36CC7}" destId="{242C1C7A-827F-45AF-84C9-2577967EF3C1}" srcOrd="5" destOrd="0" presId="urn:microsoft.com/office/officeart/2005/8/layout/list1"/>
    <dgm:cxn modelId="{571DCCBA-4A66-4C4D-90E9-7EC330E3B65B}" type="presParOf" srcId="{7DE4044A-91ED-4C0D-84FC-AFAFFCE36CC7}" destId="{6C17968B-3B40-4894-B40F-C49EEEEE87D3}" srcOrd="6" destOrd="0" presId="urn:microsoft.com/office/officeart/2005/8/layout/list1"/>
    <dgm:cxn modelId="{828C073A-CFB1-4DF4-B5AA-4AA7A1230DD9}" type="presParOf" srcId="{7DE4044A-91ED-4C0D-84FC-AFAFFCE36CC7}" destId="{6D9D424A-D22D-4A76-852C-DEFDD3829FDE}" srcOrd="7" destOrd="0" presId="urn:microsoft.com/office/officeart/2005/8/layout/list1"/>
    <dgm:cxn modelId="{D04DD9C6-CF71-406F-9D44-5E4ED946CCC3}" type="presParOf" srcId="{7DE4044A-91ED-4C0D-84FC-AFAFFCE36CC7}" destId="{FF60C45A-813C-4053-A09D-7269275F80DB}" srcOrd="8" destOrd="0" presId="urn:microsoft.com/office/officeart/2005/8/layout/list1"/>
    <dgm:cxn modelId="{1F5D41D6-586F-4CFC-9D46-6F9559BD0964}" type="presParOf" srcId="{FF60C45A-813C-4053-A09D-7269275F80DB}" destId="{BAFEC78A-8DAD-47F6-AE20-1A6B32AC01A4}" srcOrd="0" destOrd="0" presId="urn:microsoft.com/office/officeart/2005/8/layout/list1"/>
    <dgm:cxn modelId="{299DB85B-A170-4236-8DA7-222EF7277397}" type="presParOf" srcId="{FF60C45A-813C-4053-A09D-7269275F80DB}" destId="{ECEB8BDC-F220-41C1-B502-A535EC67DE59}" srcOrd="1" destOrd="0" presId="urn:microsoft.com/office/officeart/2005/8/layout/list1"/>
    <dgm:cxn modelId="{60D4A476-6DEB-4799-9BA4-37A1E40B44AB}" type="presParOf" srcId="{7DE4044A-91ED-4C0D-84FC-AFAFFCE36CC7}" destId="{FE42D628-BBA6-4E36-AA67-F2E179A15711}" srcOrd="9" destOrd="0" presId="urn:microsoft.com/office/officeart/2005/8/layout/list1"/>
    <dgm:cxn modelId="{0716B8FC-BB6C-4CD5-AA60-3E687E178435}" type="presParOf" srcId="{7DE4044A-91ED-4C0D-84FC-AFAFFCE36CC7}" destId="{E42B4496-FBF8-4DC9-AF60-BFE77B144112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C7C834E-69D4-46E2-AF36-E4E6212DA3F2}" type="doc">
      <dgm:prSet loTypeId="urn:microsoft.com/office/officeart/2005/8/layout/hList6" loCatId="list" qsTypeId="urn:microsoft.com/office/officeart/2005/8/quickstyle/simple2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F7A902C2-52A1-4C97-A34C-0CE7041A0C6A}">
      <dgm:prSet phldrT="[Text]"/>
      <dgm:spPr/>
      <dgm:t>
        <a:bodyPr/>
        <a:lstStyle/>
        <a:p>
          <a:pPr>
            <a:buClr>
              <a:srgbClr val="444C55"/>
            </a:buClr>
            <a:buSzPts val="4200"/>
            <a:buFont typeface="Arial" panose="020B0604020202020204" pitchFamily="34" charset="0"/>
            <a:buChar char="•"/>
          </a:pPr>
          <a:r>
            <a:rPr lang="en-US" b="0" i="0" u="none" strike="noStrike" cap="none" dirty="0">
              <a:latin typeface="Calibri" panose="020F0502020204030204" pitchFamily="34" charset="0"/>
              <a:cs typeface="Calibri" panose="020F0502020204030204" pitchFamily="34" charset="0"/>
              <a:sym typeface="Arial"/>
            </a:rPr>
            <a:t>Active Participation with ILPQC</a:t>
          </a:r>
          <a:endParaRPr lang="en-US" dirty="0"/>
        </a:p>
      </dgm:t>
    </dgm:pt>
    <dgm:pt modelId="{4C3B45F4-707A-453D-B9B5-D54D430800FC}" type="parTrans" cxnId="{97389F27-F505-4D92-B6C7-5495E016D951}">
      <dgm:prSet/>
      <dgm:spPr/>
      <dgm:t>
        <a:bodyPr/>
        <a:lstStyle/>
        <a:p>
          <a:endParaRPr lang="en-US"/>
        </a:p>
      </dgm:t>
    </dgm:pt>
    <dgm:pt modelId="{A6F0C117-8906-4E71-A625-DE4DCB90DC4B}" type="sibTrans" cxnId="{97389F27-F505-4D92-B6C7-5495E016D951}">
      <dgm:prSet/>
      <dgm:spPr/>
      <dgm:t>
        <a:bodyPr/>
        <a:lstStyle/>
        <a:p>
          <a:endParaRPr lang="en-US"/>
        </a:p>
      </dgm:t>
    </dgm:pt>
    <dgm:pt modelId="{1A6B140F-C0D0-4210-AB36-5DA8EC8EB7CE}">
      <dgm:prSet/>
      <dgm:spPr/>
      <dgm:t>
        <a:bodyPr/>
        <a:lstStyle/>
        <a:p>
          <a:r>
            <a:rPr lang="en-US" dirty="0">
              <a:latin typeface="Calibri" panose="020F0502020204030204" pitchFamily="34" charset="0"/>
              <a:ea typeface="Calibri"/>
              <a:cs typeface="Calibri" panose="020F0502020204030204" pitchFamily="34" charset="0"/>
            </a:rPr>
            <a:t>New Hire and Ongoing Education to support PVB/BE sustainability</a:t>
          </a:r>
        </a:p>
      </dgm:t>
    </dgm:pt>
    <dgm:pt modelId="{CF371ABB-1E0D-409D-81E5-52A4582ADC4F}" type="parTrans" cxnId="{AE752218-E3D4-421C-B358-44769B7B0951}">
      <dgm:prSet/>
      <dgm:spPr/>
      <dgm:t>
        <a:bodyPr/>
        <a:lstStyle/>
        <a:p>
          <a:endParaRPr lang="en-US"/>
        </a:p>
      </dgm:t>
    </dgm:pt>
    <dgm:pt modelId="{B627CA84-5F86-476E-8F3A-AB8E10FF479E}" type="sibTrans" cxnId="{AE752218-E3D4-421C-B358-44769B7B0951}">
      <dgm:prSet/>
      <dgm:spPr/>
      <dgm:t>
        <a:bodyPr/>
        <a:lstStyle/>
        <a:p>
          <a:endParaRPr lang="en-US"/>
        </a:p>
      </dgm:t>
    </dgm:pt>
    <dgm:pt modelId="{C8D48932-24B4-42CF-9040-F0AB4AB507CA}">
      <dgm:prSet/>
      <dgm:spPr/>
      <dgm:t>
        <a:bodyPr/>
        <a:lstStyle/>
        <a:p>
          <a:r>
            <a:rPr lang="en-US"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rPr>
            <a:t>Engage Patients and Community</a:t>
          </a:r>
          <a:endParaRPr lang="en-US" dirty="0">
            <a:latin typeface="Calibri" panose="020F0502020204030204" pitchFamily="34" charset="0"/>
            <a:ea typeface="Calibri"/>
            <a:cs typeface="Calibri" panose="020F0502020204030204" pitchFamily="34" charset="0"/>
            <a:sym typeface="Calibri"/>
          </a:endParaRPr>
        </a:p>
      </dgm:t>
    </dgm:pt>
    <dgm:pt modelId="{75B89C38-4573-4DEA-A4CD-6068F1636B46}" type="parTrans" cxnId="{8781F83B-F09F-44E0-89E3-10D8CF56252E}">
      <dgm:prSet/>
      <dgm:spPr/>
      <dgm:t>
        <a:bodyPr/>
        <a:lstStyle/>
        <a:p>
          <a:endParaRPr lang="en-US"/>
        </a:p>
      </dgm:t>
    </dgm:pt>
    <dgm:pt modelId="{1A2EB4CC-85D0-4AF5-A25E-A3E2AD6ACF9A}" type="sibTrans" cxnId="{8781F83B-F09F-44E0-89E3-10D8CF56252E}">
      <dgm:prSet/>
      <dgm:spPr/>
      <dgm:t>
        <a:bodyPr/>
        <a:lstStyle/>
        <a:p>
          <a:endParaRPr lang="en-US"/>
        </a:p>
      </dgm:t>
    </dgm:pt>
    <dgm:pt modelId="{A422854D-444C-4423-B830-17673883CF8B}">
      <dgm:prSet/>
      <dgm:spPr/>
      <dgm:t>
        <a:bodyPr/>
        <a:lstStyle/>
        <a:p>
          <a:r>
            <a:rPr lang="en-US"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rPr>
            <a:t>Achieve Aims and Reduce Disparities: NTSV C-Section Rate and SDOH Screening and Linkage</a:t>
          </a:r>
          <a:endParaRPr lang="en-US" dirty="0">
            <a:latin typeface="Calibri" panose="020F0502020204030204" pitchFamily="34" charset="0"/>
            <a:ea typeface="Calibri"/>
            <a:cs typeface="Calibri" panose="020F0502020204030204" pitchFamily="34" charset="0"/>
            <a:sym typeface="Calibri"/>
          </a:endParaRPr>
        </a:p>
      </dgm:t>
    </dgm:pt>
    <dgm:pt modelId="{8C3F4C5A-46DE-4CDF-947B-E8A0EF331D65}" type="parTrans" cxnId="{56C90C8F-CE0B-4252-A4A0-89418CC491A9}">
      <dgm:prSet/>
      <dgm:spPr/>
      <dgm:t>
        <a:bodyPr/>
        <a:lstStyle/>
        <a:p>
          <a:endParaRPr lang="en-US"/>
        </a:p>
      </dgm:t>
    </dgm:pt>
    <dgm:pt modelId="{94F649BD-2B4D-4091-A167-3273B681D9BB}" type="sibTrans" cxnId="{56C90C8F-CE0B-4252-A4A0-89418CC491A9}">
      <dgm:prSet/>
      <dgm:spPr/>
      <dgm:t>
        <a:bodyPr/>
        <a:lstStyle/>
        <a:p>
          <a:endParaRPr lang="en-US"/>
        </a:p>
      </dgm:t>
    </dgm:pt>
    <dgm:pt modelId="{C6E03A80-3C21-4D18-98AC-C0A7BB25AA38}" type="pres">
      <dgm:prSet presAssocID="{8C7C834E-69D4-46E2-AF36-E4E6212DA3F2}" presName="Name0" presStyleCnt="0">
        <dgm:presLayoutVars>
          <dgm:dir/>
          <dgm:resizeHandles val="exact"/>
        </dgm:presLayoutVars>
      </dgm:prSet>
      <dgm:spPr/>
    </dgm:pt>
    <dgm:pt modelId="{2C44006B-810A-4AF0-A131-4CBFD29D914B}" type="pres">
      <dgm:prSet presAssocID="{F7A902C2-52A1-4C97-A34C-0CE7041A0C6A}" presName="node" presStyleLbl="node1" presStyleIdx="0" presStyleCnt="4">
        <dgm:presLayoutVars>
          <dgm:bulletEnabled val="1"/>
        </dgm:presLayoutVars>
      </dgm:prSet>
      <dgm:spPr/>
    </dgm:pt>
    <dgm:pt modelId="{215A191D-9E51-44DE-905D-A1DA22351458}" type="pres">
      <dgm:prSet presAssocID="{A6F0C117-8906-4E71-A625-DE4DCB90DC4B}" presName="sibTrans" presStyleCnt="0"/>
      <dgm:spPr/>
    </dgm:pt>
    <dgm:pt modelId="{34A5C179-6F94-42AE-93FC-801A1FE02C66}" type="pres">
      <dgm:prSet presAssocID="{1A6B140F-C0D0-4210-AB36-5DA8EC8EB7CE}" presName="node" presStyleLbl="node1" presStyleIdx="1" presStyleCnt="4">
        <dgm:presLayoutVars>
          <dgm:bulletEnabled val="1"/>
        </dgm:presLayoutVars>
      </dgm:prSet>
      <dgm:spPr/>
    </dgm:pt>
    <dgm:pt modelId="{5A38692F-A3FE-4FBF-AA37-5C7388EAE1A1}" type="pres">
      <dgm:prSet presAssocID="{B627CA84-5F86-476E-8F3A-AB8E10FF479E}" presName="sibTrans" presStyleCnt="0"/>
      <dgm:spPr/>
    </dgm:pt>
    <dgm:pt modelId="{53FEB7D8-B70D-4E86-85B8-2C34F4DA7336}" type="pres">
      <dgm:prSet presAssocID="{C8D48932-24B4-42CF-9040-F0AB4AB507CA}" presName="node" presStyleLbl="node1" presStyleIdx="2" presStyleCnt="4">
        <dgm:presLayoutVars>
          <dgm:bulletEnabled val="1"/>
        </dgm:presLayoutVars>
      </dgm:prSet>
      <dgm:spPr/>
    </dgm:pt>
    <dgm:pt modelId="{B296106C-2A13-41A5-A154-5911419ACBEE}" type="pres">
      <dgm:prSet presAssocID="{1A2EB4CC-85D0-4AF5-A25E-A3E2AD6ACF9A}" presName="sibTrans" presStyleCnt="0"/>
      <dgm:spPr/>
    </dgm:pt>
    <dgm:pt modelId="{B8BB14C5-6765-4F2C-88C8-524D091D01E7}" type="pres">
      <dgm:prSet presAssocID="{A422854D-444C-4423-B830-17673883CF8B}" presName="node" presStyleLbl="node1" presStyleIdx="3" presStyleCnt="4">
        <dgm:presLayoutVars>
          <dgm:bulletEnabled val="1"/>
        </dgm:presLayoutVars>
      </dgm:prSet>
      <dgm:spPr/>
    </dgm:pt>
  </dgm:ptLst>
  <dgm:cxnLst>
    <dgm:cxn modelId="{AE752218-E3D4-421C-B358-44769B7B0951}" srcId="{8C7C834E-69D4-46E2-AF36-E4E6212DA3F2}" destId="{1A6B140F-C0D0-4210-AB36-5DA8EC8EB7CE}" srcOrd="1" destOrd="0" parTransId="{CF371ABB-1E0D-409D-81E5-52A4582ADC4F}" sibTransId="{B627CA84-5F86-476E-8F3A-AB8E10FF479E}"/>
    <dgm:cxn modelId="{97389F27-F505-4D92-B6C7-5495E016D951}" srcId="{8C7C834E-69D4-46E2-AF36-E4E6212DA3F2}" destId="{F7A902C2-52A1-4C97-A34C-0CE7041A0C6A}" srcOrd="0" destOrd="0" parTransId="{4C3B45F4-707A-453D-B9B5-D54D430800FC}" sibTransId="{A6F0C117-8906-4E71-A625-DE4DCB90DC4B}"/>
    <dgm:cxn modelId="{8781F83B-F09F-44E0-89E3-10D8CF56252E}" srcId="{8C7C834E-69D4-46E2-AF36-E4E6212DA3F2}" destId="{C8D48932-24B4-42CF-9040-F0AB4AB507CA}" srcOrd="2" destOrd="0" parTransId="{75B89C38-4573-4DEA-A4CD-6068F1636B46}" sibTransId="{1A2EB4CC-85D0-4AF5-A25E-A3E2AD6ACF9A}"/>
    <dgm:cxn modelId="{BECF545B-CF55-462A-BEFA-2838A397ABD1}" type="presOf" srcId="{A422854D-444C-4423-B830-17673883CF8B}" destId="{B8BB14C5-6765-4F2C-88C8-524D091D01E7}" srcOrd="0" destOrd="0" presId="urn:microsoft.com/office/officeart/2005/8/layout/hList6"/>
    <dgm:cxn modelId="{5D193857-4973-438F-A7E5-3A4ADF3BC22A}" type="presOf" srcId="{C8D48932-24B4-42CF-9040-F0AB4AB507CA}" destId="{53FEB7D8-B70D-4E86-85B8-2C34F4DA7336}" srcOrd="0" destOrd="0" presId="urn:microsoft.com/office/officeart/2005/8/layout/hList6"/>
    <dgm:cxn modelId="{56C90C8F-CE0B-4252-A4A0-89418CC491A9}" srcId="{8C7C834E-69D4-46E2-AF36-E4E6212DA3F2}" destId="{A422854D-444C-4423-B830-17673883CF8B}" srcOrd="3" destOrd="0" parTransId="{8C3F4C5A-46DE-4CDF-947B-E8A0EF331D65}" sibTransId="{94F649BD-2B4D-4091-A167-3273B681D9BB}"/>
    <dgm:cxn modelId="{39C23B94-97CB-47A3-981B-AB5E8EC7A094}" type="presOf" srcId="{8C7C834E-69D4-46E2-AF36-E4E6212DA3F2}" destId="{C6E03A80-3C21-4D18-98AC-C0A7BB25AA38}" srcOrd="0" destOrd="0" presId="urn:microsoft.com/office/officeart/2005/8/layout/hList6"/>
    <dgm:cxn modelId="{0E03769D-5A85-470F-9976-6C8F2086ED49}" type="presOf" srcId="{1A6B140F-C0D0-4210-AB36-5DA8EC8EB7CE}" destId="{34A5C179-6F94-42AE-93FC-801A1FE02C66}" srcOrd="0" destOrd="0" presId="urn:microsoft.com/office/officeart/2005/8/layout/hList6"/>
    <dgm:cxn modelId="{422472A4-BF59-415A-A7AB-E2655FE594E2}" type="presOf" srcId="{F7A902C2-52A1-4C97-A34C-0CE7041A0C6A}" destId="{2C44006B-810A-4AF0-A131-4CBFD29D914B}" srcOrd="0" destOrd="0" presId="urn:microsoft.com/office/officeart/2005/8/layout/hList6"/>
    <dgm:cxn modelId="{895267BE-A960-410A-A91E-D757683C1B67}" type="presParOf" srcId="{C6E03A80-3C21-4D18-98AC-C0A7BB25AA38}" destId="{2C44006B-810A-4AF0-A131-4CBFD29D914B}" srcOrd="0" destOrd="0" presId="urn:microsoft.com/office/officeart/2005/8/layout/hList6"/>
    <dgm:cxn modelId="{9586B480-E6CE-40A5-87FE-4695FF7B05AD}" type="presParOf" srcId="{C6E03A80-3C21-4D18-98AC-C0A7BB25AA38}" destId="{215A191D-9E51-44DE-905D-A1DA22351458}" srcOrd="1" destOrd="0" presId="urn:microsoft.com/office/officeart/2005/8/layout/hList6"/>
    <dgm:cxn modelId="{6881EA41-B624-49B9-8C70-2623B470C010}" type="presParOf" srcId="{C6E03A80-3C21-4D18-98AC-C0A7BB25AA38}" destId="{34A5C179-6F94-42AE-93FC-801A1FE02C66}" srcOrd="2" destOrd="0" presId="urn:microsoft.com/office/officeart/2005/8/layout/hList6"/>
    <dgm:cxn modelId="{BAFDFE49-4533-4019-B863-A7F10DBD2530}" type="presParOf" srcId="{C6E03A80-3C21-4D18-98AC-C0A7BB25AA38}" destId="{5A38692F-A3FE-4FBF-AA37-5C7388EAE1A1}" srcOrd="3" destOrd="0" presId="urn:microsoft.com/office/officeart/2005/8/layout/hList6"/>
    <dgm:cxn modelId="{9857C92E-1F54-4D15-A1E6-2E78A7032A73}" type="presParOf" srcId="{C6E03A80-3C21-4D18-98AC-C0A7BB25AA38}" destId="{53FEB7D8-B70D-4E86-85B8-2C34F4DA7336}" srcOrd="4" destOrd="0" presId="urn:microsoft.com/office/officeart/2005/8/layout/hList6"/>
    <dgm:cxn modelId="{C9C37AC4-A21F-47D8-B2D9-5398A4ED3A40}" type="presParOf" srcId="{C6E03A80-3C21-4D18-98AC-C0A7BB25AA38}" destId="{B296106C-2A13-41A5-A154-5911419ACBEE}" srcOrd="5" destOrd="0" presId="urn:microsoft.com/office/officeart/2005/8/layout/hList6"/>
    <dgm:cxn modelId="{8E5CB467-F45F-4275-A460-2DFDA55D9D92}" type="presParOf" srcId="{C6E03A80-3C21-4D18-98AC-C0A7BB25AA38}" destId="{B8BB14C5-6765-4F2C-88C8-524D091D01E7}" srcOrd="6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BA69163-2105-4CE6-ACB1-F5EA380D35A1}" type="doc">
      <dgm:prSet loTypeId="urn:microsoft.com/office/officeart/2008/layout/PictureAccentLis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279ACF8D-C1D7-4369-8807-10543F72F5A0}">
      <dgm:prSet phldrT="[Text]" custT="1"/>
      <dgm:spPr/>
      <dgm:t>
        <a:bodyPr/>
        <a:lstStyle/>
        <a:p>
          <a:pPr algn="l" rtl="0">
            <a:buClr>
              <a:srgbClr val="444C55"/>
            </a:buClr>
            <a:buSzPts val="3200"/>
            <a:buFont typeface="Arial"/>
            <a:buChar char="•"/>
          </a:pPr>
          <a:r>
            <a:rPr lang="en-US" sz="2000" b="1" i="0" u="none" strike="noStrike" cap="none" dirty="0">
              <a:latin typeface="Calibri"/>
              <a:ea typeface="Calibri"/>
              <a:cs typeface="Calibri"/>
              <a:sym typeface="Calibri"/>
            </a:rPr>
            <a:t>Engage</a:t>
          </a:r>
          <a:r>
            <a:rPr lang="en-US" sz="2000" b="1" dirty="0">
              <a:latin typeface="Calibri"/>
              <a:ea typeface="Calibri"/>
              <a:cs typeface="Calibri"/>
            </a:rPr>
            <a:t> </a:t>
          </a:r>
          <a:r>
            <a:rPr lang="en-US" sz="2000" dirty="0">
              <a:latin typeface="Calibri"/>
              <a:ea typeface="Calibri"/>
              <a:cs typeface="Calibri"/>
            </a:rPr>
            <a:t>Prenatal clinics, FQHC's, and community health partners in QI efforts</a:t>
          </a:r>
          <a:endParaRPr lang="en-US" sz="2000" dirty="0"/>
        </a:p>
      </dgm:t>
    </dgm:pt>
    <dgm:pt modelId="{CDF0A32C-F59B-4B4E-BCD4-3D82611DFCA6}" type="parTrans" cxnId="{92FDE862-5342-4E4A-A09D-0423D25F938C}">
      <dgm:prSet/>
      <dgm:spPr/>
      <dgm:t>
        <a:bodyPr/>
        <a:lstStyle/>
        <a:p>
          <a:endParaRPr lang="en-US"/>
        </a:p>
      </dgm:t>
    </dgm:pt>
    <dgm:pt modelId="{04DC4125-12E7-4ED2-8CE6-AD167F4CDD34}" type="sibTrans" cxnId="{92FDE862-5342-4E4A-A09D-0423D25F938C}">
      <dgm:prSet/>
      <dgm:spPr/>
      <dgm:t>
        <a:bodyPr/>
        <a:lstStyle/>
        <a:p>
          <a:endParaRPr lang="en-US"/>
        </a:p>
      </dgm:t>
    </dgm:pt>
    <dgm:pt modelId="{3FD3A665-907A-4E00-9376-3E6439AE1919}">
      <dgm:prSet custT="1"/>
      <dgm:spPr/>
      <dgm:t>
        <a:bodyPr/>
        <a:lstStyle/>
        <a:p>
          <a:pPr rtl="0"/>
          <a:r>
            <a:rPr lang="en-US" sz="2000" b="1" i="0" u="none" strike="noStrike" cap="none" dirty="0">
              <a:latin typeface="Calibri"/>
              <a:ea typeface="Calibri"/>
              <a:cs typeface="Calibri"/>
              <a:sym typeface="Calibri"/>
            </a:rPr>
            <a:t>Build </a:t>
          </a:r>
          <a:r>
            <a:rPr lang="en-US" sz="2000" b="0" i="0" u="none" strike="noStrike" cap="none" dirty="0">
              <a:latin typeface="Calibri"/>
              <a:ea typeface="Calibri"/>
              <a:cs typeface="Calibri"/>
              <a:sym typeface="Calibri"/>
            </a:rPr>
            <a:t>connections with doulas, home visiting programs and local community resources to improve referral of patients to these community resources </a:t>
          </a:r>
        </a:p>
      </dgm:t>
    </dgm:pt>
    <dgm:pt modelId="{859A013D-3228-4D6A-8D05-639BBD349395}" type="parTrans" cxnId="{820C85B0-7FA4-42A5-B299-038B1B3C25BF}">
      <dgm:prSet/>
      <dgm:spPr/>
      <dgm:t>
        <a:bodyPr/>
        <a:lstStyle/>
        <a:p>
          <a:endParaRPr lang="en-US"/>
        </a:p>
      </dgm:t>
    </dgm:pt>
    <dgm:pt modelId="{BF7D0F1C-5DF2-4DD2-B1DB-C59015B0B8EF}" type="sibTrans" cxnId="{820C85B0-7FA4-42A5-B299-038B1B3C25BF}">
      <dgm:prSet/>
      <dgm:spPr/>
      <dgm:t>
        <a:bodyPr/>
        <a:lstStyle/>
        <a:p>
          <a:endParaRPr lang="en-US"/>
        </a:p>
      </dgm:t>
    </dgm:pt>
    <dgm:pt modelId="{9340415F-67B3-4CC6-835A-498310144505}">
      <dgm:prSet custT="1"/>
      <dgm:spPr/>
      <dgm:t>
        <a:bodyPr/>
        <a:lstStyle/>
        <a:p>
          <a:pPr rtl="0"/>
          <a:r>
            <a:rPr lang="en-US" sz="2000" b="1" i="0" u="none" strike="noStrike" cap="none" dirty="0">
              <a:latin typeface="Calibri"/>
              <a:ea typeface="Calibri"/>
              <a:cs typeface="Calibri"/>
              <a:sym typeface="Calibri"/>
            </a:rPr>
            <a:t>Review </a:t>
          </a:r>
          <a:r>
            <a:rPr lang="en-US" sz="2000" b="0" i="0" u="none" strike="noStrike" cap="none" dirty="0">
              <a:latin typeface="Calibri"/>
              <a:ea typeface="Calibri"/>
              <a:cs typeface="Calibri"/>
              <a:sym typeface="Calibri"/>
            </a:rPr>
            <a:t>labor and delivery policies and procedures to promote doula-friendly unit culture and</a:t>
          </a:r>
          <a:r>
            <a:rPr lang="en-US" sz="2000" b="0" dirty="0">
              <a:latin typeface="Calibri"/>
              <a:ea typeface="Calibri"/>
              <a:cs typeface="Calibri"/>
            </a:rPr>
            <a:t> inclusive care</a:t>
          </a:r>
          <a:endParaRPr lang="en-US" sz="2000" b="0" dirty="0"/>
        </a:p>
      </dgm:t>
    </dgm:pt>
    <dgm:pt modelId="{CFB2CBCE-BB16-49E1-AEA4-CEC193364F61}" type="parTrans" cxnId="{200F59DD-C856-4A10-8CA9-B8A0F5361F42}">
      <dgm:prSet/>
      <dgm:spPr/>
      <dgm:t>
        <a:bodyPr/>
        <a:lstStyle/>
        <a:p>
          <a:endParaRPr lang="en-US"/>
        </a:p>
      </dgm:t>
    </dgm:pt>
    <dgm:pt modelId="{D4E510F2-6712-4D24-BD6A-C3FFD3BEA453}" type="sibTrans" cxnId="{200F59DD-C856-4A10-8CA9-B8A0F5361F42}">
      <dgm:prSet/>
      <dgm:spPr/>
      <dgm:t>
        <a:bodyPr/>
        <a:lstStyle/>
        <a:p>
          <a:endParaRPr lang="en-US"/>
        </a:p>
      </dgm:t>
    </dgm:pt>
    <dgm:pt modelId="{438694FF-BCDE-41A0-A310-26F3E1411601}">
      <dgm:prSet phldr="0" custT="1"/>
      <dgm:spPr/>
      <dgm:t>
        <a:bodyPr/>
        <a:lstStyle/>
        <a:p>
          <a:pPr rtl="0"/>
          <a:r>
            <a:rPr lang="en-US" sz="3600" b="1" i="0" u="none" strike="noStrike" cap="none" dirty="0">
              <a:latin typeface="Arial"/>
              <a:ea typeface="Calibri"/>
              <a:cs typeface="Calibri"/>
              <a:sym typeface="Calibri"/>
            </a:rPr>
            <a:t>Engage patients and community</a:t>
          </a:r>
        </a:p>
      </dgm:t>
    </dgm:pt>
    <dgm:pt modelId="{68372F70-F1C1-486A-96B0-7520385247CF}" type="parTrans" cxnId="{A9F5328E-A426-44F0-8CCD-1534BD5E6CD6}">
      <dgm:prSet/>
      <dgm:spPr/>
    </dgm:pt>
    <dgm:pt modelId="{06C88A39-E08D-4C81-BA2F-17EB265A9A0E}" type="sibTrans" cxnId="{A9F5328E-A426-44F0-8CCD-1534BD5E6CD6}">
      <dgm:prSet/>
      <dgm:spPr/>
    </dgm:pt>
    <dgm:pt modelId="{13CF8D50-D1C5-4D74-9152-DB68FDFBC66F}" type="pres">
      <dgm:prSet presAssocID="{4BA69163-2105-4CE6-ACB1-F5EA380D35A1}" presName="layout" presStyleCnt="0">
        <dgm:presLayoutVars>
          <dgm:chMax/>
          <dgm:chPref/>
          <dgm:dir/>
          <dgm:animOne val="branch"/>
          <dgm:animLvl val="lvl"/>
          <dgm:resizeHandles/>
        </dgm:presLayoutVars>
      </dgm:prSet>
      <dgm:spPr/>
    </dgm:pt>
    <dgm:pt modelId="{D8DAD6E4-B4EF-48F2-A3D9-529941F63F70}" type="pres">
      <dgm:prSet presAssocID="{438694FF-BCDE-41A0-A310-26F3E1411601}" presName="root" presStyleCnt="0">
        <dgm:presLayoutVars>
          <dgm:chMax/>
          <dgm:chPref val="4"/>
        </dgm:presLayoutVars>
      </dgm:prSet>
      <dgm:spPr/>
    </dgm:pt>
    <dgm:pt modelId="{B7D19BF3-3362-4AA2-8489-ECEC4253696A}" type="pres">
      <dgm:prSet presAssocID="{438694FF-BCDE-41A0-A310-26F3E1411601}" presName="rootComposite" presStyleCnt="0">
        <dgm:presLayoutVars/>
      </dgm:prSet>
      <dgm:spPr/>
    </dgm:pt>
    <dgm:pt modelId="{489D2F65-9940-4969-AC84-AFE243A1014C}" type="pres">
      <dgm:prSet presAssocID="{438694FF-BCDE-41A0-A310-26F3E1411601}" presName="rootText" presStyleLbl="node0" presStyleIdx="0" presStyleCnt="1">
        <dgm:presLayoutVars>
          <dgm:chMax/>
          <dgm:chPref val="4"/>
        </dgm:presLayoutVars>
      </dgm:prSet>
      <dgm:spPr/>
    </dgm:pt>
    <dgm:pt modelId="{91754BCD-1603-4FCA-9DDF-1A80CE097A3A}" type="pres">
      <dgm:prSet presAssocID="{438694FF-BCDE-41A0-A310-26F3E1411601}" presName="childShape" presStyleCnt="0">
        <dgm:presLayoutVars>
          <dgm:chMax val="0"/>
          <dgm:chPref val="0"/>
        </dgm:presLayoutVars>
      </dgm:prSet>
      <dgm:spPr/>
    </dgm:pt>
    <dgm:pt modelId="{8E8AE5EB-5C8D-499A-AF3A-8C4A3DFD5ACA}" type="pres">
      <dgm:prSet presAssocID="{279ACF8D-C1D7-4369-8807-10543F72F5A0}" presName="childComposite" presStyleCnt="0">
        <dgm:presLayoutVars>
          <dgm:chMax val="0"/>
          <dgm:chPref val="0"/>
        </dgm:presLayoutVars>
      </dgm:prSet>
      <dgm:spPr/>
    </dgm:pt>
    <dgm:pt modelId="{852EACE0-2547-41EC-987C-86A9D876BDD7}" type="pres">
      <dgm:prSet presAssocID="{279ACF8D-C1D7-4369-8807-10543F72F5A0}" presName="Image" presStyleLbl="node1" presStyleIdx="0" presStyleCnt="3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ospital outline"/>
        </a:ext>
      </dgm:extLst>
    </dgm:pt>
    <dgm:pt modelId="{6CD6B169-38BB-44FE-B808-9BF50CDB1901}" type="pres">
      <dgm:prSet presAssocID="{279ACF8D-C1D7-4369-8807-10543F72F5A0}" presName="childText" presStyleLbl="lnNode1" presStyleIdx="0" presStyleCnt="3">
        <dgm:presLayoutVars>
          <dgm:chMax val="0"/>
          <dgm:chPref val="0"/>
          <dgm:bulletEnabled val="1"/>
        </dgm:presLayoutVars>
      </dgm:prSet>
      <dgm:spPr/>
    </dgm:pt>
    <dgm:pt modelId="{C3F71A5B-347F-4E6C-AB3E-D859A81950C2}" type="pres">
      <dgm:prSet presAssocID="{3FD3A665-907A-4E00-9376-3E6439AE1919}" presName="childComposite" presStyleCnt="0">
        <dgm:presLayoutVars>
          <dgm:chMax val="0"/>
          <dgm:chPref val="0"/>
        </dgm:presLayoutVars>
      </dgm:prSet>
      <dgm:spPr/>
    </dgm:pt>
    <dgm:pt modelId="{7765EE7F-1307-4ABE-B477-8A8DCF1F9831}" type="pres">
      <dgm:prSet presAssocID="{3FD3A665-907A-4E00-9376-3E6439AE1919}" presName="Image" presStyleLbl="node1" presStyleIdx="1" presStyleCnt="3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roup outline"/>
        </a:ext>
      </dgm:extLst>
    </dgm:pt>
    <dgm:pt modelId="{3BCD900A-5DF9-4934-B160-9C1BEAD24C25}" type="pres">
      <dgm:prSet presAssocID="{3FD3A665-907A-4E00-9376-3E6439AE1919}" presName="childText" presStyleLbl="lnNode1" presStyleIdx="1" presStyleCnt="3">
        <dgm:presLayoutVars>
          <dgm:chMax val="0"/>
          <dgm:chPref val="0"/>
          <dgm:bulletEnabled val="1"/>
        </dgm:presLayoutVars>
      </dgm:prSet>
      <dgm:spPr/>
    </dgm:pt>
    <dgm:pt modelId="{6364B808-7E44-4F81-801B-2860C687BBF0}" type="pres">
      <dgm:prSet presAssocID="{9340415F-67B3-4CC6-835A-498310144505}" presName="childComposite" presStyleCnt="0">
        <dgm:presLayoutVars>
          <dgm:chMax val="0"/>
          <dgm:chPref val="0"/>
        </dgm:presLayoutVars>
      </dgm:prSet>
      <dgm:spPr/>
    </dgm:pt>
    <dgm:pt modelId="{A7CF54C7-5F05-4334-8C3D-6CDFE87E694C}" type="pres">
      <dgm:prSet presAssocID="{9340415F-67B3-4CC6-835A-498310144505}" presName="Image" presStyleLbl="node1" presStyleIdx="2" presStyleCnt="3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ocument with solid fill"/>
        </a:ext>
      </dgm:extLst>
    </dgm:pt>
    <dgm:pt modelId="{C233BA51-4A1E-42D8-A02A-3F92546A2979}" type="pres">
      <dgm:prSet presAssocID="{9340415F-67B3-4CC6-835A-498310144505}" presName="childText" presStyleLbl="ln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566F4841-237F-44BA-8189-BBB560880E86}" type="presOf" srcId="{4BA69163-2105-4CE6-ACB1-F5EA380D35A1}" destId="{13CF8D50-D1C5-4D74-9152-DB68FDFBC66F}" srcOrd="0" destOrd="0" presId="urn:microsoft.com/office/officeart/2008/layout/PictureAccentList"/>
    <dgm:cxn modelId="{92FDE862-5342-4E4A-A09D-0423D25F938C}" srcId="{438694FF-BCDE-41A0-A310-26F3E1411601}" destId="{279ACF8D-C1D7-4369-8807-10543F72F5A0}" srcOrd="0" destOrd="0" parTransId="{CDF0A32C-F59B-4B4E-BCD4-3D82611DFCA6}" sibTransId="{04DC4125-12E7-4ED2-8CE6-AD167F4CDD34}"/>
    <dgm:cxn modelId="{7372EE4A-EE6C-46D3-B3E1-8EB26C56EDCE}" type="presOf" srcId="{279ACF8D-C1D7-4369-8807-10543F72F5A0}" destId="{6CD6B169-38BB-44FE-B808-9BF50CDB1901}" srcOrd="0" destOrd="0" presId="urn:microsoft.com/office/officeart/2008/layout/PictureAccentList"/>
    <dgm:cxn modelId="{A9F5328E-A426-44F0-8CCD-1534BD5E6CD6}" srcId="{4BA69163-2105-4CE6-ACB1-F5EA380D35A1}" destId="{438694FF-BCDE-41A0-A310-26F3E1411601}" srcOrd="0" destOrd="0" parTransId="{68372F70-F1C1-486A-96B0-7520385247CF}" sibTransId="{06C88A39-E08D-4C81-BA2F-17EB265A9A0E}"/>
    <dgm:cxn modelId="{820C85B0-7FA4-42A5-B299-038B1B3C25BF}" srcId="{438694FF-BCDE-41A0-A310-26F3E1411601}" destId="{3FD3A665-907A-4E00-9376-3E6439AE1919}" srcOrd="1" destOrd="0" parTransId="{859A013D-3228-4D6A-8D05-639BBD349395}" sibTransId="{BF7D0F1C-5DF2-4DD2-B1DB-C59015B0B8EF}"/>
    <dgm:cxn modelId="{A95F9EB5-A304-45C0-A233-03303B61C907}" type="presOf" srcId="{438694FF-BCDE-41A0-A310-26F3E1411601}" destId="{489D2F65-9940-4969-AC84-AFE243A1014C}" srcOrd="0" destOrd="0" presId="urn:microsoft.com/office/officeart/2008/layout/PictureAccentList"/>
    <dgm:cxn modelId="{0493D7C3-5576-49BF-9731-5C37F15FD8FF}" type="presOf" srcId="{9340415F-67B3-4CC6-835A-498310144505}" destId="{C233BA51-4A1E-42D8-A02A-3F92546A2979}" srcOrd="0" destOrd="0" presId="urn:microsoft.com/office/officeart/2008/layout/PictureAccentList"/>
    <dgm:cxn modelId="{200F59DD-C856-4A10-8CA9-B8A0F5361F42}" srcId="{438694FF-BCDE-41A0-A310-26F3E1411601}" destId="{9340415F-67B3-4CC6-835A-498310144505}" srcOrd="2" destOrd="0" parTransId="{CFB2CBCE-BB16-49E1-AEA4-CEC193364F61}" sibTransId="{D4E510F2-6712-4D24-BD6A-C3FFD3BEA453}"/>
    <dgm:cxn modelId="{401635F8-CEA9-4563-8D3A-A66DBC62C80C}" type="presOf" srcId="{3FD3A665-907A-4E00-9376-3E6439AE1919}" destId="{3BCD900A-5DF9-4934-B160-9C1BEAD24C25}" srcOrd="0" destOrd="0" presId="urn:microsoft.com/office/officeart/2008/layout/PictureAccentList"/>
    <dgm:cxn modelId="{F7BD6F9C-6140-43C0-907F-6AD170C656C6}" type="presParOf" srcId="{13CF8D50-D1C5-4D74-9152-DB68FDFBC66F}" destId="{D8DAD6E4-B4EF-48F2-A3D9-529941F63F70}" srcOrd="0" destOrd="0" presId="urn:microsoft.com/office/officeart/2008/layout/PictureAccentList"/>
    <dgm:cxn modelId="{3358BF3F-813D-4611-8DA9-89DA2487B4C9}" type="presParOf" srcId="{D8DAD6E4-B4EF-48F2-A3D9-529941F63F70}" destId="{B7D19BF3-3362-4AA2-8489-ECEC4253696A}" srcOrd="0" destOrd="0" presId="urn:microsoft.com/office/officeart/2008/layout/PictureAccentList"/>
    <dgm:cxn modelId="{E6FFB6B8-7C1B-4340-AB47-CC5F56762E06}" type="presParOf" srcId="{B7D19BF3-3362-4AA2-8489-ECEC4253696A}" destId="{489D2F65-9940-4969-AC84-AFE243A1014C}" srcOrd="0" destOrd="0" presId="urn:microsoft.com/office/officeart/2008/layout/PictureAccentList"/>
    <dgm:cxn modelId="{6332742A-39B8-4490-8D39-5AA1116B159E}" type="presParOf" srcId="{D8DAD6E4-B4EF-48F2-A3D9-529941F63F70}" destId="{91754BCD-1603-4FCA-9DDF-1A80CE097A3A}" srcOrd="1" destOrd="0" presId="urn:microsoft.com/office/officeart/2008/layout/PictureAccentList"/>
    <dgm:cxn modelId="{D24A96B8-16A8-40E5-A8D0-D6BA2704C93E}" type="presParOf" srcId="{91754BCD-1603-4FCA-9DDF-1A80CE097A3A}" destId="{8E8AE5EB-5C8D-499A-AF3A-8C4A3DFD5ACA}" srcOrd="0" destOrd="0" presId="urn:microsoft.com/office/officeart/2008/layout/PictureAccentList"/>
    <dgm:cxn modelId="{910C1430-AA4D-4491-99DC-6A18A92BCD7C}" type="presParOf" srcId="{8E8AE5EB-5C8D-499A-AF3A-8C4A3DFD5ACA}" destId="{852EACE0-2547-41EC-987C-86A9D876BDD7}" srcOrd="0" destOrd="0" presId="urn:microsoft.com/office/officeart/2008/layout/PictureAccentList"/>
    <dgm:cxn modelId="{79B2A2FB-CC7C-4087-8C9E-A3ED6467824E}" type="presParOf" srcId="{8E8AE5EB-5C8D-499A-AF3A-8C4A3DFD5ACA}" destId="{6CD6B169-38BB-44FE-B808-9BF50CDB1901}" srcOrd="1" destOrd="0" presId="urn:microsoft.com/office/officeart/2008/layout/PictureAccentList"/>
    <dgm:cxn modelId="{CBE1EEA1-AD17-41F1-93C6-05C779673829}" type="presParOf" srcId="{91754BCD-1603-4FCA-9DDF-1A80CE097A3A}" destId="{C3F71A5B-347F-4E6C-AB3E-D859A81950C2}" srcOrd="1" destOrd="0" presId="urn:microsoft.com/office/officeart/2008/layout/PictureAccentList"/>
    <dgm:cxn modelId="{CC0AD0B3-B483-4C19-8216-25F28B40A469}" type="presParOf" srcId="{C3F71A5B-347F-4E6C-AB3E-D859A81950C2}" destId="{7765EE7F-1307-4ABE-B477-8A8DCF1F9831}" srcOrd="0" destOrd="0" presId="urn:microsoft.com/office/officeart/2008/layout/PictureAccentList"/>
    <dgm:cxn modelId="{0C35157A-83DC-4155-B623-97637954357D}" type="presParOf" srcId="{C3F71A5B-347F-4E6C-AB3E-D859A81950C2}" destId="{3BCD900A-5DF9-4934-B160-9C1BEAD24C25}" srcOrd="1" destOrd="0" presId="urn:microsoft.com/office/officeart/2008/layout/PictureAccentList"/>
    <dgm:cxn modelId="{68F1E962-9A35-449B-8D76-BCCE862266FA}" type="presParOf" srcId="{91754BCD-1603-4FCA-9DDF-1A80CE097A3A}" destId="{6364B808-7E44-4F81-801B-2860C687BBF0}" srcOrd="2" destOrd="0" presId="urn:microsoft.com/office/officeart/2008/layout/PictureAccentList"/>
    <dgm:cxn modelId="{F1913FA0-2D9E-477C-AC6D-D65E7F34E274}" type="presParOf" srcId="{6364B808-7E44-4F81-801B-2860C687BBF0}" destId="{A7CF54C7-5F05-4334-8C3D-6CDFE87E694C}" srcOrd="0" destOrd="0" presId="urn:microsoft.com/office/officeart/2008/layout/PictureAccentList"/>
    <dgm:cxn modelId="{A5BE1EF5-3BB9-473F-8CD0-85FA85620C62}" type="presParOf" srcId="{6364B808-7E44-4F81-801B-2860C687BBF0}" destId="{C233BA51-4A1E-42D8-A02A-3F92546A2979}" srcOrd="1" destOrd="0" presId="urn:microsoft.com/office/officeart/2008/layout/PictureAccent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BA69163-2105-4CE6-ACB1-F5EA380D35A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79ACF8D-C1D7-4369-8807-10543F72F5A0}">
      <dgm:prSet phldrT="[Text]" custT="0"/>
      <dgm:spPr/>
      <dgm:t>
        <a:bodyPr/>
        <a:lstStyle/>
        <a:p>
          <a:pPr rtl="0">
            <a:buClr>
              <a:srgbClr val="444C55"/>
            </a:buClr>
            <a:buSzPts val="3200"/>
            <a:buFont typeface="Arial"/>
            <a:buChar char="•"/>
          </a:pPr>
          <a:r>
            <a:rPr lang="en-US" b="0" i="0" dirty="0">
              <a:solidFill>
                <a:schemeClr val="bg1"/>
              </a:solidFill>
              <a:effectLst/>
              <a:latin typeface="Aptos"/>
            </a:rPr>
            <a:t>Collect patient-reported race/ethnicity Data</a:t>
          </a:r>
          <a:r>
            <a:rPr lang="en-US" dirty="0"/>
            <a:t>📊</a:t>
          </a:r>
        </a:p>
      </dgm:t>
    </dgm:pt>
    <dgm:pt modelId="{CDF0A32C-F59B-4B4E-BCD4-3D82611DFCA6}" type="parTrans" cxnId="{92FDE862-5342-4E4A-A09D-0423D25F938C}">
      <dgm:prSet/>
      <dgm:spPr/>
      <dgm:t>
        <a:bodyPr/>
        <a:lstStyle/>
        <a:p>
          <a:endParaRPr lang="en-US"/>
        </a:p>
      </dgm:t>
    </dgm:pt>
    <dgm:pt modelId="{04DC4125-12E7-4ED2-8CE6-AD167F4CDD34}" type="sibTrans" cxnId="{92FDE862-5342-4E4A-A09D-0423D25F938C}">
      <dgm:prSet/>
      <dgm:spPr/>
      <dgm:t>
        <a:bodyPr/>
        <a:lstStyle/>
        <a:p>
          <a:endParaRPr lang="en-US"/>
        </a:p>
      </dgm:t>
    </dgm:pt>
    <dgm:pt modelId="{026C6C5D-6CA0-457B-8D9A-D9235D148CE6}">
      <dgm:prSet/>
      <dgm:spPr/>
      <dgm:t>
        <a:bodyPr/>
        <a:lstStyle/>
        <a:p>
          <a:pPr>
            <a:buClr>
              <a:srgbClr val="444C55"/>
            </a:buClr>
            <a:buSzPts val="3200"/>
            <a:buFont typeface="Arial"/>
            <a:buChar char="•"/>
          </a:pPr>
          <a:r>
            <a:rPr lang="en-US" b="0" i="0" dirty="0">
              <a:effectLst/>
            </a:rPr>
            <a:t>SDOH </a:t>
          </a:r>
          <a:r>
            <a:rPr lang="en-US" b="0" i="0" dirty="0">
              <a:effectLst/>
              <a:latin typeface="Aptos Display" panose="020F0302020204030204"/>
            </a:rPr>
            <a:t>screening</a:t>
          </a:r>
          <a:r>
            <a:rPr lang="en-US" b="0" i="0" dirty="0">
              <a:effectLst/>
            </a:rPr>
            <a:t> and </a:t>
          </a:r>
          <a:r>
            <a:rPr lang="en-US" b="0" i="0" dirty="0">
              <a:effectLst/>
              <a:latin typeface="Aptos Display" panose="020F0302020204030204"/>
            </a:rPr>
            <a:t>linkage</a:t>
          </a:r>
          <a:endParaRPr lang="en-US" b="0" i="0" dirty="0">
            <a:effectLst/>
          </a:endParaRPr>
        </a:p>
      </dgm:t>
    </dgm:pt>
    <dgm:pt modelId="{B82C376F-EAE9-4E2E-8A4E-8AD393A1C534}" type="parTrans" cxnId="{A0D88061-4317-4453-841C-27DAF69AF60B}">
      <dgm:prSet/>
      <dgm:spPr/>
      <dgm:t>
        <a:bodyPr/>
        <a:lstStyle/>
        <a:p>
          <a:endParaRPr lang="en-US"/>
        </a:p>
      </dgm:t>
    </dgm:pt>
    <dgm:pt modelId="{DBE493C5-E71D-4EF0-B344-C0149EA69FFC}" type="sibTrans" cxnId="{A0D88061-4317-4453-841C-27DAF69AF60B}">
      <dgm:prSet/>
      <dgm:spPr/>
      <dgm:t>
        <a:bodyPr/>
        <a:lstStyle/>
        <a:p>
          <a:endParaRPr lang="en-US"/>
        </a:p>
      </dgm:t>
    </dgm:pt>
    <dgm:pt modelId="{A35283ED-F218-4C54-A942-756A4F2B4590}">
      <dgm:prSet/>
      <dgm:spPr/>
      <dgm:t>
        <a:bodyPr/>
        <a:lstStyle/>
        <a:p>
          <a:pPr rtl="0">
            <a:buClr>
              <a:srgbClr val="444C55"/>
            </a:buClr>
            <a:buSzPts val="3200"/>
            <a:buFont typeface="Arial"/>
            <a:buChar char="•"/>
          </a:pPr>
          <a:r>
            <a:rPr lang="en-US" b="0" i="0" dirty="0">
              <a:effectLst/>
              <a:latin typeface="Aptos Display" panose="020F0302020204030204"/>
            </a:rPr>
            <a:t>Share respectful</a:t>
          </a:r>
          <a:r>
            <a:rPr lang="en-US" b="0" i="0" dirty="0">
              <a:effectLst/>
            </a:rPr>
            <a:t> </a:t>
          </a:r>
          <a:r>
            <a:rPr lang="en-US" b="0" i="0" dirty="0">
              <a:effectLst/>
              <a:latin typeface="Aptos Display" panose="020F0302020204030204"/>
            </a:rPr>
            <a:t>care</a:t>
          </a:r>
          <a:r>
            <a:rPr lang="en-US" b="0" i="0" dirty="0">
              <a:effectLst/>
            </a:rPr>
            <a:t> practices</a:t>
          </a:r>
        </a:p>
      </dgm:t>
    </dgm:pt>
    <dgm:pt modelId="{1245353F-CFA0-45ED-906A-F907E27FC1EB}" type="parTrans" cxnId="{EDD78669-62DA-407F-B8CF-53C428BAC41A}">
      <dgm:prSet/>
      <dgm:spPr/>
      <dgm:t>
        <a:bodyPr/>
        <a:lstStyle/>
        <a:p>
          <a:endParaRPr lang="en-US"/>
        </a:p>
      </dgm:t>
    </dgm:pt>
    <dgm:pt modelId="{A12A5645-8B00-48D2-B7E7-F8AE1B1A1887}" type="sibTrans" cxnId="{EDD78669-62DA-407F-B8CF-53C428BAC41A}">
      <dgm:prSet/>
      <dgm:spPr/>
      <dgm:t>
        <a:bodyPr/>
        <a:lstStyle/>
        <a:p>
          <a:endParaRPr lang="en-US"/>
        </a:p>
      </dgm:t>
    </dgm:pt>
    <dgm:pt modelId="{3D6E9F1F-78FE-42DB-B55E-0544851E6CA8}" type="pres">
      <dgm:prSet presAssocID="{4BA69163-2105-4CE6-ACB1-F5EA380D35A1}" presName="linear" presStyleCnt="0">
        <dgm:presLayoutVars>
          <dgm:animLvl val="lvl"/>
          <dgm:resizeHandles val="exact"/>
        </dgm:presLayoutVars>
      </dgm:prSet>
      <dgm:spPr/>
    </dgm:pt>
    <dgm:pt modelId="{A6459411-64E5-4333-BF2F-7EE278FD0F51}" type="pres">
      <dgm:prSet presAssocID="{279ACF8D-C1D7-4369-8807-10543F72F5A0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2D6E782C-6DA1-45E5-94E0-C06C4FF2D130}" type="pres">
      <dgm:prSet presAssocID="{04DC4125-12E7-4ED2-8CE6-AD167F4CDD34}" presName="spacer" presStyleCnt="0"/>
      <dgm:spPr/>
    </dgm:pt>
    <dgm:pt modelId="{ED2A4889-8A3B-4D71-A3C4-A353E211C869}" type="pres">
      <dgm:prSet presAssocID="{026C6C5D-6CA0-457B-8D9A-D9235D148CE6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F4DF0CEF-B460-42CE-B397-4924CD7098CF}" type="pres">
      <dgm:prSet presAssocID="{DBE493C5-E71D-4EF0-B344-C0149EA69FFC}" presName="spacer" presStyleCnt="0"/>
      <dgm:spPr/>
    </dgm:pt>
    <dgm:pt modelId="{03DAF2D4-95F9-4F09-95E4-15A2FBF23C55}" type="pres">
      <dgm:prSet presAssocID="{A35283ED-F218-4C54-A942-756A4F2B4590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08B73022-B9F0-4FFA-9BA8-A32A06516D67}" type="presOf" srcId="{4BA69163-2105-4CE6-ACB1-F5EA380D35A1}" destId="{3D6E9F1F-78FE-42DB-B55E-0544851E6CA8}" srcOrd="0" destOrd="0" presId="urn:microsoft.com/office/officeart/2005/8/layout/vList2"/>
    <dgm:cxn modelId="{A0D88061-4317-4453-841C-27DAF69AF60B}" srcId="{4BA69163-2105-4CE6-ACB1-F5EA380D35A1}" destId="{026C6C5D-6CA0-457B-8D9A-D9235D148CE6}" srcOrd="1" destOrd="0" parTransId="{B82C376F-EAE9-4E2E-8A4E-8AD393A1C534}" sibTransId="{DBE493C5-E71D-4EF0-B344-C0149EA69FFC}"/>
    <dgm:cxn modelId="{92FDE862-5342-4E4A-A09D-0423D25F938C}" srcId="{4BA69163-2105-4CE6-ACB1-F5EA380D35A1}" destId="{279ACF8D-C1D7-4369-8807-10543F72F5A0}" srcOrd="0" destOrd="0" parTransId="{CDF0A32C-F59B-4B4E-BCD4-3D82611DFCA6}" sibTransId="{04DC4125-12E7-4ED2-8CE6-AD167F4CDD34}"/>
    <dgm:cxn modelId="{EDD78669-62DA-407F-B8CF-53C428BAC41A}" srcId="{4BA69163-2105-4CE6-ACB1-F5EA380D35A1}" destId="{A35283ED-F218-4C54-A942-756A4F2B4590}" srcOrd="2" destOrd="0" parTransId="{1245353F-CFA0-45ED-906A-F907E27FC1EB}" sibTransId="{A12A5645-8B00-48D2-B7E7-F8AE1B1A1887}"/>
    <dgm:cxn modelId="{1AB39974-6CE8-410F-B1E8-C96B76FC2936}" type="presOf" srcId="{A35283ED-F218-4C54-A942-756A4F2B4590}" destId="{03DAF2D4-95F9-4F09-95E4-15A2FBF23C55}" srcOrd="0" destOrd="0" presId="urn:microsoft.com/office/officeart/2005/8/layout/vList2"/>
    <dgm:cxn modelId="{ABF2A5BB-D89D-4931-938F-CF0004993A52}" type="presOf" srcId="{026C6C5D-6CA0-457B-8D9A-D9235D148CE6}" destId="{ED2A4889-8A3B-4D71-A3C4-A353E211C869}" srcOrd="0" destOrd="0" presId="urn:microsoft.com/office/officeart/2005/8/layout/vList2"/>
    <dgm:cxn modelId="{261B30EA-0D9A-4B97-B1DD-8417549B6D07}" type="presOf" srcId="{279ACF8D-C1D7-4369-8807-10543F72F5A0}" destId="{A6459411-64E5-4333-BF2F-7EE278FD0F51}" srcOrd="0" destOrd="0" presId="urn:microsoft.com/office/officeart/2005/8/layout/vList2"/>
    <dgm:cxn modelId="{A952BCAE-BE21-4E96-A950-2BCF6EB2D657}" type="presParOf" srcId="{3D6E9F1F-78FE-42DB-B55E-0544851E6CA8}" destId="{A6459411-64E5-4333-BF2F-7EE278FD0F51}" srcOrd="0" destOrd="0" presId="urn:microsoft.com/office/officeart/2005/8/layout/vList2"/>
    <dgm:cxn modelId="{88354170-4A3F-4EAA-9B91-7E0022F6B74C}" type="presParOf" srcId="{3D6E9F1F-78FE-42DB-B55E-0544851E6CA8}" destId="{2D6E782C-6DA1-45E5-94E0-C06C4FF2D130}" srcOrd="1" destOrd="0" presId="urn:microsoft.com/office/officeart/2005/8/layout/vList2"/>
    <dgm:cxn modelId="{30349B63-0906-4D7B-B451-09422BC1A4A3}" type="presParOf" srcId="{3D6E9F1F-78FE-42DB-B55E-0544851E6CA8}" destId="{ED2A4889-8A3B-4D71-A3C4-A353E211C869}" srcOrd="2" destOrd="0" presId="urn:microsoft.com/office/officeart/2005/8/layout/vList2"/>
    <dgm:cxn modelId="{8B9F1776-483C-479B-B356-FB80424F75E1}" type="presParOf" srcId="{3D6E9F1F-78FE-42DB-B55E-0544851E6CA8}" destId="{F4DF0CEF-B460-42CE-B397-4924CD7098CF}" srcOrd="3" destOrd="0" presId="urn:microsoft.com/office/officeart/2005/8/layout/vList2"/>
    <dgm:cxn modelId="{7929FA0F-9DEF-4022-9520-4220FB1E4250}" type="presParOf" srcId="{3D6E9F1F-78FE-42DB-B55E-0544851E6CA8}" destId="{03DAF2D4-95F9-4F09-95E4-15A2FBF23C55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239DD3F-1825-4AAC-99C5-F3C1B665189C}" type="doc">
      <dgm:prSet loTypeId="urn:microsoft.com/office/officeart/2005/8/layout/hList9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B034754F-589B-4D9B-81BF-6476FBEF8041}">
      <dgm:prSet phldrT="[Text]" phldr="0" custT="1"/>
      <dgm:spPr/>
      <dgm:t>
        <a:bodyPr/>
        <a:lstStyle/>
        <a:p>
          <a:pPr rtl="0"/>
          <a:r>
            <a:rPr lang="en-US" sz="1800" dirty="0">
              <a:latin typeface="Calibri"/>
              <a:ea typeface="Calibri"/>
              <a:cs typeface="Calibri"/>
            </a:rPr>
            <a:t>Achieve healthy people nulliparous, term, singleton, vertex ("NTSV") cesarean rate of </a:t>
          </a:r>
          <a:r>
            <a:rPr lang="en-US" sz="1800" dirty="0">
              <a:latin typeface="Calibri"/>
              <a:ea typeface="Roboto"/>
              <a:cs typeface="Roboto"/>
            </a:rPr>
            <a:t>≤ </a:t>
          </a:r>
          <a:r>
            <a:rPr lang="en-US" sz="1800" dirty="0">
              <a:latin typeface="Calibri"/>
              <a:ea typeface="Calibri"/>
              <a:cs typeface="Calibri"/>
            </a:rPr>
            <a:t>23.6%</a:t>
          </a:r>
          <a:endParaRPr lang="en-US" sz="1800" dirty="0">
            <a:latin typeface="Aptos Display" panose="020F0302020204030204"/>
            <a:ea typeface="Calibri"/>
            <a:cs typeface="Calibri"/>
          </a:endParaRPr>
        </a:p>
      </dgm:t>
    </dgm:pt>
    <dgm:pt modelId="{969AAC78-646C-4344-85EA-8913DC3DBEE9}" type="parTrans" cxnId="{F2A10A75-2365-48AB-9195-4CFE3572675B}">
      <dgm:prSet/>
      <dgm:spPr/>
      <dgm:t>
        <a:bodyPr/>
        <a:lstStyle/>
        <a:p>
          <a:endParaRPr lang="en-US"/>
        </a:p>
      </dgm:t>
    </dgm:pt>
    <dgm:pt modelId="{00F44CA8-5740-4833-BDFF-AE8166D67E82}" type="sibTrans" cxnId="{F2A10A75-2365-48AB-9195-4CFE3572675B}">
      <dgm:prSet/>
      <dgm:spPr/>
      <dgm:t>
        <a:bodyPr/>
        <a:lstStyle/>
        <a:p>
          <a:endParaRPr lang="en-US"/>
        </a:p>
      </dgm:t>
    </dgm:pt>
    <dgm:pt modelId="{538E1A29-86CD-4946-95B5-385E81832D4A}">
      <dgm:prSet phldr="0"/>
      <dgm:spPr/>
      <dgm:t>
        <a:bodyPr/>
        <a:lstStyle/>
        <a:p>
          <a:pPr rtl="0"/>
          <a:r>
            <a:rPr lang="en-US" sz="2000" dirty="0">
              <a:latin typeface="Calibri"/>
              <a:ea typeface="Calibri"/>
              <a:cs typeface="Calibri"/>
            </a:rPr>
            <a:t>1</a:t>
          </a:r>
        </a:p>
      </dgm:t>
    </dgm:pt>
    <dgm:pt modelId="{B31732A5-4F35-4815-B17A-1F54DB1A4631}" type="parTrans" cxnId="{09CB6433-2E4A-4D9F-BD3D-A67B0FD8A145}">
      <dgm:prSet/>
      <dgm:spPr/>
      <dgm:t>
        <a:bodyPr/>
        <a:lstStyle/>
        <a:p>
          <a:endParaRPr lang="en-US"/>
        </a:p>
      </dgm:t>
    </dgm:pt>
    <dgm:pt modelId="{1BADF770-F775-4102-BAC3-86905EC75DD5}" type="sibTrans" cxnId="{09CB6433-2E4A-4D9F-BD3D-A67B0FD8A145}">
      <dgm:prSet/>
      <dgm:spPr/>
      <dgm:t>
        <a:bodyPr/>
        <a:lstStyle/>
        <a:p>
          <a:endParaRPr lang="en-US"/>
        </a:p>
      </dgm:t>
    </dgm:pt>
    <dgm:pt modelId="{784632A8-273F-4609-AAF0-49E45281E2F8}">
      <dgm:prSet phldr="0" custT="1"/>
      <dgm:spPr/>
      <dgm:t>
        <a:bodyPr/>
        <a:lstStyle/>
        <a:p>
          <a:pPr rtl="0"/>
          <a:r>
            <a:rPr lang="en-US" sz="1800" dirty="0">
              <a:latin typeface="Calibri"/>
              <a:ea typeface="Calibri"/>
              <a:cs typeface="Calibri"/>
            </a:rPr>
            <a:t>Achieve ≤ 25% NTSV cesarean rate across stratified groups</a:t>
          </a:r>
        </a:p>
      </dgm:t>
    </dgm:pt>
    <dgm:pt modelId="{D1B9B088-AFE9-4081-B0AF-2D7A96480BCA}" type="parTrans" cxnId="{E836A230-15EF-49A0-9559-F2A780710CE2}">
      <dgm:prSet/>
      <dgm:spPr/>
      <dgm:t>
        <a:bodyPr/>
        <a:lstStyle/>
        <a:p>
          <a:endParaRPr lang="en-US"/>
        </a:p>
      </dgm:t>
    </dgm:pt>
    <dgm:pt modelId="{419AB15E-C79C-47FE-94B5-35966761BFD1}" type="sibTrans" cxnId="{E836A230-15EF-49A0-9559-F2A780710CE2}">
      <dgm:prSet/>
      <dgm:spPr/>
      <dgm:t>
        <a:bodyPr/>
        <a:lstStyle/>
        <a:p>
          <a:endParaRPr lang="en-US"/>
        </a:p>
      </dgm:t>
    </dgm:pt>
    <dgm:pt modelId="{474FD30E-B654-4616-8136-66291B4BE47F}">
      <dgm:prSet phldr="0"/>
      <dgm:spPr/>
      <dgm:t>
        <a:bodyPr/>
        <a:lstStyle/>
        <a:p>
          <a:pPr rtl="0"/>
          <a:r>
            <a:rPr lang="en-US" sz="2400" dirty="0">
              <a:latin typeface="Calibri"/>
              <a:ea typeface="Calibri"/>
              <a:cs typeface="Calibri"/>
            </a:rPr>
            <a:t>2</a:t>
          </a:r>
          <a:endParaRPr lang="en-US" sz="2400" dirty="0">
            <a:latin typeface="Aptos Display" panose="020F0302020204030204"/>
            <a:ea typeface="Calibri"/>
            <a:cs typeface="Calibri"/>
          </a:endParaRPr>
        </a:p>
      </dgm:t>
    </dgm:pt>
    <dgm:pt modelId="{E76A3858-FB02-461B-A03D-4B3C5926B9F3}" type="parTrans" cxnId="{B6F02D12-9A99-4C29-B9EA-261570E79008}">
      <dgm:prSet/>
      <dgm:spPr/>
      <dgm:t>
        <a:bodyPr/>
        <a:lstStyle/>
        <a:p>
          <a:endParaRPr lang="en-US"/>
        </a:p>
      </dgm:t>
    </dgm:pt>
    <dgm:pt modelId="{6D6DCDDC-2066-4C50-ADF9-70FCB14AC1A2}" type="sibTrans" cxnId="{B6F02D12-9A99-4C29-B9EA-261570E79008}">
      <dgm:prSet/>
      <dgm:spPr/>
      <dgm:t>
        <a:bodyPr/>
        <a:lstStyle/>
        <a:p>
          <a:endParaRPr lang="en-US"/>
        </a:p>
      </dgm:t>
    </dgm:pt>
    <dgm:pt modelId="{EBAD6427-EF65-45CE-9154-978EC674D17F}">
      <dgm:prSet phldr="0"/>
      <dgm:spPr/>
      <dgm:t>
        <a:bodyPr/>
        <a:lstStyle/>
        <a:p>
          <a:r>
            <a:rPr lang="en-US" sz="1800" dirty="0">
              <a:latin typeface="Calibri"/>
              <a:ea typeface="Calibri"/>
              <a:cs typeface="Calibri"/>
            </a:rPr>
            <a:t>Document in chart and link </a:t>
          </a:r>
          <a:r>
            <a:rPr lang="en-US" sz="1800" dirty="0">
              <a:latin typeface="Calibri"/>
              <a:ea typeface="Roboto"/>
              <a:cs typeface="Roboto"/>
            </a:rPr>
            <a:t>≥ 70% of patients who screen positive for social determinants of health to community resources</a:t>
          </a:r>
          <a:endParaRPr lang="en-US" sz="1800" dirty="0"/>
        </a:p>
      </dgm:t>
    </dgm:pt>
    <dgm:pt modelId="{DFC9641C-CBBA-4B14-9923-654921B817E2}" type="parTrans" cxnId="{2AC038E8-C841-4A90-8C71-3112F0B08ED2}">
      <dgm:prSet/>
      <dgm:spPr/>
      <dgm:t>
        <a:bodyPr/>
        <a:lstStyle/>
        <a:p>
          <a:endParaRPr lang="en-US"/>
        </a:p>
      </dgm:t>
    </dgm:pt>
    <dgm:pt modelId="{47F1D6A5-1101-4301-B886-A2F23F6F564F}" type="sibTrans" cxnId="{2AC038E8-C841-4A90-8C71-3112F0B08ED2}">
      <dgm:prSet/>
      <dgm:spPr/>
      <dgm:t>
        <a:bodyPr/>
        <a:lstStyle/>
        <a:p>
          <a:endParaRPr lang="en-US"/>
        </a:p>
      </dgm:t>
    </dgm:pt>
    <dgm:pt modelId="{2C67802D-C32C-45F1-94D7-D68E22A32C04}">
      <dgm:prSet phldr="0"/>
      <dgm:spPr/>
      <dgm:t>
        <a:bodyPr/>
        <a:lstStyle/>
        <a:p>
          <a:pPr rtl="0"/>
          <a:r>
            <a:rPr lang="en-US" sz="1800" dirty="0">
              <a:latin typeface="Calibri"/>
              <a:ea typeface="Calibri"/>
              <a:cs typeface="Calibri"/>
            </a:rPr>
            <a:t>3</a:t>
          </a:r>
        </a:p>
      </dgm:t>
    </dgm:pt>
    <dgm:pt modelId="{3FB8FE3B-6C77-4FFB-B8AC-7C4A6E850F38}" type="parTrans" cxnId="{FED70BAF-2C5D-4745-BDF2-EF6AF8C01EBE}">
      <dgm:prSet/>
      <dgm:spPr/>
      <dgm:t>
        <a:bodyPr/>
        <a:lstStyle/>
        <a:p>
          <a:endParaRPr lang="en-US"/>
        </a:p>
      </dgm:t>
    </dgm:pt>
    <dgm:pt modelId="{29FC87CB-9576-421E-B651-59C38C524670}" type="sibTrans" cxnId="{FED70BAF-2C5D-4745-BDF2-EF6AF8C01EBE}">
      <dgm:prSet/>
      <dgm:spPr/>
      <dgm:t>
        <a:bodyPr/>
        <a:lstStyle/>
        <a:p>
          <a:endParaRPr lang="en-US"/>
        </a:p>
      </dgm:t>
    </dgm:pt>
    <dgm:pt modelId="{6FFA962D-0129-4CC4-A034-8B7395DF73F6}" type="pres">
      <dgm:prSet presAssocID="{D239DD3F-1825-4AAC-99C5-F3C1B665189C}" presName="list" presStyleCnt="0">
        <dgm:presLayoutVars>
          <dgm:dir/>
          <dgm:animLvl val="lvl"/>
        </dgm:presLayoutVars>
      </dgm:prSet>
      <dgm:spPr/>
    </dgm:pt>
    <dgm:pt modelId="{3176CD28-E9C7-4D37-AFD8-7279274B8449}" type="pres">
      <dgm:prSet presAssocID="{538E1A29-86CD-4946-95B5-385E81832D4A}" presName="posSpace" presStyleCnt="0"/>
      <dgm:spPr/>
    </dgm:pt>
    <dgm:pt modelId="{89F4D983-8B97-4FB7-BDED-5B0698B368C3}" type="pres">
      <dgm:prSet presAssocID="{538E1A29-86CD-4946-95B5-385E81832D4A}" presName="vertFlow" presStyleCnt="0"/>
      <dgm:spPr/>
    </dgm:pt>
    <dgm:pt modelId="{CB400354-AADE-48E5-995D-F9078ED81745}" type="pres">
      <dgm:prSet presAssocID="{538E1A29-86CD-4946-95B5-385E81832D4A}" presName="topSpace" presStyleCnt="0"/>
      <dgm:spPr/>
    </dgm:pt>
    <dgm:pt modelId="{0E994034-D240-4EB5-88A0-6B7A55B23ACF}" type="pres">
      <dgm:prSet presAssocID="{538E1A29-86CD-4946-95B5-385E81832D4A}" presName="firstComp" presStyleCnt="0"/>
      <dgm:spPr/>
    </dgm:pt>
    <dgm:pt modelId="{1AF1788C-44F0-49EB-9E7E-AD941A887C3B}" type="pres">
      <dgm:prSet presAssocID="{538E1A29-86CD-4946-95B5-385E81832D4A}" presName="firstChild" presStyleLbl="bgAccFollowNode1" presStyleIdx="0" presStyleCnt="3"/>
      <dgm:spPr/>
    </dgm:pt>
    <dgm:pt modelId="{5EF58B31-48FD-4ABE-AA1D-CCB8B8A116A9}" type="pres">
      <dgm:prSet presAssocID="{538E1A29-86CD-4946-95B5-385E81832D4A}" presName="firstChildTx" presStyleLbl="bgAccFollowNode1" presStyleIdx="0" presStyleCnt="3">
        <dgm:presLayoutVars>
          <dgm:bulletEnabled val="1"/>
        </dgm:presLayoutVars>
      </dgm:prSet>
      <dgm:spPr/>
    </dgm:pt>
    <dgm:pt modelId="{A568FC61-59C3-4B14-A73A-1C7DB695D970}" type="pres">
      <dgm:prSet presAssocID="{538E1A29-86CD-4946-95B5-385E81832D4A}" presName="negSpace" presStyleCnt="0"/>
      <dgm:spPr/>
    </dgm:pt>
    <dgm:pt modelId="{A609AC21-9C85-432C-A46A-A21403A026A4}" type="pres">
      <dgm:prSet presAssocID="{538E1A29-86CD-4946-95B5-385E81832D4A}" presName="circle" presStyleLbl="node1" presStyleIdx="0" presStyleCnt="3"/>
      <dgm:spPr/>
    </dgm:pt>
    <dgm:pt modelId="{4E3E0FFD-D17C-42AA-B1CE-00EBA806850B}" type="pres">
      <dgm:prSet presAssocID="{1BADF770-F775-4102-BAC3-86905EC75DD5}" presName="transSpace" presStyleCnt="0"/>
      <dgm:spPr/>
    </dgm:pt>
    <dgm:pt modelId="{D470760C-C55E-4031-9E4D-0EF494AE0D38}" type="pres">
      <dgm:prSet presAssocID="{474FD30E-B654-4616-8136-66291B4BE47F}" presName="posSpace" presStyleCnt="0"/>
      <dgm:spPr/>
    </dgm:pt>
    <dgm:pt modelId="{0F52FAD5-7D53-4E4B-8EB8-2CDCED765705}" type="pres">
      <dgm:prSet presAssocID="{474FD30E-B654-4616-8136-66291B4BE47F}" presName="vertFlow" presStyleCnt="0"/>
      <dgm:spPr/>
    </dgm:pt>
    <dgm:pt modelId="{27E6BE9B-634C-41A1-9989-3DA8CF95768A}" type="pres">
      <dgm:prSet presAssocID="{474FD30E-B654-4616-8136-66291B4BE47F}" presName="topSpace" presStyleCnt="0"/>
      <dgm:spPr/>
    </dgm:pt>
    <dgm:pt modelId="{1202BDE7-8478-48DA-AB83-EE3DEEB8AF3F}" type="pres">
      <dgm:prSet presAssocID="{474FD30E-B654-4616-8136-66291B4BE47F}" presName="firstComp" presStyleCnt="0"/>
      <dgm:spPr/>
    </dgm:pt>
    <dgm:pt modelId="{ABAD03C0-5787-4012-B828-524B4FBCB1A0}" type="pres">
      <dgm:prSet presAssocID="{474FD30E-B654-4616-8136-66291B4BE47F}" presName="firstChild" presStyleLbl="bgAccFollowNode1" presStyleIdx="1" presStyleCnt="3"/>
      <dgm:spPr/>
    </dgm:pt>
    <dgm:pt modelId="{0D7AD7BB-A61E-4D66-BA0D-A441ED5B6EB0}" type="pres">
      <dgm:prSet presAssocID="{474FD30E-B654-4616-8136-66291B4BE47F}" presName="firstChildTx" presStyleLbl="bgAccFollowNode1" presStyleIdx="1" presStyleCnt="3">
        <dgm:presLayoutVars>
          <dgm:bulletEnabled val="1"/>
        </dgm:presLayoutVars>
      </dgm:prSet>
      <dgm:spPr/>
    </dgm:pt>
    <dgm:pt modelId="{98F4DB66-A80E-4165-B2AD-993FA59689FA}" type="pres">
      <dgm:prSet presAssocID="{474FD30E-B654-4616-8136-66291B4BE47F}" presName="negSpace" presStyleCnt="0"/>
      <dgm:spPr/>
    </dgm:pt>
    <dgm:pt modelId="{2A1A144E-7FD6-4F16-9EF0-0894FA5A8DDA}" type="pres">
      <dgm:prSet presAssocID="{474FD30E-B654-4616-8136-66291B4BE47F}" presName="circle" presStyleLbl="node1" presStyleIdx="1" presStyleCnt="3"/>
      <dgm:spPr/>
    </dgm:pt>
    <dgm:pt modelId="{7BF1A81A-2121-4567-9A89-2AB9478595E9}" type="pres">
      <dgm:prSet presAssocID="{6D6DCDDC-2066-4C50-ADF9-70FCB14AC1A2}" presName="transSpace" presStyleCnt="0"/>
      <dgm:spPr/>
    </dgm:pt>
    <dgm:pt modelId="{F9C47D63-364B-42FD-9E93-ADABDBA4924C}" type="pres">
      <dgm:prSet presAssocID="{2C67802D-C32C-45F1-94D7-D68E22A32C04}" presName="posSpace" presStyleCnt="0"/>
      <dgm:spPr/>
    </dgm:pt>
    <dgm:pt modelId="{E85805D7-471B-475C-8494-3D6C636C63CB}" type="pres">
      <dgm:prSet presAssocID="{2C67802D-C32C-45F1-94D7-D68E22A32C04}" presName="vertFlow" presStyleCnt="0"/>
      <dgm:spPr/>
    </dgm:pt>
    <dgm:pt modelId="{2D96A91A-AA58-40D1-9107-6E47057DF9F2}" type="pres">
      <dgm:prSet presAssocID="{2C67802D-C32C-45F1-94D7-D68E22A32C04}" presName="topSpace" presStyleCnt="0"/>
      <dgm:spPr/>
    </dgm:pt>
    <dgm:pt modelId="{5E1A6304-4301-4773-AE55-5CBE5769EE84}" type="pres">
      <dgm:prSet presAssocID="{2C67802D-C32C-45F1-94D7-D68E22A32C04}" presName="firstComp" presStyleCnt="0"/>
      <dgm:spPr/>
    </dgm:pt>
    <dgm:pt modelId="{3D831B79-67DE-49F2-BD18-0C7D8A78A1EE}" type="pres">
      <dgm:prSet presAssocID="{2C67802D-C32C-45F1-94D7-D68E22A32C04}" presName="firstChild" presStyleLbl="bgAccFollowNode1" presStyleIdx="2" presStyleCnt="3"/>
      <dgm:spPr/>
    </dgm:pt>
    <dgm:pt modelId="{D67F9296-F2D8-493E-A6EC-48742F8E94A1}" type="pres">
      <dgm:prSet presAssocID="{2C67802D-C32C-45F1-94D7-D68E22A32C04}" presName="firstChildTx" presStyleLbl="bgAccFollowNode1" presStyleIdx="2" presStyleCnt="3">
        <dgm:presLayoutVars>
          <dgm:bulletEnabled val="1"/>
        </dgm:presLayoutVars>
      </dgm:prSet>
      <dgm:spPr/>
    </dgm:pt>
    <dgm:pt modelId="{6B4456B0-6CBB-4228-9041-99E4DC775235}" type="pres">
      <dgm:prSet presAssocID="{2C67802D-C32C-45F1-94D7-D68E22A32C04}" presName="negSpace" presStyleCnt="0"/>
      <dgm:spPr/>
    </dgm:pt>
    <dgm:pt modelId="{215F9DF6-F8CC-451D-8048-544E97390BB6}" type="pres">
      <dgm:prSet presAssocID="{2C67802D-C32C-45F1-94D7-D68E22A32C04}" presName="circle" presStyleLbl="node1" presStyleIdx="2" presStyleCnt="3"/>
      <dgm:spPr/>
    </dgm:pt>
  </dgm:ptLst>
  <dgm:cxnLst>
    <dgm:cxn modelId="{B6F02D12-9A99-4C29-B9EA-261570E79008}" srcId="{D239DD3F-1825-4AAC-99C5-F3C1B665189C}" destId="{474FD30E-B654-4616-8136-66291B4BE47F}" srcOrd="1" destOrd="0" parTransId="{E76A3858-FB02-461B-A03D-4B3C5926B9F3}" sibTransId="{6D6DCDDC-2066-4C50-ADF9-70FCB14AC1A2}"/>
    <dgm:cxn modelId="{0C09EE1A-847E-46AC-9018-6A9384DCEC98}" type="presOf" srcId="{D239DD3F-1825-4AAC-99C5-F3C1B665189C}" destId="{6FFA962D-0129-4CC4-A034-8B7395DF73F6}" srcOrd="0" destOrd="0" presId="urn:microsoft.com/office/officeart/2005/8/layout/hList9"/>
    <dgm:cxn modelId="{95D9FD20-C7CD-4194-AFDA-BCE8F9962883}" type="presOf" srcId="{784632A8-273F-4609-AAF0-49E45281E2F8}" destId="{0D7AD7BB-A61E-4D66-BA0D-A441ED5B6EB0}" srcOrd="1" destOrd="0" presId="urn:microsoft.com/office/officeart/2005/8/layout/hList9"/>
    <dgm:cxn modelId="{E836A230-15EF-49A0-9559-F2A780710CE2}" srcId="{474FD30E-B654-4616-8136-66291B4BE47F}" destId="{784632A8-273F-4609-AAF0-49E45281E2F8}" srcOrd="0" destOrd="0" parTransId="{D1B9B088-AFE9-4081-B0AF-2D7A96480BCA}" sibTransId="{419AB15E-C79C-47FE-94B5-35966761BFD1}"/>
    <dgm:cxn modelId="{7FF66231-CCFF-4E17-B968-68C6FB4465C8}" type="presOf" srcId="{B034754F-589B-4D9B-81BF-6476FBEF8041}" destId="{1AF1788C-44F0-49EB-9E7E-AD941A887C3B}" srcOrd="0" destOrd="0" presId="urn:microsoft.com/office/officeart/2005/8/layout/hList9"/>
    <dgm:cxn modelId="{8736F031-34EA-4A99-AFCB-46BFA821B64F}" type="presOf" srcId="{474FD30E-B654-4616-8136-66291B4BE47F}" destId="{2A1A144E-7FD6-4F16-9EF0-0894FA5A8DDA}" srcOrd="0" destOrd="0" presId="urn:microsoft.com/office/officeart/2005/8/layout/hList9"/>
    <dgm:cxn modelId="{09CB6433-2E4A-4D9F-BD3D-A67B0FD8A145}" srcId="{D239DD3F-1825-4AAC-99C5-F3C1B665189C}" destId="{538E1A29-86CD-4946-95B5-385E81832D4A}" srcOrd="0" destOrd="0" parTransId="{B31732A5-4F35-4815-B17A-1F54DB1A4631}" sibTransId="{1BADF770-F775-4102-BAC3-86905EC75DD5}"/>
    <dgm:cxn modelId="{1A481153-3878-4470-8CAE-10ECCD95BAF7}" type="presOf" srcId="{EBAD6427-EF65-45CE-9154-978EC674D17F}" destId="{D67F9296-F2D8-493E-A6EC-48742F8E94A1}" srcOrd="1" destOrd="0" presId="urn:microsoft.com/office/officeart/2005/8/layout/hList9"/>
    <dgm:cxn modelId="{F2A10A75-2365-48AB-9195-4CFE3572675B}" srcId="{538E1A29-86CD-4946-95B5-385E81832D4A}" destId="{B034754F-589B-4D9B-81BF-6476FBEF8041}" srcOrd="0" destOrd="0" parTransId="{969AAC78-646C-4344-85EA-8913DC3DBEE9}" sibTransId="{00F44CA8-5740-4833-BDFF-AE8166D67E82}"/>
    <dgm:cxn modelId="{CE0CBB91-991C-40BC-968A-7E5181E5BBB4}" type="presOf" srcId="{784632A8-273F-4609-AAF0-49E45281E2F8}" destId="{ABAD03C0-5787-4012-B828-524B4FBCB1A0}" srcOrd="0" destOrd="0" presId="urn:microsoft.com/office/officeart/2005/8/layout/hList9"/>
    <dgm:cxn modelId="{FED70BAF-2C5D-4745-BDF2-EF6AF8C01EBE}" srcId="{D239DD3F-1825-4AAC-99C5-F3C1B665189C}" destId="{2C67802D-C32C-45F1-94D7-D68E22A32C04}" srcOrd="2" destOrd="0" parTransId="{3FB8FE3B-6C77-4FFB-B8AC-7C4A6E850F38}" sibTransId="{29FC87CB-9576-421E-B651-59C38C524670}"/>
    <dgm:cxn modelId="{5246C7B2-D0EC-45CB-A678-D7A65735EA54}" type="presOf" srcId="{538E1A29-86CD-4946-95B5-385E81832D4A}" destId="{A609AC21-9C85-432C-A46A-A21403A026A4}" srcOrd="0" destOrd="0" presId="urn:microsoft.com/office/officeart/2005/8/layout/hList9"/>
    <dgm:cxn modelId="{729511BC-9FE4-4E18-812E-13EA7BD3CF57}" type="presOf" srcId="{EBAD6427-EF65-45CE-9154-978EC674D17F}" destId="{3D831B79-67DE-49F2-BD18-0C7D8A78A1EE}" srcOrd="0" destOrd="0" presId="urn:microsoft.com/office/officeart/2005/8/layout/hList9"/>
    <dgm:cxn modelId="{CD5D2BCB-2A46-49D7-B817-40C429EC5169}" type="presOf" srcId="{2C67802D-C32C-45F1-94D7-D68E22A32C04}" destId="{215F9DF6-F8CC-451D-8048-544E97390BB6}" srcOrd="0" destOrd="0" presId="urn:microsoft.com/office/officeart/2005/8/layout/hList9"/>
    <dgm:cxn modelId="{846C58DF-4DE9-46DD-A3AA-95B642D56A0B}" type="presOf" srcId="{B034754F-589B-4D9B-81BF-6476FBEF8041}" destId="{5EF58B31-48FD-4ABE-AA1D-CCB8B8A116A9}" srcOrd="1" destOrd="0" presId="urn:microsoft.com/office/officeart/2005/8/layout/hList9"/>
    <dgm:cxn modelId="{2AC038E8-C841-4A90-8C71-3112F0B08ED2}" srcId="{2C67802D-C32C-45F1-94D7-D68E22A32C04}" destId="{EBAD6427-EF65-45CE-9154-978EC674D17F}" srcOrd="0" destOrd="0" parTransId="{DFC9641C-CBBA-4B14-9923-654921B817E2}" sibTransId="{47F1D6A5-1101-4301-B886-A2F23F6F564F}"/>
    <dgm:cxn modelId="{3DCA6FDA-BCA4-499F-851A-724C2DB3F5DB}" type="presParOf" srcId="{6FFA962D-0129-4CC4-A034-8B7395DF73F6}" destId="{3176CD28-E9C7-4D37-AFD8-7279274B8449}" srcOrd="0" destOrd="0" presId="urn:microsoft.com/office/officeart/2005/8/layout/hList9"/>
    <dgm:cxn modelId="{FA73923B-053B-428D-B4AD-56C5543C4F45}" type="presParOf" srcId="{6FFA962D-0129-4CC4-A034-8B7395DF73F6}" destId="{89F4D983-8B97-4FB7-BDED-5B0698B368C3}" srcOrd="1" destOrd="0" presId="urn:microsoft.com/office/officeart/2005/8/layout/hList9"/>
    <dgm:cxn modelId="{6CB333D1-21C0-475C-B784-34F525820CF9}" type="presParOf" srcId="{89F4D983-8B97-4FB7-BDED-5B0698B368C3}" destId="{CB400354-AADE-48E5-995D-F9078ED81745}" srcOrd="0" destOrd="0" presId="urn:microsoft.com/office/officeart/2005/8/layout/hList9"/>
    <dgm:cxn modelId="{20CA1F95-4C05-4671-BA11-79B3E1B89716}" type="presParOf" srcId="{89F4D983-8B97-4FB7-BDED-5B0698B368C3}" destId="{0E994034-D240-4EB5-88A0-6B7A55B23ACF}" srcOrd="1" destOrd="0" presId="urn:microsoft.com/office/officeart/2005/8/layout/hList9"/>
    <dgm:cxn modelId="{CF589073-1FC8-4329-A233-7EEF498395DF}" type="presParOf" srcId="{0E994034-D240-4EB5-88A0-6B7A55B23ACF}" destId="{1AF1788C-44F0-49EB-9E7E-AD941A887C3B}" srcOrd="0" destOrd="0" presId="urn:microsoft.com/office/officeart/2005/8/layout/hList9"/>
    <dgm:cxn modelId="{E23E2329-E2D9-4CBA-938C-97A7668288BA}" type="presParOf" srcId="{0E994034-D240-4EB5-88A0-6B7A55B23ACF}" destId="{5EF58B31-48FD-4ABE-AA1D-CCB8B8A116A9}" srcOrd="1" destOrd="0" presId="urn:microsoft.com/office/officeart/2005/8/layout/hList9"/>
    <dgm:cxn modelId="{D0B0ED14-66B8-48DA-A495-3056BD3EACB7}" type="presParOf" srcId="{6FFA962D-0129-4CC4-A034-8B7395DF73F6}" destId="{A568FC61-59C3-4B14-A73A-1C7DB695D970}" srcOrd="2" destOrd="0" presId="urn:microsoft.com/office/officeart/2005/8/layout/hList9"/>
    <dgm:cxn modelId="{FA333B8D-988D-4846-93A1-DB62B382BD7C}" type="presParOf" srcId="{6FFA962D-0129-4CC4-A034-8B7395DF73F6}" destId="{A609AC21-9C85-432C-A46A-A21403A026A4}" srcOrd="3" destOrd="0" presId="urn:microsoft.com/office/officeart/2005/8/layout/hList9"/>
    <dgm:cxn modelId="{677FBCE8-45E2-44D5-B454-798F5795840F}" type="presParOf" srcId="{6FFA962D-0129-4CC4-A034-8B7395DF73F6}" destId="{4E3E0FFD-D17C-42AA-B1CE-00EBA806850B}" srcOrd="4" destOrd="0" presId="urn:microsoft.com/office/officeart/2005/8/layout/hList9"/>
    <dgm:cxn modelId="{12A84AF3-7D9B-4AB6-81D2-AA2B816D0A75}" type="presParOf" srcId="{6FFA962D-0129-4CC4-A034-8B7395DF73F6}" destId="{D470760C-C55E-4031-9E4D-0EF494AE0D38}" srcOrd="5" destOrd="0" presId="urn:microsoft.com/office/officeart/2005/8/layout/hList9"/>
    <dgm:cxn modelId="{C35804B3-0487-461B-886F-E4D78920932E}" type="presParOf" srcId="{6FFA962D-0129-4CC4-A034-8B7395DF73F6}" destId="{0F52FAD5-7D53-4E4B-8EB8-2CDCED765705}" srcOrd="6" destOrd="0" presId="urn:microsoft.com/office/officeart/2005/8/layout/hList9"/>
    <dgm:cxn modelId="{ECA9A228-8269-425A-8CB4-B268EB68B843}" type="presParOf" srcId="{0F52FAD5-7D53-4E4B-8EB8-2CDCED765705}" destId="{27E6BE9B-634C-41A1-9989-3DA8CF95768A}" srcOrd="0" destOrd="0" presId="urn:microsoft.com/office/officeart/2005/8/layout/hList9"/>
    <dgm:cxn modelId="{6A394A63-6D7B-403B-9609-358BE41F28D2}" type="presParOf" srcId="{0F52FAD5-7D53-4E4B-8EB8-2CDCED765705}" destId="{1202BDE7-8478-48DA-AB83-EE3DEEB8AF3F}" srcOrd="1" destOrd="0" presId="urn:microsoft.com/office/officeart/2005/8/layout/hList9"/>
    <dgm:cxn modelId="{FB81D7B7-DA1F-4A4A-B83E-E7900DBE78CF}" type="presParOf" srcId="{1202BDE7-8478-48DA-AB83-EE3DEEB8AF3F}" destId="{ABAD03C0-5787-4012-B828-524B4FBCB1A0}" srcOrd="0" destOrd="0" presId="urn:microsoft.com/office/officeart/2005/8/layout/hList9"/>
    <dgm:cxn modelId="{CF36909D-8855-4321-9C23-2F4C0D80546D}" type="presParOf" srcId="{1202BDE7-8478-48DA-AB83-EE3DEEB8AF3F}" destId="{0D7AD7BB-A61E-4D66-BA0D-A441ED5B6EB0}" srcOrd="1" destOrd="0" presId="urn:microsoft.com/office/officeart/2005/8/layout/hList9"/>
    <dgm:cxn modelId="{83F68D30-5926-4A4B-8254-048214CA0AD6}" type="presParOf" srcId="{6FFA962D-0129-4CC4-A034-8B7395DF73F6}" destId="{98F4DB66-A80E-4165-B2AD-993FA59689FA}" srcOrd="7" destOrd="0" presId="urn:microsoft.com/office/officeart/2005/8/layout/hList9"/>
    <dgm:cxn modelId="{3F517AFC-0C4A-437B-9AF1-520CD8EDEF05}" type="presParOf" srcId="{6FFA962D-0129-4CC4-A034-8B7395DF73F6}" destId="{2A1A144E-7FD6-4F16-9EF0-0894FA5A8DDA}" srcOrd="8" destOrd="0" presId="urn:microsoft.com/office/officeart/2005/8/layout/hList9"/>
    <dgm:cxn modelId="{9AE7C946-E613-4DDE-91F5-467E2F09A5F3}" type="presParOf" srcId="{6FFA962D-0129-4CC4-A034-8B7395DF73F6}" destId="{7BF1A81A-2121-4567-9A89-2AB9478595E9}" srcOrd="9" destOrd="0" presId="urn:microsoft.com/office/officeart/2005/8/layout/hList9"/>
    <dgm:cxn modelId="{0ED64CD7-255E-45FF-80FB-16CE0555BC02}" type="presParOf" srcId="{6FFA962D-0129-4CC4-A034-8B7395DF73F6}" destId="{F9C47D63-364B-42FD-9E93-ADABDBA4924C}" srcOrd="10" destOrd="0" presId="urn:microsoft.com/office/officeart/2005/8/layout/hList9"/>
    <dgm:cxn modelId="{45A78ECC-B84F-4D02-90F3-138F7E346F73}" type="presParOf" srcId="{6FFA962D-0129-4CC4-A034-8B7395DF73F6}" destId="{E85805D7-471B-475C-8494-3D6C636C63CB}" srcOrd="11" destOrd="0" presId="urn:microsoft.com/office/officeart/2005/8/layout/hList9"/>
    <dgm:cxn modelId="{6FA5296B-2656-424C-91E1-72977CCB93CB}" type="presParOf" srcId="{E85805D7-471B-475C-8494-3D6C636C63CB}" destId="{2D96A91A-AA58-40D1-9107-6E47057DF9F2}" srcOrd="0" destOrd="0" presId="urn:microsoft.com/office/officeart/2005/8/layout/hList9"/>
    <dgm:cxn modelId="{F6130DC9-4C4A-4934-9521-1803B11CBCED}" type="presParOf" srcId="{E85805D7-471B-475C-8494-3D6C636C63CB}" destId="{5E1A6304-4301-4773-AE55-5CBE5769EE84}" srcOrd="1" destOrd="0" presId="urn:microsoft.com/office/officeart/2005/8/layout/hList9"/>
    <dgm:cxn modelId="{8ED4D169-8A8B-4C19-B4D0-A1056BFE04C8}" type="presParOf" srcId="{5E1A6304-4301-4773-AE55-5CBE5769EE84}" destId="{3D831B79-67DE-49F2-BD18-0C7D8A78A1EE}" srcOrd="0" destOrd="0" presId="urn:microsoft.com/office/officeart/2005/8/layout/hList9"/>
    <dgm:cxn modelId="{8C80C012-B657-4F0D-A3D0-AA053492C335}" type="presParOf" srcId="{5E1A6304-4301-4773-AE55-5CBE5769EE84}" destId="{D67F9296-F2D8-493E-A6EC-48742F8E94A1}" srcOrd="1" destOrd="0" presId="urn:microsoft.com/office/officeart/2005/8/layout/hList9"/>
    <dgm:cxn modelId="{D11AAFAF-45C7-4A9B-9345-0B9F7BE8745E}" type="presParOf" srcId="{6FFA962D-0129-4CC4-A034-8B7395DF73F6}" destId="{6B4456B0-6CBB-4228-9041-99E4DC775235}" srcOrd="12" destOrd="0" presId="urn:microsoft.com/office/officeart/2005/8/layout/hList9"/>
    <dgm:cxn modelId="{2E261B37-F6A1-499D-9752-7ADAF6A404B7}" type="presParOf" srcId="{6FFA962D-0129-4CC4-A034-8B7395DF73F6}" destId="{215F9DF6-F8CC-451D-8048-544E97390BB6}" srcOrd="13" destOrd="0" presId="urn:microsoft.com/office/officeart/2005/8/layout/hList9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DD2E0E-F49E-4BE0-95A3-709CC9C0A47F}">
      <dsp:nvSpPr>
        <dsp:cNvPr id="0" name=""/>
        <dsp:cNvSpPr/>
      </dsp:nvSpPr>
      <dsp:spPr>
        <a:xfrm>
          <a:off x="0" y="464093"/>
          <a:ext cx="7101795" cy="11576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1178" tIns="437388" rIns="551178" bIns="149352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>
              <a:latin typeface="DM Sans"/>
            </a:rPr>
            <a:t>All data baseline-August 2025 will be </a:t>
          </a:r>
          <a:r>
            <a:rPr lang="en-US" sz="2100" b="1" kern="1200" dirty="0">
              <a:latin typeface="DM Sans"/>
            </a:rPr>
            <a:t>due on September 30</a:t>
          </a:r>
          <a:r>
            <a:rPr lang="en-US" sz="2100" b="1" kern="1200" baseline="30000" dirty="0">
              <a:latin typeface="DM Sans"/>
            </a:rPr>
            <a:t>th</a:t>
          </a:r>
          <a:r>
            <a:rPr lang="en-US" sz="2100" b="1" kern="1200" dirty="0">
              <a:latin typeface="DM Sans"/>
            </a:rPr>
            <a:t>, 2025,</a:t>
          </a:r>
          <a:r>
            <a:rPr lang="en-US" sz="2100" kern="1200" dirty="0">
              <a:latin typeface="DM Sans"/>
            </a:rPr>
            <a:t> for award consideration.</a:t>
          </a:r>
          <a:endParaRPr lang="en-US" sz="2100" b="1" kern="1200" dirty="0">
            <a:latin typeface="DM Sans"/>
          </a:endParaRPr>
        </a:p>
      </dsp:txBody>
      <dsp:txXfrm>
        <a:off x="0" y="464093"/>
        <a:ext cx="7101795" cy="1157625"/>
      </dsp:txXfrm>
    </dsp:sp>
    <dsp:sp modelId="{717BC3C2-DA22-4D51-A406-9086CACDDF9B}">
      <dsp:nvSpPr>
        <dsp:cNvPr id="0" name=""/>
        <dsp:cNvSpPr/>
      </dsp:nvSpPr>
      <dsp:spPr>
        <a:xfrm>
          <a:off x="355089" y="154133"/>
          <a:ext cx="4971256" cy="61992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7902" tIns="0" rIns="187902" bIns="0" numCol="1" spcCol="1270" anchor="ctr" anchorCtr="0">
          <a:noAutofit/>
        </a:bodyPr>
        <a:lstStyle/>
        <a:p>
          <a:pPr marL="0" lvl="0" indent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>
              <a:solidFill>
                <a:schemeClr val="bg1"/>
              </a:solidFill>
              <a:latin typeface="DM Sans"/>
            </a:rPr>
            <a:t> </a:t>
          </a:r>
          <a:r>
            <a:rPr lang="en-US" sz="2100" b="1" kern="1200" dirty="0">
              <a:solidFill>
                <a:schemeClr val="bg1"/>
              </a:solidFill>
              <a:latin typeface="DM Sans"/>
            </a:rPr>
            <a:t>Submit your Data! </a:t>
          </a:r>
        </a:p>
      </dsp:txBody>
      <dsp:txXfrm>
        <a:off x="385351" y="184395"/>
        <a:ext cx="4910732" cy="559396"/>
      </dsp:txXfrm>
    </dsp:sp>
    <dsp:sp modelId="{6C17968B-3B40-4894-B40F-C49EEEEE87D3}">
      <dsp:nvSpPr>
        <dsp:cNvPr id="0" name=""/>
        <dsp:cNvSpPr/>
      </dsp:nvSpPr>
      <dsp:spPr>
        <a:xfrm>
          <a:off x="0" y="2045078"/>
          <a:ext cx="7101795" cy="14222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hueOff val="2058582"/>
              <a:satOff val="12356"/>
              <a:lumOff val="941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1178" tIns="437388" rIns="551178" bIns="149352" numCol="1" spcCol="1270" anchor="t" anchorCtr="0">
          <a:noAutofit/>
        </a:bodyPr>
        <a:lstStyle/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>
              <a:latin typeface="DM Sans"/>
            </a:rPr>
            <a:t> </a:t>
          </a:r>
          <a:r>
            <a:rPr lang="en-US" sz="2100" b="1" kern="1200" dirty="0">
              <a:latin typeface="DM Sans"/>
            </a:rPr>
            <a:t>Info coming soon!</a:t>
          </a:r>
          <a:r>
            <a:rPr lang="en-US" sz="2100" kern="1200" dirty="0">
              <a:latin typeface="DM Sans"/>
            </a:rPr>
            <a:t> All hospital teams are asked to submit an abstract on their QI work (can be in progress).</a:t>
          </a:r>
        </a:p>
      </dsp:txBody>
      <dsp:txXfrm>
        <a:off x="0" y="2045078"/>
        <a:ext cx="7101795" cy="1422225"/>
      </dsp:txXfrm>
    </dsp:sp>
    <dsp:sp modelId="{C8372599-BDA9-4E62-9184-ABA50695DEAE}">
      <dsp:nvSpPr>
        <dsp:cNvPr id="0" name=""/>
        <dsp:cNvSpPr/>
      </dsp:nvSpPr>
      <dsp:spPr>
        <a:xfrm>
          <a:off x="355089" y="1735118"/>
          <a:ext cx="4971256" cy="619920"/>
        </a:xfrm>
        <a:prstGeom prst="roundRect">
          <a:avLst/>
        </a:prstGeom>
        <a:solidFill>
          <a:schemeClr val="accent3">
            <a:hueOff val="2058582"/>
            <a:satOff val="12356"/>
            <a:lumOff val="9413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7902" tIns="0" rIns="187902" bIns="0" numCol="1" spcCol="1270" anchor="ctr" anchorCtr="0">
          <a:noAutofit/>
        </a:bodyPr>
        <a:lstStyle/>
        <a:p>
          <a:pPr marL="0" lvl="0" indent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 dirty="0">
              <a:solidFill>
                <a:schemeClr val="bg1"/>
              </a:solidFill>
              <a:latin typeface="DM Sans"/>
            </a:rPr>
            <a:t>Call for QI Abstracts! </a:t>
          </a:r>
        </a:p>
      </dsp:txBody>
      <dsp:txXfrm>
        <a:off x="385351" y="1765380"/>
        <a:ext cx="4910732" cy="559396"/>
      </dsp:txXfrm>
    </dsp:sp>
    <dsp:sp modelId="{E42B4496-FBF8-4DC9-AF60-BFE77B144112}">
      <dsp:nvSpPr>
        <dsp:cNvPr id="0" name=""/>
        <dsp:cNvSpPr/>
      </dsp:nvSpPr>
      <dsp:spPr>
        <a:xfrm>
          <a:off x="0" y="3890663"/>
          <a:ext cx="7101795" cy="20175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hueOff val="4117163"/>
              <a:satOff val="24712"/>
              <a:lumOff val="1882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1178" tIns="437388" rIns="551178" bIns="149352" numCol="1" spcCol="1270" anchor="t" anchorCtr="0">
          <a:noAutofit/>
        </a:bodyPr>
        <a:lstStyle/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>
              <a:latin typeface="DM Sans"/>
            </a:rPr>
            <a:t>We want to hear from you! </a:t>
          </a:r>
          <a:r>
            <a:rPr lang="en-US" sz="2100" b="1" kern="1200" dirty="0">
              <a:latin typeface="DM Sans"/>
            </a:rPr>
            <a:t>Survey opens in Sept!</a:t>
          </a:r>
        </a:p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>
              <a:latin typeface="DM Sans"/>
            </a:rPr>
            <a:t>This is a great opportunity to share your teams' thoughts &amp; insights reflecting on 2025 and planning for 2026!</a:t>
          </a:r>
        </a:p>
      </dsp:txBody>
      <dsp:txXfrm>
        <a:off x="0" y="3890663"/>
        <a:ext cx="7101795" cy="2017575"/>
      </dsp:txXfrm>
    </dsp:sp>
    <dsp:sp modelId="{ECEB8BDC-F220-41C1-B502-A535EC67DE59}">
      <dsp:nvSpPr>
        <dsp:cNvPr id="0" name=""/>
        <dsp:cNvSpPr/>
      </dsp:nvSpPr>
      <dsp:spPr>
        <a:xfrm>
          <a:off x="355089" y="3580703"/>
          <a:ext cx="4971256" cy="619920"/>
        </a:xfrm>
        <a:prstGeom prst="roundRect">
          <a:avLst/>
        </a:prstGeom>
        <a:solidFill>
          <a:schemeClr val="accent3">
            <a:hueOff val="4117163"/>
            <a:satOff val="24712"/>
            <a:lumOff val="18825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7902" tIns="0" rIns="187902" bIns="0" numCol="1" spcCol="1270" anchor="ctr" anchorCtr="0">
          <a:noAutofit/>
        </a:bodyPr>
        <a:lstStyle/>
        <a:p>
          <a:pPr marL="0" lvl="0" indent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u="none" kern="1200" dirty="0">
              <a:solidFill>
                <a:schemeClr val="bg1"/>
              </a:solidFill>
              <a:latin typeface="DM Sans"/>
            </a:rPr>
            <a:t>ILPQC Annual Conference Teams </a:t>
          </a:r>
          <a:r>
            <a:rPr lang="en-US" sz="2100" b="1" kern="1200" dirty="0">
              <a:solidFill>
                <a:schemeClr val="bg1"/>
              </a:solidFill>
              <a:latin typeface="DM Sans"/>
            </a:rPr>
            <a:t>Survey! </a:t>
          </a:r>
        </a:p>
      </dsp:txBody>
      <dsp:txXfrm>
        <a:off x="385351" y="3610965"/>
        <a:ext cx="4910732" cy="55939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44006B-810A-4AF0-A131-4CBFD29D914B}">
      <dsp:nvSpPr>
        <dsp:cNvPr id="0" name=""/>
        <dsp:cNvSpPr/>
      </dsp:nvSpPr>
      <dsp:spPr>
        <a:xfrm rot="16200000">
          <a:off x="-1129618" y="1131996"/>
          <a:ext cx="4596833" cy="2332840"/>
        </a:xfrm>
        <a:prstGeom prst="flowChartManualOperati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8750" tIns="0" rIns="158266" bIns="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444C55"/>
            </a:buClr>
            <a:buSzPts val="4200"/>
            <a:buFont typeface="Arial" panose="020B0604020202020204" pitchFamily="34" charset="0"/>
            <a:buNone/>
          </a:pPr>
          <a:r>
            <a:rPr lang="en-US" sz="2500" b="0" i="0" u="none" strike="noStrike" kern="1200" cap="none" dirty="0">
              <a:latin typeface="Calibri" panose="020F0502020204030204" pitchFamily="34" charset="0"/>
              <a:cs typeface="Calibri" panose="020F0502020204030204" pitchFamily="34" charset="0"/>
              <a:sym typeface="Arial"/>
            </a:rPr>
            <a:t>Active Participation with ILPQC</a:t>
          </a:r>
          <a:endParaRPr lang="en-US" sz="2500" kern="1200" dirty="0"/>
        </a:p>
      </dsp:txBody>
      <dsp:txXfrm rot="5400000">
        <a:off x="2378" y="919367"/>
        <a:ext cx="2332840" cy="2758099"/>
      </dsp:txXfrm>
    </dsp:sp>
    <dsp:sp modelId="{34A5C179-6F94-42AE-93FC-801A1FE02C66}">
      <dsp:nvSpPr>
        <dsp:cNvPr id="0" name=""/>
        <dsp:cNvSpPr/>
      </dsp:nvSpPr>
      <dsp:spPr>
        <a:xfrm rot="16200000">
          <a:off x="1378184" y="1131996"/>
          <a:ext cx="4596833" cy="2332840"/>
        </a:xfrm>
        <a:prstGeom prst="flowChartManualOperation">
          <a:avLst/>
        </a:prstGeom>
        <a:solidFill>
          <a:schemeClr val="accent3">
            <a:hueOff val="1372388"/>
            <a:satOff val="8237"/>
            <a:lumOff val="627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8750" tIns="0" rIns="158266" bIns="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>
              <a:latin typeface="Calibri" panose="020F0502020204030204" pitchFamily="34" charset="0"/>
              <a:ea typeface="Calibri"/>
              <a:cs typeface="Calibri" panose="020F0502020204030204" pitchFamily="34" charset="0"/>
            </a:rPr>
            <a:t>New Hire and Ongoing Education to support PVB/BE sustainability</a:t>
          </a:r>
        </a:p>
      </dsp:txBody>
      <dsp:txXfrm rot="5400000">
        <a:off x="2510180" y="919367"/>
        <a:ext cx="2332840" cy="2758099"/>
      </dsp:txXfrm>
    </dsp:sp>
    <dsp:sp modelId="{53FEB7D8-B70D-4E86-85B8-2C34F4DA7336}">
      <dsp:nvSpPr>
        <dsp:cNvPr id="0" name=""/>
        <dsp:cNvSpPr/>
      </dsp:nvSpPr>
      <dsp:spPr>
        <a:xfrm rot="16200000">
          <a:off x="3885988" y="1131996"/>
          <a:ext cx="4596833" cy="2332840"/>
        </a:xfrm>
        <a:prstGeom prst="flowChartManualOperation">
          <a:avLst/>
        </a:prstGeom>
        <a:solidFill>
          <a:schemeClr val="accent3">
            <a:hueOff val="2744775"/>
            <a:satOff val="16475"/>
            <a:lumOff val="1255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8750" tIns="0" rIns="158266" bIns="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rPr>
            <a:t>Engage Patients and Community</a:t>
          </a:r>
          <a:endParaRPr lang="en-US" sz="2500" kern="1200" dirty="0">
            <a:latin typeface="Calibri" panose="020F0502020204030204" pitchFamily="34" charset="0"/>
            <a:ea typeface="Calibri"/>
            <a:cs typeface="Calibri" panose="020F0502020204030204" pitchFamily="34" charset="0"/>
            <a:sym typeface="Calibri"/>
          </a:endParaRPr>
        </a:p>
      </dsp:txBody>
      <dsp:txXfrm rot="5400000">
        <a:off x="5017984" y="919367"/>
        <a:ext cx="2332840" cy="2758099"/>
      </dsp:txXfrm>
    </dsp:sp>
    <dsp:sp modelId="{B8BB14C5-6765-4F2C-88C8-524D091D01E7}">
      <dsp:nvSpPr>
        <dsp:cNvPr id="0" name=""/>
        <dsp:cNvSpPr/>
      </dsp:nvSpPr>
      <dsp:spPr>
        <a:xfrm rot="16200000">
          <a:off x="6393791" y="1131996"/>
          <a:ext cx="4596833" cy="2332840"/>
        </a:xfrm>
        <a:prstGeom prst="flowChartManualOperation">
          <a:avLst/>
        </a:prstGeom>
        <a:solidFill>
          <a:schemeClr val="accent3">
            <a:hueOff val="4117163"/>
            <a:satOff val="24712"/>
            <a:lumOff val="1882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8750" tIns="0" rIns="158266" bIns="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rPr>
            <a:t>Achieve Aims and Reduce Disparities: NTSV C-Section Rate and SDOH Screening and Linkage</a:t>
          </a:r>
          <a:endParaRPr lang="en-US" sz="2500" kern="1200" dirty="0">
            <a:latin typeface="Calibri" panose="020F0502020204030204" pitchFamily="34" charset="0"/>
            <a:ea typeface="Calibri"/>
            <a:cs typeface="Calibri" panose="020F0502020204030204" pitchFamily="34" charset="0"/>
            <a:sym typeface="Calibri"/>
          </a:endParaRPr>
        </a:p>
      </dsp:txBody>
      <dsp:txXfrm rot="5400000">
        <a:off x="7525787" y="919367"/>
        <a:ext cx="2332840" cy="275809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9D2F65-9940-4969-AC84-AFE243A1014C}">
      <dsp:nvSpPr>
        <dsp:cNvPr id="0" name=""/>
        <dsp:cNvSpPr/>
      </dsp:nvSpPr>
      <dsp:spPr>
        <a:xfrm>
          <a:off x="537263" y="1961"/>
          <a:ext cx="10153193" cy="117926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45720" rIns="68580" bIns="45720" numCol="1" spcCol="1270" anchor="ctr" anchorCtr="0">
          <a:noAutofit/>
        </a:bodyPr>
        <a:lstStyle/>
        <a:p>
          <a:pPr marL="0" lvl="0" indent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b="1" i="0" u="none" strike="noStrike" kern="1200" cap="none" dirty="0">
              <a:latin typeface="Arial"/>
              <a:ea typeface="Calibri"/>
              <a:cs typeface="Calibri"/>
              <a:sym typeface="Calibri"/>
            </a:rPr>
            <a:t>Engage patients and community</a:t>
          </a:r>
        </a:p>
      </dsp:txBody>
      <dsp:txXfrm>
        <a:off x="571802" y="36500"/>
        <a:ext cx="10084115" cy="1110187"/>
      </dsp:txXfrm>
    </dsp:sp>
    <dsp:sp modelId="{852EACE0-2547-41EC-987C-86A9D876BDD7}">
      <dsp:nvSpPr>
        <dsp:cNvPr id="0" name=""/>
        <dsp:cNvSpPr/>
      </dsp:nvSpPr>
      <dsp:spPr>
        <a:xfrm>
          <a:off x="537263" y="1393494"/>
          <a:ext cx="1179265" cy="1179265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CD6B169-38BB-44FE-B808-9BF50CDB1901}">
      <dsp:nvSpPr>
        <dsp:cNvPr id="0" name=""/>
        <dsp:cNvSpPr/>
      </dsp:nvSpPr>
      <dsp:spPr>
        <a:xfrm>
          <a:off x="1787285" y="1393494"/>
          <a:ext cx="8903171" cy="1179265"/>
        </a:xfrm>
        <a:prstGeom prst="roundRect">
          <a:avLst>
            <a:gd name="adj" fmla="val 166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444C55"/>
            </a:buClr>
            <a:buSzPts val="3200"/>
            <a:buFont typeface="Arial"/>
            <a:buNone/>
          </a:pPr>
          <a:r>
            <a:rPr lang="en-US" sz="2000" b="1" i="0" u="none" strike="noStrike" kern="1200" cap="none" dirty="0">
              <a:latin typeface="Calibri"/>
              <a:ea typeface="Calibri"/>
              <a:cs typeface="Calibri"/>
              <a:sym typeface="Calibri"/>
            </a:rPr>
            <a:t>Engage</a:t>
          </a:r>
          <a:r>
            <a:rPr lang="en-US" sz="2000" b="1" kern="1200" dirty="0">
              <a:latin typeface="Calibri"/>
              <a:ea typeface="Calibri"/>
              <a:cs typeface="Calibri"/>
            </a:rPr>
            <a:t> </a:t>
          </a:r>
          <a:r>
            <a:rPr lang="en-US" sz="2000" kern="1200" dirty="0">
              <a:latin typeface="Calibri"/>
              <a:ea typeface="Calibri"/>
              <a:cs typeface="Calibri"/>
            </a:rPr>
            <a:t>Prenatal clinics, FQHC's, and community health partners in QI efforts</a:t>
          </a:r>
          <a:endParaRPr lang="en-US" sz="2000" kern="1200" dirty="0"/>
        </a:p>
      </dsp:txBody>
      <dsp:txXfrm>
        <a:off x="1844862" y="1451071"/>
        <a:ext cx="8788017" cy="1064111"/>
      </dsp:txXfrm>
    </dsp:sp>
    <dsp:sp modelId="{7765EE7F-1307-4ABE-B477-8A8DCF1F9831}">
      <dsp:nvSpPr>
        <dsp:cNvPr id="0" name=""/>
        <dsp:cNvSpPr/>
      </dsp:nvSpPr>
      <dsp:spPr>
        <a:xfrm>
          <a:off x="537263" y="2714272"/>
          <a:ext cx="1179265" cy="1179265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BCD900A-5DF9-4934-B160-9C1BEAD24C25}">
      <dsp:nvSpPr>
        <dsp:cNvPr id="0" name=""/>
        <dsp:cNvSpPr/>
      </dsp:nvSpPr>
      <dsp:spPr>
        <a:xfrm>
          <a:off x="1787285" y="2714272"/>
          <a:ext cx="8903171" cy="1179265"/>
        </a:xfrm>
        <a:prstGeom prst="roundRect">
          <a:avLst>
            <a:gd name="adj" fmla="val 16670"/>
          </a:avLst>
        </a:prstGeom>
        <a:solidFill>
          <a:schemeClr val="accent2">
            <a:hueOff val="3221807"/>
            <a:satOff val="-9246"/>
            <a:lumOff val="-14805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i="0" u="none" strike="noStrike" kern="1200" cap="none" dirty="0">
              <a:latin typeface="Calibri"/>
              <a:ea typeface="Calibri"/>
              <a:cs typeface="Calibri"/>
              <a:sym typeface="Calibri"/>
            </a:rPr>
            <a:t>Build </a:t>
          </a:r>
          <a:r>
            <a:rPr lang="en-US" sz="2000" b="0" i="0" u="none" strike="noStrike" kern="1200" cap="none" dirty="0">
              <a:latin typeface="Calibri"/>
              <a:ea typeface="Calibri"/>
              <a:cs typeface="Calibri"/>
              <a:sym typeface="Calibri"/>
            </a:rPr>
            <a:t>connections with doulas, home visiting programs and local community resources to improve referral of patients to these community resources </a:t>
          </a:r>
        </a:p>
      </dsp:txBody>
      <dsp:txXfrm>
        <a:off x="1844862" y="2771849"/>
        <a:ext cx="8788017" cy="1064111"/>
      </dsp:txXfrm>
    </dsp:sp>
    <dsp:sp modelId="{A7CF54C7-5F05-4334-8C3D-6CDFE87E694C}">
      <dsp:nvSpPr>
        <dsp:cNvPr id="0" name=""/>
        <dsp:cNvSpPr/>
      </dsp:nvSpPr>
      <dsp:spPr>
        <a:xfrm>
          <a:off x="537263" y="4035050"/>
          <a:ext cx="1179265" cy="1179265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33BA51-4A1E-42D8-A02A-3F92546A2979}">
      <dsp:nvSpPr>
        <dsp:cNvPr id="0" name=""/>
        <dsp:cNvSpPr/>
      </dsp:nvSpPr>
      <dsp:spPr>
        <a:xfrm>
          <a:off x="1787285" y="4035050"/>
          <a:ext cx="8903171" cy="1179265"/>
        </a:xfrm>
        <a:prstGeom prst="roundRect">
          <a:avLst>
            <a:gd name="adj" fmla="val 16670"/>
          </a:avLst>
        </a:prstGeom>
        <a:solidFill>
          <a:schemeClr val="accent2">
            <a:hueOff val="6443614"/>
            <a:satOff val="-18493"/>
            <a:lumOff val="-29609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i="0" u="none" strike="noStrike" kern="1200" cap="none" dirty="0">
              <a:latin typeface="Calibri"/>
              <a:ea typeface="Calibri"/>
              <a:cs typeface="Calibri"/>
              <a:sym typeface="Calibri"/>
            </a:rPr>
            <a:t>Review </a:t>
          </a:r>
          <a:r>
            <a:rPr lang="en-US" sz="2000" b="0" i="0" u="none" strike="noStrike" kern="1200" cap="none" dirty="0">
              <a:latin typeface="Calibri"/>
              <a:ea typeface="Calibri"/>
              <a:cs typeface="Calibri"/>
              <a:sym typeface="Calibri"/>
            </a:rPr>
            <a:t>labor and delivery policies and procedures to promote doula-friendly unit culture and</a:t>
          </a:r>
          <a:r>
            <a:rPr lang="en-US" sz="2000" b="0" kern="1200" dirty="0">
              <a:latin typeface="Calibri"/>
              <a:ea typeface="Calibri"/>
              <a:cs typeface="Calibri"/>
            </a:rPr>
            <a:t> inclusive care</a:t>
          </a:r>
          <a:endParaRPr lang="en-US" sz="2000" b="0" kern="1200" dirty="0"/>
        </a:p>
      </dsp:txBody>
      <dsp:txXfrm>
        <a:off x="1844862" y="4092627"/>
        <a:ext cx="8788017" cy="106411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459411-64E5-4333-BF2F-7EE278FD0F51}">
      <dsp:nvSpPr>
        <dsp:cNvPr id="0" name=""/>
        <dsp:cNvSpPr/>
      </dsp:nvSpPr>
      <dsp:spPr>
        <a:xfrm>
          <a:off x="0" y="31798"/>
          <a:ext cx="8420339" cy="16426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marL="0" lvl="0" indent="0" algn="l" defTabSz="1733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444C55"/>
            </a:buClr>
            <a:buSzPts val="3200"/>
            <a:buFont typeface="Arial"/>
            <a:buNone/>
          </a:pPr>
          <a:r>
            <a:rPr lang="en-US" sz="3900" b="0" i="0" kern="1200" dirty="0">
              <a:solidFill>
                <a:schemeClr val="bg1"/>
              </a:solidFill>
              <a:effectLst/>
              <a:latin typeface="Aptos"/>
            </a:rPr>
            <a:t>Collect patient-reported race/ethnicity Data</a:t>
          </a:r>
          <a:r>
            <a:rPr lang="en-US" sz="3900" kern="1200" dirty="0"/>
            <a:t>📊</a:t>
          </a:r>
        </a:p>
      </dsp:txBody>
      <dsp:txXfrm>
        <a:off x="80189" y="111987"/>
        <a:ext cx="8259961" cy="1482302"/>
      </dsp:txXfrm>
    </dsp:sp>
    <dsp:sp modelId="{ED2A4889-8A3B-4D71-A3C4-A353E211C869}">
      <dsp:nvSpPr>
        <dsp:cNvPr id="0" name=""/>
        <dsp:cNvSpPr/>
      </dsp:nvSpPr>
      <dsp:spPr>
        <a:xfrm>
          <a:off x="0" y="1786798"/>
          <a:ext cx="8420339" cy="16426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444C55"/>
            </a:buClr>
            <a:buSzPts val="3200"/>
            <a:buFont typeface="Arial"/>
            <a:buNone/>
          </a:pPr>
          <a:r>
            <a:rPr lang="en-US" sz="3900" b="0" i="0" kern="1200" dirty="0">
              <a:effectLst/>
            </a:rPr>
            <a:t>SDOH </a:t>
          </a:r>
          <a:r>
            <a:rPr lang="en-US" sz="3900" b="0" i="0" kern="1200" dirty="0">
              <a:effectLst/>
              <a:latin typeface="Aptos Display" panose="020F0302020204030204"/>
            </a:rPr>
            <a:t>screening</a:t>
          </a:r>
          <a:r>
            <a:rPr lang="en-US" sz="3900" b="0" i="0" kern="1200" dirty="0">
              <a:effectLst/>
            </a:rPr>
            <a:t> and </a:t>
          </a:r>
          <a:r>
            <a:rPr lang="en-US" sz="3900" b="0" i="0" kern="1200" dirty="0">
              <a:effectLst/>
              <a:latin typeface="Aptos Display" panose="020F0302020204030204"/>
            </a:rPr>
            <a:t>linkage</a:t>
          </a:r>
          <a:endParaRPr lang="en-US" sz="3900" b="0" i="0" kern="1200" dirty="0">
            <a:effectLst/>
          </a:endParaRPr>
        </a:p>
      </dsp:txBody>
      <dsp:txXfrm>
        <a:off x="80189" y="1866987"/>
        <a:ext cx="8259961" cy="1482302"/>
      </dsp:txXfrm>
    </dsp:sp>
    <dsp:sp modelId="{03DAF2D4-95F9-4F09-95E4-15A2FBF23C55}">
      <dsp:nvSpPr>
        <dsp:cNvPr id="0" name=""/>
        <dsp:cNvSpPr/>
      </dsp:nvSpPr>
      <dsp:spPr>
        <a:xfrm>
          <a:off x="0" y="3541798"/>
          <a:ext cx="8420339" cy="16426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marL="0" lvl="0" indent="0" algn="l" defTabSz="1733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444C55"/>
            </a:buClr>
            <a:buSzPts val="3200"/>
            <a:buFont typeface="Arial"/>
            <a:buNone/>
          </a:pPr>
          <a:r>
            <a:rPr lang="en-US" sz="3900" b="0" i="0" kern="1200" dirty="0">
              <a:effectLst/>
              <a:latin typeface="Aptos Display" panose="020F0302020204030204"/>
            </a:rPr>
            <a:t>Share respectful</a:t>
          </a:r>
          <a:r>
            <a:rPr lang="en-US" sz="3900" b="0" i="0" kern="1200" dirty="0">
              <a:effectLst/>
            </a:rPr>
            <a:t> </a:t>
          </a:r>
          <a:r>
            <a:rPr lang="en-US" sz="3900" b="0" i="0" kern="1200" dirty="0">
              <a:effectLst/>
              <a:latin typeface="Aptos Display" panose="020F0302020204030204"/>
            </a:rPr>
            <a:t>care</a:t>
          </a:r>
          <a:r>
            <a:rPr lang="en-US" sz="3900" b="0" i="0" kern="1200" dirty="0">
              <a:effectLst/>
            </a:rPr>
            <a:t> practices</a:t>
          </a:r>
        </a:p>
      </dsp:txBody>
      <dsp:txXfrm>
        <a:off x="80189" y="3621987"/>
        <a:ext cx="8259961" cy="148230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F1788C-44F0-49EB-9E7E-AD941A887C3B}">
      <dsp:nvSpPr>
        <dsp:cNvPr id="0" name=""/>
        <dsp:cNvSpPr/>
      </dsp:nvSpPr>
      <dsp:spPr>
        <a:xfrm>
          <a:off x="1227873" y="3693068"/>
          <a:ext cx="2300468" cy="1534412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28016" rIns="128016" bIns="128016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Calibri"/>
              <a:ea typeface="Calibri"/>
              <a:cs typeface="Calibri"/>
            </a:rPr>
            <a:t>Achieve healthy people nulliparous, term, singleton, vertex ("NTSV") cesarean rate of </a:t>
          </a:r>
          <a:r>
            <a:rPr lang="en-US" sz="1800" kern="1200" dirty="0">
              <a:latin typeface="Calibri"/>
              <a:ea typeface="Roboto"/>
              <a:cs typeface="Roboto"/>
            </a:rPr>
            <a:t>≤ </a:t>
          </a:r>
          <a:r>
            <a:rPr lang="en-US" sz="1800" kern="1200" dirty="0">
              <a:latin typeface="Calibri"/>
              <a:ea typeface="Calibri"/>
              <a:cs typeface="Calibri"/>
            </a:rPr>
            <a:t>23.6%</a:t>
          </a:r>
          <a:endParaRPr lang="en-US" sz="1800" kern="1200" dirty="0">
            <a:latin typeface="Aptos Display" panose="020F0302020204030204"/>
            <a:ea typeface="Calibri"/>
            <a:cs typeface="Calibri"/>
          </a:endParaRPr>
        </a:p>
      </dsp:txBody>
      <dsp:txXfrm>
        <a:off x="1595948" y="3693068"/>
        <a:ext cx="1932393" cy="1534412"/>
      </dsp:txXfrm>
    </dsp:sp>
    <dsp:sp modelId="{A609AC21-9C85-432C-A46A-A21403A026A4}">
      <dsp:nvSpPr>
        <dsp:cNvPr id="0" name=""/>
        <dsp:cNvSpPr/>
      </dsp:nvSpPr>
      <dsp:spPr>
        <a:xfrm>
          <a:off x="956" y="3079610"/>
          <a:ext cx="1533645" cy="1533645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889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500" kern="1200" dirty="0">
              <a:latin typeface="Calibri"/>
              <a:ea typeface="Calibri"/>
              <a:cs typeface="Calibri"/>
            </a:rPr>
            <a:t>1</a:t>
          </a:r>
        </a:p>
      </dsp:txBody>
      <dsp:txXfrm>
        <a:off x="225553" y="3304207"/>
        <a:ext cx="1084451" cy="1084451"/>
      </dsp:txXfrm>
    </dsp:sp>
    <dsp:sp modelId="{ABAD03C0-5787-4012-B828-524B4FBCB1A0}">
      <dsp:nvSpPr>
        <dsp:cNvPr id="0" name=""/>
        <dsp:cNvSpPr/>
      </dsp:nvSpPr>
      <dsp:spPr>
        <a:xfrm>
          <a:off x="5061986" y="3693068"/>
          <a:ext cx="2300468" cy="1534412"/>
        </a:xfrm>
        <a:prstGeom prst="rect">
          <a:avLst/>
        </a:prstGeom>
        <a:solidFill>
          <a:schemeClr val="accent2">
            <a:tint val="40000"/>
            <a:alpha val="90000"/>
            <a:hueOff val="3367359"/>
            <a:satOff val="-31116"/>
            <a:lumOff val="-3508"/>
            <a:alphaOff val="0"/>
          </a:schemeClr>
        </a:solidFill>
        <a:ln w="19050" cap="flat" cmpd="sng" algn="ctr">
          <a:solidFill>
            <a:schemeClr val="accent2">
              <a:tint val="40000"/>
              <a:alpha val="90000"/>
              <a:hueOff val="3367359"/>
              <a:satOff val="-31116"/>
              <a:lumOff val="-350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28016" rIns="128016" bIns="128016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Calibri"/>
              <a:ea typeface="Calibri"/>
              <a:cs typeface="Calibri"/>
            </a:rPr>
            <a:t>Achieve ≤ 25% NTSV cesarean rate across stratified groups</a:t>
          </a:r>
        </a:p>
      </dsp:txBody>
      <dsp:txXfrm>
        <a:off x="5430061" y="3693068"/>
        <a:ext cx="1932393" cy="1534412"/>
      </dsp:txXfrm>
    </dsp:sp>
    <dsp:sp modelId="{2A1A144E-7FD6-4F16-9EF0-0894FA5A8DDA}">
      <dsp:nvSpPr>
        <dsp:cNvPr id="0" name=""/>
        <dsp:cNvSpPr/>
      </dsp:nvSpPr>
      <dsp:spPr>
        <a:xfrm>
          <a:off x="3835070" y="3079610"/>
          <a:ext cx="1533645" cy="1533645"/>
        </a:xfrm>
        <a:prstGeom prst="ellipse">
          <a:avLst/>
        </a:prstGeom>
        <a:solidFill>
          <a:schemeClr val="accent2">
            <a:hueOff val="3221807"/>
            <a:satOff val="-9246"/>
            <a:lumOff val="-14805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889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500" kern="1200" dirty="0">
              <a:latin typeface="Calibri"/>
              <a:ea typeface="Calibri"/>
              <a:cs typeface="Calibri"/>
            </a:rPr>
            <a:t>2</a:t>
          </a:r>
          <a:endParaRPr lang="en-US" sz="6500" kern="1200" dirty="0">
            <a:latin typeface="Aptos Display" panose="020F0302020204030204"/>
            <a:ea typeface="Calibri"/>
            <a:cs typeface="Calibri"/>
          </a:endParaRPr>
        </a:p>
      </dsp:txBody>
      <dsp:txXfrm>
        <a:off x="4059667" y="3304207"/>
        <a:ext cx="1084451" cy="1084451"/>
      </dsp:txXfrm>
    </dsp:sp>
    <dsp:sp modelId="{3D831B79-67DE-49F2-BD18-0C7D8A78A1EE}">
      <dsp:nvSpPr>
        <dsp:cNvPr id="0" name=""/>
        <dsp:cNvSpPr/>
      </dsp:nvSpPr>
      <dsp:spPr>
        <a:xfrm>
          <a:off x="8896100" y="3693068"/>
          <a:ext cx="2300468" cy="1534412"/>
        </a:xfrm>
        <a:prstGeom prst="rect">
          <a:avLst/>
        </a:prstGeom>
        <a:solidFill>
          <a:schemeClr val="accent2">
            <a:tint val="40000"/>
            <a:alpha val="90000"/>
            <a:hueOff val="6734718"/>
            <a:satOff val="-62232"/>
            <a:lumOff val="-7015"/>
            <a:alphaOff val="0"/>
          </a:schemeClr>
        </a:solidFill>
        <a:ln w="19050" cap="flat" cmpd="sng" algn="ctr">
          <a:solidFill>
            <a:schemeClr val="accent2">
              <a:tint val="40000"/>
              <a:alpha val="90000"/>
              <a:hueOff val="6734718"/>
              <a:satOff val="-62232"/>
              <a:lumOff val="-701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06680" rIns="106680" bIns="10668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latin typeface="Calibri"/>
              <a:ea typeface="Calibri"/>
              <a:cs typeface="Calibri"/>
            </a:rPr>
            <a:t>Document in chart and link </a:t>
          </a:r>
          <a:r>
            <a:rPr lang="en-US" sz="1500" kern="1200" dirty="0">
              <a:latin typeface="Calibri"/>
              <a:ea typeface="Roboto"/>
              <a:cs typeface="Roboto"/>
            </a:rPr>
            <a:t>≥ 70% of patients who screen positive for social determinants of health to community resources</a:t>
          </a:r>
          <a:endParaRPr lang="en-US" sz="1500" kern="1200" dirty="0"/>
        </a:p>
      </dsp:txBody>
      <dsp:txXfrm>
        <a:off x="9264174" y="3693068"/>
        <a:ext cx="1932393" cy="1534412"/>
      </dsp:txXfrm>
    </dsp:sp>
    <dsp:sp modelId="{215F9DF6-F8CC-451D-8048-544E97390BB6}">
      <dsp:nvSpPr>
        <dsp:cNvPr id="0" name=""/>
        <dsp:cNvSpPr/>
      </dsp:nvSpPr>
      <dsp:spPr>
        <a:xfrm>
          <a:off x="7669183" y="3079610"/>
          <a:ext cx="1533645" cy="1533645"/>
        </a:xfrm>
        <a:prstGeom prst="ellipse">
          <a:avLst/>
        </a:prstGeom>
        <a:solidFill>
          <a:schemeClr val="accent2">
            <a:hueOff val="6443614"/>
            <a:satOff val="-18493"/>
            <a:lumOff val="-29609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889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500" kern="1200" dirty="0">
              <a:latin typeface="Calibri"/>
              <a:ea typeface="Calibri"/>
              <a:cs typeface="Calibri"/>
            </a:rPr>
            <a:t>3</a:t>
          </a:r>
        </a:p>
      </dsp:txBody>
      <dsp:txXfrm>
        <a:off x="7893780" y="3304207"/>
        <a:ext cx="1084451" cy="10844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PictureAccentList">
  <dgm:title val=""/>
  <dgm:desc val=""/>
  <dgm:catLst>
    <dgm:cat type="picture" pri="14000"/>
    <dgm:cat type="list" pri="14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clrData>
  <dgm:layoutNode name="layout">
    <dgm:varLst>
      <dgm:chMax/>
      <dgm:chPref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L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primFontSz" for="des" forName="childText" refType="primFontSz" refFor="des" refForName="rootText" op="lte"/>
      <dgm:constr type="w" for="des" forName="rootComposite" refType="w" fact="4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/>
      <dgm:constr type="sibSp" refType="w" refFor="des" refForName="rootComposite" fact="0.1"/>
      <dgm:constr type="sibSp" for="des" forName="childShape" refType="h" refFor="des" refForName="rootComposite" fact="0.12"/>
      <dgm:constr type="sp" for="des" forName="root" refType="h" refFor="des" refForName="rootComposite" fact="0.18"/>
    </dgm:constrLst>
    <dgm:ruleLst/>
    <dgm:forEach name="Name3" axis="ch">
      <dgm:forEach name="Name4" axis="self" ptType="node" cnt="1">
        <dgm:layoutNode name="root">
          <dgm:varLst>
            <dgm:chMax/>
            <dgm:chPref val="4"/>
          </dgm:varLst>
          <dgm:alg type="hierRoot"/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onstrLst>
              <dgm:constr type="l" for="ch" forName="rootText"/>
              <dgm:constr type="t" for="ch" forName="rootText"/>
              <dgm:constr type="w" for="ch" forName="rootText" refType="w"/>
              <dgm:constr type="h" for="ch" forName="rootText" refType="h"/>
            </dgm:constrLst>
            <dgm:ruleLst/>
            <dgm:layoutNode name="rootText" styleLbl="node0">
              <dgm:varLst>
                <dgm:chMax/>
                <dgm:chPref val="4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5" axis="ch">
              <dgm:forEach name="Name6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7">
                    <dgm:if name="Name8" func="var" arg="dir" op="equ" val="norm">
                      <dgm:constrLst>
                        <dgm:constr type="w" for="ch" forName="Image" refType="h"/>
                        <dgm:constr type="h" for="ch" forName="Image" refType="h"/>
                        <dgm:constr type="l" for="ch" forName="Image"/>
                        <dgm:constr type="t" for="ch" forName="Image"/>
                        <dgm:constr type="h" for="ch" forName="childText" refType="h"/>
                        <dgm:constr type="l" for="ch" forName="childText" refType="w" refFor="ch" refForName="Image" fact="1.06"/>
                        <dgm:constr type="t" for="ch" forName="childText"/>
                      </dgm:constrLst>
                    </dgm:if>
                    <dgm:else name="Name9">
                      <dgm:constrLst>
                        <dgm:constr type="w" for="ch" forName="Image" refType="h"/>
                        <dgm:constr type="h" for="ch" forName="Image" refType="h"/>
                        <dgm:constr type="r" for="ch" forName="Image" refType="w"/>
                        <dgm:constr type="t" for="ch" forName="Image"/>
                        <dgm:constr type="h" for="ch" forName="childText" refType="h"/>
                        <dgm:constr type="t" for="ch" forName="childText"/>
                        <dgm:constr type="wOff" for="ch" forName="childText" refType="w" refFor="ch" refForName="Image" fact="-1.06"/>
                      </dgm:constrLst>
                    </dgm:else>
                  </dgm:choose>
                  <dgm:ruleLst/>
                  <dgm:layoutNode name="Image" styleLbl="node1">
                    <dgm:alg type="sp"/>
                    <dgm:shape xmlns:r="http://schemas.openxmlformats.org/officeDocument/2006/relationships" type="roundRect" r:blip="" blipPhldr="1">
                      <dgm:adjLst>
                        <dgm:adj idx="1" val="0.1667"/>
                      </dgm:adjLst>
                    </dgm:shape>
                    <dgm:presOf/>
                  </dgm:layoutNode>
                  <dgm:layoutNode name="childText" styleLbl="lnNode1">
                    <dgm:varLst>
                      <dgm:chMax val="0"/>
                      <dgm:chPref val="0"/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667"/>
                      </dgm:adjLst>
                    </dgm:shape>
                    <dgm:presOf axis="self desOrSelf" ptType="node node" st="1 1" cnt="1 0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9">
  <dgm:title val=""/>
  <dgm:desc val=""/>
  <dgm:catLst>
    <dgm:cat type="list" pri="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3" srcId="0" destId="1" srcOrd="0" destOrd="0"/>
        <dgm:cxn modelId="4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2"/>
        <dgm:pt modelId="21"/>
        <dgm:pt modelId="22"/>
        <dgm:pt modelId="23"/>
        <dgm:pt modelId="24"/>
        <dgm:pt modelId="3"/>
        <dgm:pt modelId="31"/>
        <dgm:pt modelId="32"/>
        <dgm:pt modelId="33"/>
        <dgm:pt modelId="34"/>
      </dgm:ptLst>
      <dgm:cxnLst>
        <dgm:cxn modelId="4" srcId="0" destId="1" srcOrd="0" destOrd="0"/>
        <dgm:cxn modelId="5" srcId="0" destId="2" srcOrd="1" destOrd="0"/>
        <dgm:cxn modelId="6" srcId="0" destId="3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18" srcId="1" destId="14" srcOrd="0" destOrd="0"/>
        <dgm:cxn modelId="25" srcId="2" destId="21" srcOrd="0" destOrd="0"/>
        <dgm:cxn modelId="26" srcId="2" destId="22" srcOrd="0" destOrd="0"/>
        <dgm:cxn modelId="27" srcId="2" destId="23" srcOrd="0" destOrd="0"/>
        <dgm:cxn modelId="28" srcId="2" destId="24" srcOrd="0" destOrd="0"/>
        <dgm:cxn modelId="35" srcId="3" destId="31" srcOrd="0" destOrd="0"/>
        <dgm:cxn modelId="36" srcId="3" destId="32" srcOrd="0" destOrd="0"/>
        <dgm:cxn modelId="37" srcId="3" destId="33" srcOrd="0" destOrd="0"/>
        <dgm:cxn modelId="38" srcId="3" destId="34" srcOrd="0" destOrd="0"/>
      </dgm:cxnLst>
      <dgm:bg/>
      <dgm:whole/>
    </dgm:dataModel>
  </dgm:clrData>
  <dgm:layoutNode name="list">
    <dgm:varLst>
      <dgm:dir/>
      <dgm:animLvl val="lvl"/>
    </dgm:varLst>
    <dgm:choose name="Name0">
      <dgm:if name="Name1" func="var" arg="dir" op="equ" val="norm">
        <dgm:alg type="lin">
          <dgm:param type="linDir" val="fromL"/>
          <dgm:param type="fallback" val="2D"/>
          <dgm:param type="nodeVertAlign" val="t"/>
        </dgm:alg>
      </dgm:if>
      <dgm:else name="Name2">
        <dgm:alg type="lin">
          <dgm:param type="linDir" val="fromR"/>
          <dgm:param type="fallback" val="2D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ircle" refType="w" fact="0.5"/>
      <dgm:constr type="w" for="ch" forName="vertFlow" refType="w" fact="0.75"/>
      <dgm:constr type="h" for="des" forName="firstComp" refType="w" refFor="ch" refForName="vertFlow" fact="0.667"/>
      <dgm:constr type="h" for="des" forName="comp" refType="h" refFor="des" refForName="firstComp" op="equ"/>
      <dgm:constr type="h" for="des" forName="topSpace" refType="w" refFor="ch" refForName="circle" op="equ" fact="0.4"/>
      <dgm:constr type="w" for="ch" forName="posSpace" refType="w" fact="0.4"/>
      <dgm:constr type="w" for="ch" forName="negSpace" refType="w" fact="-1.15"/>
      <dgm:constr type="w" for="ch" forName="transSpace" refType="w" fact="0.75"/>
      <dgm:constr type="primFontSz" for="ch" forName="circle" op="equ" val="65"/>
      <dgm:constr type="primFontSz" for="des" forName="firstChildTx" val="65"/>
      <dgm:constr type="primFontSz" for="des" forName="childTx" refType="primFontSz" refFor="des" refForName="firstChildTx" op="equ"/>
    </dgm:constrLst>
    <dgm:ruleLst/>
    <dgm:forEach name="Name3" axis="ch" ptType="node">
      <dgm:layoutNode name="pos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vertFlow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firstComp" refType="w"/>
          <dgm:constr type="w" for="ch" forName="comp" refType="w"/>
        </dgm:constrLst>
        <dgm:ruleLst/>
        <dgm:layoutNode name="top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firstComp">
          <dgm:alg type="composite"/>
          <dgm:shape xmlns:r="http://schemas.openxmlformats.org/officeDocument/2006/relationships" r:blip="">
            <dgm:adjLst/>
          </dgm:shape>
          <dgm:presOf/>
          <dgm:choose name="Name4">
            <dgm:if name="Name5" func="var" arg="dir" op="equ" val="norm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 refType="w" fact="0.16"/>
                <dgm:constr type="r" for="ch" forName="firstChildTx" refType="w"/>
                <dgm:constr type="h" for="ch" forName="firstChildTx" refFor="ch" refForName="firstChild" op="equ"/>
              </dgm:constrLst>
            </dgm:if>
            <dgm:else name="Name6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/>
                <dgm:constr type="r" for="ch" forName="firstChildTx" refType="w" fact="0.825"/>
                <dgm:constr type="h" for="ch" forName="firstChildTx" refFor="ch" refForName="firstChild" op="equ"/>
              </dgm:constrLst>
            </dgm:else>
          </dgm:choose>
          <dgm:ruleLst/>
          <dgm:layoutNode name="firstChild" styleLbl="bgAccFollowNode1">
            <dgm:alg type="sp"/>
            <dgm:shape xmlns:r="http://schemas.openxmlformats.org/officeDocument/2006/relationships" type="rect" r:blip="">
              <dgm:adjLst/>
            </dgm:shape>
            <dgm:presOf axis="ch desOrSelf" ptType="node node" cnt="1 0"/>
            <dgm:constrLst/>
            <dgm:ruleLst/>
          </dgm:layoutNode>
          <dgm:layoutNode name="firstChildTx" styleLbl="bgAccFollowNode1">
            <dgm:varLst>
              <dgm:bulletEnabled val="1"/>
            </dgm:varLst>
            <dgm:alg type="tx">
              <dgm:param type="parTxLTRAlign" val="l"/>
            </dgm:alg>
            <dgm:shape xmlns:r="http://schemas.openxmlformats.org/officeDocument/2006/relationships" type="rect" r:blip="" hideGeom="1">
              <dgm:adjLst/>
            </dgm:shape>
            <dgm:presOf axis="ch desOrSelf" ptType="node node" cnt="1 0"/>
            <dgm:choose name="Name7">
              <dgm:if name="Name8" func="var" arg="dir" op="equ" val="norm">
                <dgm:constrLst>
                  <dgm:constr type="primFontSz" val="65"/>
                  <dgm:constr type="lMarg"/>
                </dgm:constrLst>
              </dgm:if>
              <dgm:else name="Name9">
                <dgm:constrLst>
                  <dgm:constr type="primFontSz" val="65"/>
                  <dgm:constr type="r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forEach name="Name10" axis="ch" ptType="node" st="2">
          <dgm:layoutNode name="comp">
            <dgm:alg type="composite"/>
            <dgm:shape xmlns:r="http://schemas.openxmlformats.org/officeDocument/2006/relationships" r:blip="">
              <dgm:adjLst/>
            </dgm:shape>
            <dgm:presOf/>
            <dgm:choose name="Name11">
              <dgm:if name="Name12" func="var" arg="dir" op="equ" val="norm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 refType="w" fact="0.16"/>
                  <dgm:constr type="r" for="ch" forName="childTx" refType="w"/>
                  <dgm:constr type="h" for="ch" forName="childTx" refFor="ch" refForName="child" op="equ"/>
                </dgm:constrLst>
              </dgm:if>
              <dgm:else name="Name13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/>
                  <dgm:constr type="r" for="ch" forName="childTx" refType="w" fact="0.825"/>
                  <dgm:constr type="h" for="ch" forName="childTx" refFor="ch" refForName="child" op="equ"/>
                </dgm:constrLst>
              </dgm:else>
            </dgm:choose>
            <dgm:ruleLst/>
            <dgm:layoutNode name="child" styleLbl="bgAccFollowNode1">
              <dgm:alg type="sp"/>
              <dgm:shape xmlns:r="http://schemas.openxmlformats.org/officeDocument/2006/relationships" type="rect" r:blip="">
                <dgm:adjLst/>
              </dgm:shape>
              <dgm:presOf axis="desOrSelf" ptType="node"/>
              <dgm:constrLst/>
              <dgm:ruleLst/>
            </dgm:layoutNode>
            <dgm:layoutNode name="childTx" styleLbl="bgAccFollowNode1">
              <dgm:varLst>
                <dgm:bulletEnabled val="1"/>
              </dgm:varLst>
              <dgm:alg type="tx">
                <dgm:param type="parTxLTRAlign" val="l"/>
              </dgm:alg>
              <dgm:shape xmlns:r="http://schemas.openxmlformats.org/officeDocument/2006/relationships" type="rect" r:blip="" hideGeom="1">
                <dgm:adjLst/>
              </dgm:shape>
              <dgm:presOf axis="desOrSelf" ptType="node"/>
              <dgm:choose name="Name14">
                <dgm:if name="Name15" func="var" arg="dir" op="equ" val="norm">
                  <dgm:constrLst>
                    <dgm:constr type="primFontSz" val="65"/>
                    <dgm:constr type="lMarg"/>
                  </dgm:constrLst>
                </dgm:if>
                <dgm:else name="Name16">
                  <dgm:constrLst>
                    <dgm:constr type="primFontSz" val="65"/>
                    <dgm:constr type="rMarg"/>
                  </dgm:constrLst>
                </dgm:else>
              </dgm:choose>
              <dgm:ruleLst>
                <dgm:rule type="primFontSz" val="5" fact="NaN" max="NaN"/>
              </dgm:ruleLst>
            </dgm:layoutNode>
          </dgm:layoutNode>
        </dgm:forEach>
      </dgm:layoutNode>
      <dgm:layoutNode name="neg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ircle" styleLbl="node1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lMarg"/>
          <dgm:constr type="rMarg"/>
          <dgm:constr type="tMarg"/>
          <dgm:constr type="bMarg"/>
          <dgm:constr type="h" refType="w"/>
        </dgm:constrLst>
        <dgm:ruleLst>
          <dgm:rule type="primFontSz" val="5" fact="NaN" max="NaN"/>
        </dgm:ruleLst>
      </dgm:layoutNode>
      <dgm:forEach name="Name17" axis="followSib" ptType="sibTrans" cnt="1">
        <dgm:layoutNode name="trans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7BA3F4-45E2-4362-B9DF-FE19198D4BFE}" type="datetimeFigureOut">
              <a:t>9/1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22110D-DADB-455C-9CDA-0423406DC6E2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7703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:notes"/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826EE75-D2BE-472F-80E3-A475BCEF9D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4F41BD-DEA7-4AD2-AE10-19B58E750612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177A4-366D-47BD-B929-9560A294F240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77AC213-75D9-41CB-82E2-279E3325C5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5" name="Google Shape;455;p15:notes"/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56" name="Google Shape;456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048865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2">
          <a:extLst>
            <a:ext uri="{FF2B5EF4-FFF2-40B4-BE49-F238E27FC236}">
              <a16:creationId xmlns:a16="http://schemas.microsoft.com/office/drawing/2014/main" id="{7B3B27D4-1A5B-FADF-30FE-F51C891D73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3" name="Google Shape;353;p11:notes">
            <a:extLst>
              <a:ext uri="{FF2B5EF4-FFF2-40B4-BE49-F238E27FC236}">
                <a16:creationId xmlns:a16="http://schemas.microsoft.com/office/drawing/2014/main" id="{074C79D0-6842-0C9A-B74F-24B346A44C76}"/>
              </a:ext>
            </a:extLst>
          </p:cNvPr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4" name="Google Shape;354;p11:notes">
            <a:extLst>
              <a:ext uri="{FF2B5EF4-FFF2-40B4-BE49-F238E27FC236}">
                <a16:creationId xmlns:a16="http://schemas.microsoft.com/office/drawing/2014/main" id="{669864B9-4C9D-9C6E-FA14-13F91044ACC1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5180013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.7.2013</a:t>
            </a:r>
            <a:endParaRPr/>
          </a:p>
        </p:txBody>
      </p:sp>
      <p:sp>
        <p:nvSpPr>
          <p:cNvPr id="355" name="Google Shape;355;p11:notes">
            <a:extLst>
              <a:ext uri="{FF2B5EF4-FFF2-40B4-BE49-F238E27FC236}">
                <a16:creationId xmlns:a16="http://schemas.microsoft.com/office/drawing/2014/main" id="{B1D40FAB-0576-F71C-33B4-645714456C07}"/>
              </a:ext>
            </a:extLst>
          </p:cNvPr>
          <p:cNvSpPr>
            <a:spLocks noGrp="1" noRot="1" noChangeAspect="1"/>
          </p:cNvSpPr>
          <p:nvPr>
            <p:ph type="sldImg" idx="3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56" name="Google Shape;356;p11:notes">
            <a:extLst>
              <a:ext uri="{FF2B5EF4-FFF2-40B4-BE49-F238E27FC236}">
                <a16:creationId xmlns:a16="http://schemas.microsoft.com/office/drawing/2014/main" id="{1FCB47C5-F8CE-7A95-0752-2EAFFA08099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lete</a:t>
            </a:r>
            <a:endParaRPr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10</a:t>
            </a:r>
            <a:endParaRPr dirty="0"/>
          </a:p>
        </p:txBody>
      </p:sp>
      <p:sp>
        <p:nvSpPr>
          <p:cNvPr id="357" name="Google Shape;357;p11:notes">
            <a:extLst>
              <a:ext uri="{FF2B5EF4-FFF2-40B4-BE49-F238E27FC236}">
                <a16:creationId xmlns:a16="http://schemas.microsoft.com/office/drawing/2014/main" id="{18BBC6AE-6439-FA8D-0566-184A45977177}"/>
              </a:ext>
            </a:extLst>
          </p:cNvPr>
          <p:cNvSpPr txBox="1">
            <a:spLocks noGrp="1"/>
          </p:cNvSpPr>
          <p:nvPr>
            <p:ph type="ftr" idx="11"/>
          </p:nvPr>
        </p:nvSpPr>
        <p:spPr>
          <a:xfrm>
            <a:off x="0" y="6502400"/>
            <a:ext cx="3962400" cy="341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8" name="Google Shape;358;p11:notes">
            <a:extLst>
              <a:ext uri="{FF2B5EF4-FFF2-40B4-BE49-F238E27FC236}">
                <a16:creationId xmlns:a16="http://schemas.microsoft.com/office/drawing/2014/main" id="{B2783993-B024-6FBA-BAF8-BD3D4AC5A0E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8194122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" name="Google Shape;331;p10:notes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2" name="Google Shape;332;p10:notes"/>
          <p:cNvSpPr txBox="1">
            <a:spLocks noGrp="1"/>
          </p:cNvSpPr>
          <p:nvPr>
            <p:ph type="dt" idx="10"/>
          </p:nvPr>
        </p:nvSpPr>
        <p:spPr>
          <a:xfrm>
            <a:off x="5180013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.7.2013</a:t>
            </a:r>
            <a:endParaRPr/>
          </a:p>
        </p:txBody>
      </p:sp>
      <p:sp>
        <p:nvSpPr>
          <p:cNvPr id="333" name="Google Shape;333;p10:notes"/>
          <p:cNvSpPr>
            <a:spLocks noGrp="1" noRot="1" noChangeAspect="1"/>
          </p:cNvSpPr>
          <p:nvPr>
            <p:ph type="sldImg" idx="3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4" name="Google Shape;334;p10:notes"/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indent="0" algn="l" rtl="0" fontAlgn="t"/>
            <a:endParaRPr lang="en-US" sz="1800" b="0" i="0" u="none" strike="noStrike" dirty="0">
              <a:effectLst/>
              <a:latin typeface="Arial" panose="020B0604020202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- </a:t>
            </a:r>
            <a:endParaRPr dirty="0"/>
          </a:p>
        </p:txBody>
      </p:sp>
      <p:sp>
        <p:nvSpPr>
          <p:cNvPr id="335" name="Google Shape;335;p10:notes"/>
          <p:cNvSpPr txBox="1">
            <a:spLocks noGrp="1"/>
          </p:cNvSpPr>
          <p:nvPr>
            <p:ph type="ftr" idx="11"/>
          </p:nvPr>
        </p:nvSpPr>
        <p:spPr>
          <a:xfrm>
            <a:off x="0" y="6502400"/>
            <a:ext cx="3962400" cy="341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6" name="Google Shape;336;p10:notes"/>
          <p:cNvSpPr txBox="1">
            <a:spLocks noGrp="1"/>
          </p:cNvSpPr>
          <p:nvPr>
            <p:ph type="sldNum" idx="12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0">
          <a:extLst>
            <a:ext uri="{FF2B5EF4-FFF2-40B4-BE49-F238E27FC236}">
              <a16:creationId xmlns:a16="http://schemas.microsoft.com/office/drawing/2014/main" id="{E3816935-7874-D5E2-F914-DEEBA094FA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" name="Google Shape;331;p10:notes">
            <a:extLst>
              <a:ext uri="{FF2B5EF4-FFF2-40B4-BE49-F238E27FC236}">
                <a16:creationId xmlns:a16="http://schemas.microsoft.com/office/drawing/2014/main" id="{EFA4A98D-5903-956C-FEFC-ABAFA38AD639}"/>
              </a:ext>
            </a:extLst>
          </p:cNvPr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2" name="Google Shape;332;p10:notes">
            <a:extLst>
              <a:ext uri="{FF2B5EF4-FFF2-40B4-BE49-F238E27FC236}">
                <a16:creationId xmlns:a16="http://schemas.microsoft.com/office/drawing/2014/main" id="{894A2AF2-013D-93FE-9D1B-DA0E709B3425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5180013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.7.2013</a:t>
            </a:r>
            <a:endParaRPr/>
          </a:p>
        </p:txBody>
      </p:sp>
      <p:sp>
        <p:nvSpPr>
          <p:cNvPr id="333" name="Google Shape;333;p10:notes">
            <a:extLst>
              <a:ext uri="{FF2B5EF4-FFF2-40B4-BE49-F238E27FC236}">
                <a16:creationId xmlns:a16="http://schemas.microsoft.com/office/drawing/2014/main" id="{20574D4B-61C3-4C9C-0920-6E0BA6C427F3}"/>
              </a:ext>
            </a:extLst>
          </p:cNvPr>
          <p:cNvSpPr>
            <a:spLocks noGrp="1" noRot="1" noChangeAspect="1"/>
          </p:cNvSpPr>
          <p:nvPr>
            <p:ph type="sldImg" idx="3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4" name="Google Shape;334;p10:notes">
            <a:extLst>
              <a:ext uri="{FF2B5EF4-FFF2-40B4-BE49-F238E27FC236}">
                <a16:creationId xmlns:a16="http://schemas.microsoft.com/office/drawing/2014/main" id="{AB3451D0-66BA-FB6E-E56F-1F2EB1E4D5C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35" name="Google Shape;335;p10:notes">
            <a:extLst>
              <a:ext uri="{FF2B5EF4-FFF2-40B4-BE49-F238E27FC236}">
                <a16:creationId xmlns:a16="http://schemas.microsoft.com/office/drawing/2014/main" id="{EE1648CF-2CAF-3D8E-224A-9D63F098083B}"/>
              </a:ext>
            </a:extLst>
          </p:cNvPr>
          <p:cNvSpPr txBox="1">
            <a:spLocks noGrp="1"/>
          </p:cNvSpPr>
          <p:nvPr>
            <p:ph type="ftr" idx="11"/>
          </p:nvPr>
        </p:nvSpPr>
        <p:spPr>
          <a:xfrm>
            <a:off x="0" y="6502400"/>
            <a:ext cx="3962400" cy="341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6" name="Google Shape;336;p10:notes">
            <a:extLst>
              <a:ext uri="{FF2B5EF4-FFF2-40B4-BE49-F238E27FC236}">
                <a16:creationId xmlns:a16="http://schemas.microsoft.com/office/drawing/2014/main" id="{B6BD22E0-3AE1-99B0-FF15-D294728C78F3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9538904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3" name="Google Shape;353;p11:notes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4" name="Google Shape;354;p11:notes"/>
          <p:cNvSpPr txBox="1">
            <a:spLocks noGrp="1"/>
          </p:cNvSpPr>
          <p:nvPr>
            <p:ph type="dt" idx="10"/>
          </p:nvPr>
        </p:nvSpPr>
        <p:spPr>
          <a:xfrm>
            <a:off x="5180013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.7.2013</a:t>
            </a:r>
            <a:endParaRPr/>
          </a:p>
        </p:txBody>
      </p:sp>
      <p:sp>
        <p:nvSpPr>
          <p:cNvPr id="355" name="Google Shape;355;p11:notes"/>
          <p:cNvSpPr>
            <a:spLocks noGrp="1" noRot="1" noChangeAspect="1"/>
          </p:cNvSpPr>
          <p:nvPr>
            <p:ph type="sldImg" idx="3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56" name="Google Shape;356;p11:notes"/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57" name="Google Shape;357;p11:notes"/>
          <p:cNvSpPr txBox="1">
            <a:spLocks noGrp="1"/>
          </p:cNvSpPr>
          <p:nvPr>
            <p:ph type="ftr" idx="11"/>
          </p:nvPr>
        </p:nvSpPr>
        <p:spPr>
          <a:xfrm>
            <a:off x="0" y="6502400"/>
            <a:ext cx="3962400" cy="341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8" name="Google Shape;358;p11:notes"/>
          <p:cNvSpPr txBox="1">
            <a:spLocks noGrp="1"/>
          </p:cNvSpPr>
          <p:nvPr>
            <p:ph type="sldNum" idx="12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" name="Google Shape;383;p12:notes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4" name="Google Shape;384;p12:notes"/>
          <p:cNvSpPr txBox="1">
            <a:spLocks noGrp="1"/>
          </p:cNvSpPr>
          <p:nvPr>
            <p:ph type="dt" idx="10"/>
          </p:nvPr>
        </p:nvSpPr>
        <p:spPr>
          <a:xfrm>
            <a:off x="5180013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.7.2013</a:t>
            </a:r>
            <a:endParaRPr/>
          </a:p>
        </p:txBody>
      </p:sp>
      <p:sp>
        <p:nvSpPr>
          <p:cNvPr id="385" name="Google Shape;385;p12:notes"/>
          <p:cNvSpPr>
            <a:spLocks noGrp="1" noRot="1" noChangeAspect="1"/>
          </p:cNvSpPr>
          <p:nvPr>
            <p:ph type="sldImg" idx="3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86" name="Google Shape;386;p12:notes"/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7" name="Google Shape;387;p12:notes"/>
          <p:cNvSpPr txBox="1">
            <a:spLocks noGrp="1"/>
          </p:cNvSpPr>
          <p:nvPr>
            <p:ph type="ftr" idx="11"/>
          </p:nvPr>
        </p:nvSpPr>
        <p:spPr>
          <a:xfrm>
            <a:off x="0" y="6502400"/>
            <a:ext cx="3962400" cy="341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8" name="Google Shape;388;p12:notes"/>
          <p:cNvSpPr txBox="1">
            <a:spLocks noGrp="1"/>
          </p:cNvSpPr>
          <p:nvPr>
            <p:ph type="sldNum" idx="12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r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2">
          <a:extLst>
            <a:ext uri="{FF2B5EF4-FFF2-40B4-BE49-F238E27FC236}">
              <a16:creationId xmlns:a16="http://schemas.microsoft.com/office/drawing/2014/main" id="{F4816099-309A-8115-DBB4-7D7C3C2097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" name="Google Shape;383;p12:notes">
            <a:extLst>
              <a:ext uri="{FF2B5EF4-FFF2-40B4-BE49-F238E27FC236}">
                <a16:creationId xmlns:a16="http://schemas.microsoft.com/office/drawing/2014/main" id="{C09F4820-E240-99F6-7860-C3E32F62EB36}"/>
              </a:ext>
            </a:extLst>
          </p:cNvPr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4" name="Google Shape;384;p12:notes">
            <a:extLst>
              <a:ext uri="{FF2B5EF4-FFF2-40B4-BE49-F238E27FC236}">
                <a16:creationId xmlns:a16="http://schemas.microsoft.com/office/drawing/2014/main" id="{F0BABCD1-0F1A-248A-9D53-2F56F7D6180C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5180013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.7.2013</a:t>
            </a:r>
            <a:endParaRPr/>
          </a:p>
        </p:txBody>
      </p:sp>
      <p:sp>
        <p:nvSpPr>
          <p:cNvPr id="385" name="Google Shape;385;p12:notes">
            <a:extLst>
              <a:ext uri="{FF2B5EF4-FFF2-40B4-BE49-F238E27FC236}">
                <a16:creationId xmlns:a16="http://schemas.microsoft.com/office/drawing/2014/main" id="{71225793-8D07-AD05-AC0C-7F3F1ADEE82E}"/>
              </a:ext>
            </a:extLst>
          </p:cNvPr>
          <p:cNvSpPr>
            <a:spLocks noGrp="1" noRot="1" noChangeAspect="1"/>
          </p:cNvSpPr>
          <p:nvPr>
            <p:ph type="sldImg" idx="3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86" name="Google Shape;386;p12:notes">
            <a:extLst>
              <a:ext uri="{FF2B5EF4-FFF2-40B4-BE49-F238E27FC236}">
                <a16:creationId xmlns:a16="http://schemas.microsoft.com/office/drawing/2014/main" id="{31597B86-A3F6-41F7-EA68-F03C686A7D7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7" name="Google Shape;387;p12:notes">
            <a:extLst>
              <a:ext uri="{FF2B5EF4-FFF2-40B4-BE49-F238E27FC236}">
                <a16:creationId xmlns:a16="http://schemas.microsoft.com/office/drawing/2014/main" id="{4F4909A1-F7FD-60FD-5382-DD19BC5D3D64}"/>
              </a:ext>
            </a:extLst>
          </p:cNvPr>
          <p:cNvSpPr txBox="1">
            <a:spLocks noGrp="1"/>
          </p:cNvSpPr>
          <p:nvPr>
            <p:ph type="ftr" idx="11"/>
          </p:nvPr>
        </p:nvSpPr>
        <p:spPr>
          <a:xfrm>
            <a:off x="0" y="6502400"/>
            <a:ext cx="3962400" cy="341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8" name="Google Shape;388;p12:notes">
            <a:extLst>
              <a:ext uri="{FF2B5EF4-FFF2-40B4-BE49-F238E27FC236}">
                <a16:creationId xmlns:a16="http://schemas.microsoft.com/office/drawing/2014/main" id="{874A36E6-083D-E0BB-C914-32E4D833A993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7849232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2">
          <a:extLst>
            <a:ext uri="{FF2B5EF4-FFF2-40B4-BE49-F238E27FC236}">
              <a16:creationId xmlns:a16="http://schemas.microsoft.com/office/drawing/2014/main" id="{71ABF465-47E5-0676-3A73-22035F4088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" name="Google Shape;383;p12:notes">
            <a:extLst>
              <a:ext uri="{FF2B5EF4-FFF2-40B4-BE49-F238E27FC236}">
                <a16:creationId xmlns:a16="http://schemas.microsoft.com/office/drawing/2014/main" id="{ED5BA0BF-E9DA-7F49-4990-B2C29F856FA3}"/>
              </a:ext>
            </a:extLst>
          </p:cNvPr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4" name="Google Shape;384;p12:notes">
            <a:extLst>
              <a:ext uri="{FF2B5EF4-FFF2-40B4-BE49-F238E27FC236}">
                <a16:creationId xmlns:a16="http://schemas.microsoft.com/office/drawing/2014/main" id="{3F938A02-E846-1616-C861-D6F2C8019E45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5180013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.7.2013</a:t>
            </a:r>
            <a:endParaRPr/>
          </a:p>
        </p:txBody>
      </p:sp>
      <p:sp>
        <p:nvSpPr>
          <p:cNvPr id="385" name="Google Shape;385;p12:notes">
            <a:extLst>
              <a:ext uri="{FF2B5EF4-FFF2-40B4-BE49-F238E27FC236}">
                <a16:creationId xmlns:a16="http://schemas.microsoft.com/office/drawing/2014/main" id="{61B16FC1-54E8-C249-5FC3-7D13F5EE1290}"/>
              </a:ext>
            </a:extLst>
          </p:cNvPr>
          <p:cNvSpPr>
            <a:spLocks noGrp="1" noRot="1" noChangeAspect="1"/>
          </p:cNvSpPr>
          <p:nvPr>
            <p:ph type="sldImg" idx="3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86" name="Google Shape;386;p12:notes">
            <a:extLst>
              <a:ext uri="{FF2B5EF4-FFF2-40B4-BE49-F238E27FC236}">
                <a16:creationId xmlns:a16="http://schemas.microsoft.com/office/drawing/2014/main" id="{43B1846C-04A2-D618-FE3E-0156C1812F3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7" name="Google Shape;387;p12:notes">
            <a:extLst>
              <a:ext uri="{FF2B5EF4-FFF2-40B4-BE49-F238E27FC236}">
                <a16:creationId xmlns:a16="http://schemas.microsoft.com/office/drawing/2014/main" id="{5A8333B8-B30C-8A96-2279-47DE494150B1}"/>
              </a:ext>
            </a:extLst>
          </p:cNvPr>
          <p:cNvSpPr txBox="1">
            <a:spLocks noGrp="1"/>
          </p:cNvSpPr>
          <p:nvPr>
            <p:ph type="ftr" idx="11"/>
          </p:nvPr>
        </p:nvSpPr>
        <p:spPr>
          <a:xfrm>
            <a:off x="0" y="6502400"/>
            <a:ext cx="3962400" cy="341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8" name="Google Shape;388;p12:notes">
            <a:extLst>
              <a:ext uri="{FF2B5EF4-FFF2-40B4-BE49-F238E27FC236}">
                <a16:creationId xmlns:a16="http://schemas.microsoft.com/office/drawing/2014/main" id="{1D3D7A1E-BF5F-CE9A-D395-1528F34E314B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12438965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7" name="Google Shape;407;p13:notes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8" name="Google Shape;408;p13:notes"/>
          <p:cNvSpPr txBox="1">
            <a:spLocks noGrp="1"/>
          </p:cNvSpPr>
          <p:nvPr>
            <p:ph type="dt" idx="10"/>
          </p:nvPr>
        </p:nvSpPr>
        <p:spPr>
          <a:xfrm>
            <a:off x="5180013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.7.2013</a:t>
            </a:r>
            <a:endParaRPr/>
          </a:p>
        </p:txBody>
      </p:sp>
      <p:sp>
        <p:nvSpPr>
          <p:cNvPr id="409" name="Google Shape;409;p13:notes"/>
          <p:cNvSpPr>
            <a:spLocks noGrp="1" noRot="1" noChangeAspect="1"/>
          </p:cNvSpPr>
          <p:nvPr>
            <p:ph type="sldImg" idx="3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10" name="Google Shape;410;p13:notes"/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11" name="Google Shape;411;p13:notes"/>
          <p:cNvSpPr txBox="1">
            <a:spLocks noGrp="1"/>
          </p:cNvSpPr>
          <p:nvPr>
            <p:ph type="ftr" idx="11"/>
          </p:nvPr>
        </p:nvSpPr>
        <p:spPr>
          <a:xfrm>
            <a:off x="0" y="6502400"/>
            <a:ext cx="3962400" cy="341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2" name="Google Shape;412;p13:notes"/>
          <p:cNvSpPr txBox="1">
            <a:spLocks noGrp="1"/>
          </p:cNvSpPr>
          <p:nvPr>
            <p:ph type="sldNum" idx="12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5" name="Google Shape;365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6" name="Google Shape;366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6160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95">
          <a:extLst>
            <a:ext uri="{FF2B5EF4-FFF2-40B4-BE49-F238E27FC236}">
              <a16:creationId xmlns:a16="http://schemas.microsoft.com/office/drawing/2014/main" id="{3C5DFD16-F5CA-A802-664F-4CF1AC7D35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6" name="Google Shape;4196;p4:notes">
            <a:extLst>
              <a:ext uri="{FF2B5EF4-FFF2-40B4-BE49-F238E27FC236}">
                <a16:creationId xmlns:a16="http://schemas.microsoft.com/office/drawing/2014/main" id="{03DD7446-CE6B-AA19-AA6C-C7DF1AEFBEC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97" name="Google Shape;4197;p4:notes">
            <a:extLst>
              <a:ext uri="{FF2B5EF4-FFF2-40B4-BE49-F238E27FC236}">
                <a16:creationId xmlns:a16="http://schemas.microsoft.com/office/drawing/2014/main" id="{2C9202EF-FF9B-0A20-276C-A7EF15EBD28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234214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">
          <a:extLst>
            <a:ext uri="{FF2B5EF4-FFF2-40B4-BE49-F238E27FC236}">
              <a16:creationId xmlns:a16="http://schemas.microsoft.com/office/drawing/2014/main" id="{A4150088-3D6B-D7D9-6B10-E216AB677D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3:notes">
            <a:extLst>
              <a:ext uri="{FF2B5EF4-FFF2-40B4-BE49-F238E27FC236}">
                <a16:creationId xmlns:a16="http://schemas.microsoft.com/office/drawing/2014/main" id="{90074D61-94EE-E4C4-AF7D-95C1366E9D7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3:notes">
            <a:extLst>
              <a:ext uri="{FF2B5EF4-FFF2-40B4-BE49-F238E27FC236}">
                <a16:creationId xmlns:a16="http://schemas.microsoft.com/office/drawing/2014/main" id="{BC2A3FE3-39ED-911A-BBDE-A65C233185E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67065653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">
          <a:extLst>
            <a:ext uri="{FF2B5EF4-FFF2-40B4-BE49-F238E27FC236}">
              <a16:creationId xmlns:a16="http://schemas.microsoft.com/office/drawing/2014/main" id="{A4150088-3D6B-D7D9-6B10-E216AB677D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3:notes">
            <a:extLst>
              <a:ext uri="{FF2B5EF4-FFF2-40B4-BE49-F238E27FC236}">
                <a16:creationId xmlns:a16="http://schemas.microsoft.com/office/drawing/2014/main" id="{90074D61-94EE-E4C4-AF7D-95C1366E9D7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3:notes">
            <a:extLst>
              <a:ext uri="{FF2B5EF4-FFF2-40B4-BE49-F238E27FC236}">
                <a16:creationId xmlns:a16="http://schemas.microsoft.com/office/drawing/2014/main" id="{BC2A3FE3-39ED-911A-BBDE-A65C233185E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67065653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">
          <a:extLst>
            <a:ext uri="{FF2B5EF4-FFF2-40B4-BE49-F238E27FC236}">
              <a16:creationId xmlns:a16="http://schemas.microsoft.com/office/drawing/2014/main" id="{0B267FC7-B2F8-2585-2419-04A1B9D6CA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3:notes">
            <a:extLst>
              <a:ext uri="{FF2B5EF4-FFF2-40B4-BE49-F238E27FC236}">
                <a16:creationId xmlns:a16="http://schemas.microsoft.com/office/drawing/2014/main" id="{EB664D84-81EA-10C9-ABCC-6C20AA0E5C8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3:notes">
            <a:extLst>
              <a:ext uri="{FF2B5EF4-FFF2-40B4-BE49-F238E27FC236}">
                <a16:creationId xmlns:a16="http://schemas.microsoft.com/office/drawing/2014/main" id="{8BD44976-D68F-BAA9-3AF4-D6BC44E1D25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46045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">
          <a:extLst>
            <a:ext uri="{FF2B5EF4-FFF2-40B4-BE49-F238E27FC236}">
              <a16:creationId xmlns:a16="http://schemas.microsoft.com/office/drawing/2014/main" id="{40F6E4D9-111E-7861-11A8-4B21C81434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3:notes">
            <a:extLst>
              <a:ext uri="{FF2B5EF4-FFF2-40B4-BE49-F238E27FC236}">
                <a16:creationId xmlns:a16="http://schemas.microsoft.com/office/drawing/2014/main" id="{1DFF5C67-55E8-5542-1534-962E2E16F47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3:notes">
            <a:extLst>
              <a:ext uri="{FF2B5EF4-FFF2-40B4-BE49-F238E27FC236}">
                <a16:creationId xmlns:a16="http://schemas.microsoft.com/office/drawing/2014/main" id="{660ADA56-1BE4-1CDD-71B0-834D1E14D6A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00352619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">
          <a:extLst>
            <a:ext uri="{FF2B5EF4-FFF2-40B4-BE49-F238E27FC236}">
              <a16:creationId xmlns:a16="http://schemas.microsoft.com/office/drawing/2014/main" id="{2ED8695E-7FF9-E175-4C1A-B06E199A17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3:notes">
            <a:extLst>
              <a:ext uri="{FF2B5EF4-FFF2-40B4-BE49-F238E27FC236}">
                <a16:creationId xmlns:a16="http://schemas.microsoft.com/office/drawing/2014/main" id="{1F564B88-B976-055E-3C2F-3C9F26E887D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3:notes">
            <a:extLst>
              <a:ext uri="{FF2B5EF4-FFF2-40B4-BE49-F238E27FC236}">
                <a16:creationId xmlns:a16="http://schemas.microsoft.com/office/drawing/2014/main" id="{61F6AB95-59EA-9441-B53F-DD2F4B67D66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1385509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">
          <a:extLst>
            <a:ext uri="{FF2B5EF4-FFF2-40B4-BE49-F238E27FC236}">
              <a16:creationId xmlns:a16="http://schemas.microsoft.com/office/drawing/2014/main" id="{607BF146-B460-21DB-0CAC-D122A6C577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3:notes">
            <a:extLst>
              <a:ext uri="{FF2B5EF4-FFF2-40B4-BE49-F238E27FC236}">
                <a16:creationId xmlns:a16="http://schemas.microsoft.com/office/drawing/2014/main" id="{7107EADB-C84E-05AA-0846-8F1133BD198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3:notes">
            <a:extLst>
              <a:ext uri="{FF2B5EF4-FFF2-40B4-BE49-F238E27FC236}">
                <a16:creationId xmlns:a16="http://schemas.microsoft.com/office/drawing/2014/main" id="{45EC0E76-88E7-CC17-55CB-C4F47B6507E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7353419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">
          <a:extLst>
            <a:ext uri="{FF2B5EF4-FFF2-40B4-BE49-F238E27FC236}">
              <a16:creationId xmlns:a16="http://schemas.microsoft.com/office/drawing/2014/main" id="{5505C271-226F-CAAF-6E87-B88ABA46C4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3:notes">
            <a:extLst>
              <a:ext uri="{FF2B5EF4-FFF2-40B4-BE49-F238E27FC236}">
                <a16:creationId xmlns:a16="http://schemas.microsoft.com/office/drawing/2014/main" id="{181E3EFE-C9BB-97FF-1ECB-582613488B8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3:notes">
            <a:extLst>
              <a:ext uri="{FF2B5EF4-FFF2-40B4-BE49-F238E27FC236}">
                <a16:creationId xmlns:a16="http://schemas.microsoft.com/office/drawing/2014/main" id="{90E1D79F-4BD6-3350-DAEB-5074EF995C0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22868910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EFEC72-998F-559F-5340-B48000CF132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07521B-842B-F528-8433-0A906E3237FE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549BB3-C5BD-CFE3-ADC3-61A338857803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DCE07063-BD0F-429F-8F8A-5BCD71265ECA}" type="slidenum">
              <a:t>32</a:t>
            </a:fld>
            <a:endParaRPr lang="en-US" sz="1200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58" name="Google Shape;5358;p34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59" name="Google Shape;5359;p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619454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0" y="514350"/>
            <a:ext cx="4573588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39090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ovided us with an opportunity to reach out to local/regional resources and have conversations regarding their services and how they help our patients. This then created lasting relationships that continued across multiple initiative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FC523C-6458-4089-9AE7-C6620E3679D7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606228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rough this collaboration we have made strides to allow for our doulas to be better known around the unit by staff and providers, doulas are allowed to go back for a c/s and be present as an additional “support person”, attend our annual mock </a:t>
            </a:r>
            <a:r>
              <a:rPr lang="en-US"/>
              <a:t>code drill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FC523C-6458-4089-9AE7-C6620E3679D7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415870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0CD547-C123-4EA6-BFFB-C668D28025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4606EE3-1CEB-7DB4-B1B2-C876AD08EAE0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9F6608-38C9-3F75-EF1C-6F51AAF5B805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1CFC1F51-90F5-4A8A-9735-FACD4A93A34A}" type="slidenum">
              <a:t>43</a:t>
            </a:fld>
            <a:endParaRPr lang="en-US" sz="1200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930A3F5-97CE-5423-F439-6A2F4ED50E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C3C0AE-0135-3276-1361-B010C3661BED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F0399F-385A-8A8C-E638-435F14345C08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DC8B72C0-6038-4193-8136-9049B1C70F8F}" type="slidenum">
              <a:t>44</a:t>
            </a:fld>
            <a:endParaRPr lang="en-US" sz="1200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3">
          <a:extLst>
            <a:ext uri="{FF2B5EF4-FFF2-40B4-BE49-F238E27FC236}">
              <a16:creationId xmlns:a16="http://schemas.microsoft.com/office/drawing/2014/main" id="{1796137C-98E9-6EB3-2583-8B35B02CB0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16:notes">
            <a:extLst>
              <a:ext uri="{FF2B5EF4-FFF2-40B4-BE49-F238E27FC236}">
                <a16:creationId xmlns:a16="http://schemas.microsoft.com/office/drawing/2014/main" id="{7663AB19-484C-FF02-A681-2935061DD62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5" name="Google Shape;365;p16:notes">
            <a:extLst>
              <a:ext uri="{FF2B5EF4-FFF2-40B4-BE49-F238E27FC236}">
                <a16:creationId xmlns:a16="http://schemas.microsoft.com/office/drawing/2014/main" id="{A4D08964-B5DE-0776-FF9E-5CBC33EC6A2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6" name="Google Shape;366;p16:notes">
            <a:extLst>
              <a:ext uri="{FF2B5EF4-FFF2-40B4-BE49-F238E27FC236}">
                <a16:creationId xmlns:a16="http://schemas.microsoft.com/office/drawing/2014/main" id="{4BACD940-42BF-6D82-3CFF-09FB050C3CDF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5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594302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0" y="514350"/>
            <a:ext cx="4573588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3348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0" y="514350"/>
            <a:ext cx="4573588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0064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">
          <a:extLst>
            <a:ext uri="{FF2B5EF4-FFF2-40B4-BE49-F238E27FC236}">
              <a16:creationId xmlns:a16="http://schemas.microsoft.com/office/drawing/2014/main" id="{4A6530BC-685C-A00D-0C8D-59FF4A0D9A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3:notes">
            <a:extLst>
              <a:ext uri="{FF2B5EF4-FFF2-40B4-BE49-F238E27FC236}">
                <a16:creationId xmlns:a16="http://schemas.microsoft.com/office/drawing/2014/main" id="{CF5162F1-4275-0E49-589C-4B51381D677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3:notes">
            <a:extLst>
              <a:ext uri="{FF2B5EF4-FFF2-40B4-BE49-F238E27FC236}">
                <a16:creationId xmlns:a16="http://schemas.microsoft.com/office/drawing/2014/main" id="{C2E4A0E5-A2D2-64C2-8B13-45D316DD46D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067037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6" name="Google Shape;4196;p4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97" name="Google Shape;419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3:notes"/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4665D67-8F9C-4699-8803-2651B962DD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98E1CFC-CC34-4FE9-BBF9-2B2213177458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B544A5-4D73-48DB-ADE9-DDA844B5CFC4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50DD8615-DE29-4E05-BB76-D911E7B369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6" Type="http://schemas.openxmlformats.org/officeDocument/2006/relationships/image" Target="../media/image39.emf"/><Relationship Id="rId5" Type="http://schemas.openxmlformats.org/officeDocument/2006/relationships/image" Target="../media/image38.emf"/><Relationship Id="rId4" Type="http://schemas.openxmlformats.org/officeDocument/2006/relationships/image" Target="../media/image37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jp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7.emf"/><Relationship Id="rId4" Type="http://schemas.openxmlformats.org/officeDocument/2006/relationships/oleObject" Target="../embeddings/oleObject2.bin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svg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2.svg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2.svg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2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svg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sv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2.svg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svg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2.svg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svg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2.svg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2.svg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39.emf"/><Relationship Id="rId5" Type="http://schemas.openxmlformats.org/officeDocument/2006/relationships/image" Target="../media/image38.emf"/><Relationship Id="rId4" Type="http://schemas.openxmlformats.org/officeDocument/2006/relationships/image" Target="../media/image37.emf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jp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7.emf"/><Relationship Id="rId4" Type="http://schemas.openxmlformats.org/officeDocument/2006/relationships/oleObject" Target="../embeddings/oleObject2.bin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2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2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2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6.jp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7.emf"/><Relationship Id="rId4" Type="http://schemas.openxmlformats.org/officeDocument/2006/relationships/oleObject" Target="../embeddings/oleObject2.bin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2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6.jp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7.emf"/><Relationship Id="rId4" Type="http://schemas.openxmlformats.org/officeDocument/2006/relationships/oleObject" Target="../embeddings/oleObject2.bin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6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3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3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6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3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3.xml"/></Relationships>
</file>

<file path=ppt/slideLayouts/_rels/slideLayout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3.xml"/></Relationships>
</file>

<file path=ppt/slideLayouts/_rels/slideLayout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3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3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3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6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6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6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6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3.xml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3.xml"/></Relationships>
</file>

<file path=ppt/slideLayouts/_rels/slideLayout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3.xml"/></Relationships>
</file>

<file path=ppt/slideLayouts/_rels/slideLayout6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6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6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6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6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6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6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6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Master" Target="../slideMasters/slideMaster3.xml"/></Relationships>
</file>

<file path=ppt/slideLayouts/_rels/slideLayout6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80.png"/><Relationship Id="rId1" Type="http://schemas.openxmlformats.org/officeDocument/2006/relationships/slideMaster" Target="../slideMasters/slideMaster3.xml"/></Relationships>
</file>

<file path=ppt/slideLayouts/_rels/slideLayout6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Master" Target="../slideMasters/slideMaster3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3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6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Master" Target="../slideMasters/slideMaster3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3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6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80.png"/><Relationship Id="rId1" Type="http://schemas.openxmlformats.org/officeDocument/2006/relationships/slideMaster" Target="../slideMasters/slideMaster3.xml"/></Relationships>
</file>

<file path=ppt/slideLayouts/_rels/slideLayout6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6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Master" Target="../slideMasters/slideMaster3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3.xml"/></Relationships>
</file>

<file path=ppt/slideLayouts/_rels/slideLayout6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3.xml"/></Relationships>
</file>

<file path=ppt/slideLayouts/_rels/slideLayout6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3.xml"/></Relationships>
</file>

<file path=ppt/slideLayouts/_rels/slideLayout7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7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emf"/><Relationship Id="rId2" Type="http://schemas.openxmlformats.org/officeDocument/2006/relationships/image" Target="../media/image8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4.emf"/></Relationships>
</file>

<file path=ppt/slideLayouts/_rels/slideLayout7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emf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4.emf"/></Relationships>
</file>

<file path=ppt/slideLayouts/_rels/slideLayout7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emf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4.emf"/></Relationships>
</file>

<file path=ppt/slideLayouts/_rels/slideLayout7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emf"/><Relationship Id="rId2" Type="http://schemas.openxmlformats.org/officeDocument/2006/relationships/image" Target="../media/image8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4.emf"/></Relationships>
</file>

<file path=ppt/slideLayouts/_rels/slideLayout7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emf"/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4.xml"/></Relationships>
</file>

<file path=ppt/slideLayouts/_rels/slideLayout7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emf"/><Relationship Id="rId2" Type="http://schemas.openxmlformats.org/officeDocument/2006/relationships/image" Target="../media/image90.png"/><Relationship Id="rId1" Type="http://schemas.openxmlformats.org/officeDocument/2006/relationships/slideMaster" Target="../slideMasters/slideMaster4.xml"/></Relationships>
</file>

<file path=ppt/slideLayouts/_rels/slideLayout7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emf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4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66729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22357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755908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5445790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147226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6875757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81570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90920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9154930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156411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2588404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2929768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17176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401592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5334597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3633120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96409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8948801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5266649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478416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1574453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073135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664246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3477825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40165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2274255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52129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21925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1320699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039290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522632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41"/>
          <p:cNvSpPr txBox="1">
            <a:spLocks noGrp="1"/>
          </p:cNvSpPr>
          <p:nvPr>
            <p:ph type="title"/>
          </p:nvPr>
        </p:nvSpPr>
        <p:spPr>
          <a:xfrm>
            <a:off x="431165" y="373062"/>
            <a:ext cx="6131559" cy="13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4250" b="1" i="0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41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41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41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1pPr>
            <a:lvl2pPr lvl="1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2pPr>
            <a:lvl3pPr lvl="2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3pPr>
            <a:lvl4pPr lvl="3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4pPr>
            <a:lvl5pPr lvl="4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5pPr>
            <a:lvl6pPr lvl="5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6pPr>
            <a:lvl7pPr lvl="6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7pPr>
            <a:lvl8pPr lvl="7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8pPr>
            <a:lvl9pPr lvl="8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8667009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67844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25603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4922759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7688442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8762160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35623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6334259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1721347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76920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54064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7501107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8707942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7760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2213915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3437110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6279866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6935733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062648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4635684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8567012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098779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36029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76219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5649723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2190050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5166305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7445404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27908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9773686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5644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00870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50110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7069454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9788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46546125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75802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79542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96452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74098086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39967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39184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17862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4199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1510779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71510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22982610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04261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86582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56398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82215853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20805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60405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6730774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0011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9697463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46582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33086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3562497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93885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59987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51934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85318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67333851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97365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54986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66756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6725185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9199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22992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5377277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7293725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2162147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2204530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491331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406242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2442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39298996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383190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12289380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551809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113647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5813304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91460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82342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944472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510005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654934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438320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12033002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58501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35674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830665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96484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46876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034612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0756355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4690644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2349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7829712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1001441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046846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4195245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2346578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975801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0436746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39637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47774368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0068104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117007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6263372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4118156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81733967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249979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8382586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326513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1692834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2017096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65966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4387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27464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552431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0596971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127726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5337792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2469933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48600811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014789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76408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400636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70793332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92869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503046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49344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39118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35484900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30593242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10717187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153083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052827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8041950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5611535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232956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582707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350297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964195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59288894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1738036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92109313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39765628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707690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72335180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0825360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4687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102939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117738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59826741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41841584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8438134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70616647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530026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83286918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60965409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58314866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0579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37723585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084443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94463148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1262305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66908345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8147966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10769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7659540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16342854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246268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882479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56259974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47714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36126142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47030186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69634743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51539726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1946050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88066202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11874976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78099278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3317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29430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85290633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86955085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2550505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84633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762860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1161113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95742618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73370223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41655904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1215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37385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6035177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9181662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4405609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26873656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01736313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186591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69370320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701996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276860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1618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93584525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347801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226550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507828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7968597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86218780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313213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541564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9862616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7093614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69125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4000879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00066115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3879403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34530582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461324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1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582804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1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72984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147066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554941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45669828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29689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95951503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015786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53072540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47207802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23553262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5197550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174483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29448776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94743943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30100536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7002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5151191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4058744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65691742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3326418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00728835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341952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51221632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250822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640857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436547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6065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455885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538290770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72154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178800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245018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453132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05937188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687594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4626083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445239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8051114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17340414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322411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2182405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644345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545354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928063202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273055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301192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478651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39818916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0185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7170637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452639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085312983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167672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67973796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6714408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709254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35198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89760401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21800410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744571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09972441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6541758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332049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59108007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9488816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8256880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1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10972460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91961892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1263680348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147746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12815895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17131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1587812124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1350566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550605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479842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2517059743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0738056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3216999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870579631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4456129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936074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787682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594718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98264071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3924702127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1055662697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20523488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71442673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93781478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599585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14434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9009643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81678389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452220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2916226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952920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575469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973251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285893829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692889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363674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50750012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0122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83049729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836870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98393359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731678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9/11/2025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28229811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9/11/2025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76188944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27626138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15217790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71294971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50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07226383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124182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80608648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7187504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53610012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31_Divider">
    <p:bg>
      <p:bgPr>
        <a:solidFill>
          <a:schemeClr val="lt2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5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4" name="Google Shape;64;p5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65;p5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66;p5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7" name="Google Shape;67;p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8" name="Google Shape;68;p5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5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96022357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30_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93125269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51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35462088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59663147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3991721642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9/11/2025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97118463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9/11/2025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01210353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374475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16249388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51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7925578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81938669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16832890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58760345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848202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51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66481214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12529546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1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29785121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7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48702029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267366286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5826532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4621762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5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41584822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0866008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CF3B5C-31C4-46BA-9FAD-72DF917A84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41120" y="558801"/>
            <a:ext cx="9953308" cy="1780860"/>
          </a:xfrm>
        </p:spPr>
        <p:txBody>
          <a:bodyPr anchor="b">
            <a:normAutofit/>
          </a:bodyPr>
          <a:lstStyle>
            <a:lvl1pPr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A217F83-0BDB-C70B-29FE-2651DE1915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4429817" y="0"/>
            <a:ext cx="7762183" cy="2754814"/>
            <a:chOff x="7334250" y="0"/>
            <a:chExt cx="4857750" cy="1724025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E0C62368-3F79-C078-7086-B23D2F5A09F8}"/>
                </a:ext>
              </a:extLst>
            </p:cNvPr>
            <p:cNvCxnSpPr/>
            <p:nvPr userDrawn="1"/>
          </p:nvCxnSpPr>
          <p:spPr>
            <a:xfrm flipH="1" flipV="1">
              <a:off x="7334250" y="0"/>
              <a:ext cx="4857750" cy="762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609BDD71-BF2E-BDB0-A625-D8371AEA1C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487150" y="0"/>
              <a:ext cx="704850" cy="172402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3354B96-CD25-BE1C-8CA2-3825F820B75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341120" y="2960877"/>
            <a:ext cx="2722880" cy="35128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800" b="1" kern="1200" spc="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CDD81865-54C7-7674-4B2E-041D05C1D146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1341120" y="3392035"/>
            <a:ext cx="2722880" cy="2907164"/>
          </a:xfrm>
        </p:spPr>
        <p:txBody>
          <a:bodyPr tIns="0">
            <a:normAutofit/>
          </a:bodyPr>
          <a:lstStyle>
            <a:lvl1pPr marL="283464" indent="-283464">
              <a:lnSpc>
                <a:spcPct val="100000"/>
              </a:lnSpc>
              <a:buFont typeface="+mj-lt"/>
              <a:buAutoNum type="arabicPeriod"/>
              <a:defRPr sz="1800" b="0" spc="50" baseline="0"/>
            </a:lvl1pPr>
            <a:lvl2pPr marL="566928" indent="-342900">
              <a:lnSpc>
                <a:spcPct val="100000"/>
              </a:lnSpc>
              <a:spcBef>
                <a:spcPts val="1000"/>
              </a:spcBef>
              <a:buFont typeface="+mj-lt"/>
              <a:buAutoNum type="alphaLcPeriod"/>
              <a:defRPr sz="1800" spc="50" baseline="0"/>
            </a:lvl2pPr>
            <a:lvl3pPr marL="850392" indent="-342900">
              <a:lnSpc>
                <a:spcPct val="100000"/>
              </a:lnSpc>
              <a:spcBef>
                <a:spcPts val="1000"/>
              </a:spcBef>
              <a:buFont typeface="+mj-lt"/>
              <a:buAutoNum type="arabicParenR"/>
              <a:defRPr sz="1800" spc="50" baseline="0"/>
            </a:lvl3pPr>
            <a:lvl4pPr marL="1042416" indent="-342900">
              <a:lnSpc>
                <a:spcPct val="100000"/>
              </a:lnSpc>
              <a:spcBef>
                <a:spcPts val="1000"/>
              </a:spcBef>
              <a:buFont typeface="+mj-lt"/>
              <a:buAutoNum type="alphaLcParenR"/>
              <a:defRPr sz="1800" spc="50" baseline="0"/>
            </a:lvl4pPr>
            <a:lvl5pPr marL="1074420" indent="-400050">
              <a:lnSpc>
                <a:spcPct val="100000"/>
              </a:lnSpc>
              <a:spcBef>
                <a:spcPts val="1000"/>
              </a:spcBef>
              <a:buFont typeface="+mj-lt"/>
              <a:buAutoNum type="romanLcPeriod"/>
              <a:defRPr sz="1800" spc="50" baseline="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F39BA57-7F1C-623F-BC7F-B689C5AC33E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754881" y="2960877"/>
            <a:ext cx="5516880" cy="35128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800" b="1" kern="1200" spc="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94BF07A4-5A33-0B3C-A378-AB2435F1D5F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754881" y="3324859"/>
            <a:ext cx="5506720" cy="3031489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0" spc="50" baseline="0"/>
            </a:lvl1pPr>
            <a:lvl2pPr marL="283464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2pPr>
            <a:lvl3pPr marL="566928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3pPr>
            <a:lvl4pPr marL="859536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4pPr>
            <a:lvl5pPr marL="1143000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3DC63A6-41FE-6C2D-9A53-0AE4A6DBF39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333500" y="6356349"/>
            <a:ext cx="3819228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B5130EC-B05B-5489-FBEC-DBEB6D1E737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373350" y="6356349"/>
            <a:ext cx="987552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175234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544E9C70-0200-3C21-7766-CB9EA5FBFA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2590800" cy="1027906"/>
            <a:chOff x="0" y="0"/>
            <a:chExt cx="2590800" cy="1027906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D5E4B16-2071-DEE9-BE53-F35AFBEFCA5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0" y="0"/>
              <a:ext cx="2590800" cy="762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1CB2B071-0355-D550-18A8-9D515CA1698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0" y="0"/>
              <a:ext cx="704850" cy="102790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E5C4E19-B78B-4E39-B661-7E6A2E6C5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53550"/>
            <a:ext cx="10515600" cy="1325563"/>
          </a:xfrm>
        </p:spPr>
        <p:txBody>
          <a:bodyPr anchor="b">
            <a:normAutofit/>
          </a:bodyPr>
          <a:lstStyle>
            <a:lvl1pPr algn="ctr"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C3975522-461E-4D79-B5B9-BF9471B54688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838200" y="2111381"/>
            <a:ext cx="10515600" cy="3570963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FB554B2-4C33-2975-9F27-94B8AE71DF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49"/>
            <a:ext cx="3819228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03C6776-E983-2BA3-1054-75996FE0FD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73350" y="6356349"/>
            <a:ext cx="987552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5148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5;p2">
            <a:extLst>
              <a:ext uri="{FF2B5EF4-FFF2-40B4-BE49-F238E27FC236}">
                <a16:creationId xmlns:a16="http://schemas.microsoft.com/office/drawing/2014/main" id="{5D8209C8-63E2-EC1C-65E2-E6EC1883C324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6;p2">
              <a:extLst>
                <a:ext uri="{FF2B5EF4-FFF2-40B4-BE49-F238E27FC236}">
                  <a16:creationId xmlns:a16="http://schemas.microsoft.com/office/drawing/2014/main" id="{47BF319E-E741-2437-C3AE-873F7B0FD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7;p2">
              <a:extLst>
                <a:ext uri="{FF2B5EF4-FFF2-40B4-BE49-F238E27FC236}">
                  <a16:creationId xmlns:a16="http://schemas.microsoft.com/office/drawing/2014/main" id="{19F95F26-62DA-DBB3-2A12-999158796EB8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8;p2">
                <a:extLst>
                  <a:ext uri="{FF2B5EF4-FFF2-40B4-BE49-F238E27FC236}">
                    <a16:creationId xmlns:a16="http://schemas.microsoft.com/office/drawing/2014/main" id="{47C539D3-1F76-0DA7-1228-BD2984764335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9;p2">
                <a:extLst>
                  <a:ext uri="{FF2B5EF4-FFF2-40B4-BE49-F238E27FC236}">
                    <a16:creationId xmlns:a16="http://schemas.microsoft.com/office/drawing/2014/main" id="{424365F6-5CC9-11AB-7C95-E279A9B3B415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20;p2">
            <a:extLst>
              <a:ext uri="{FF2B5EF4-FFF2-40B4-BE49-F238E27FC236}">
                <a16:creationId xmlns:a16="http://schemas.microsoft.com/office/drawing/2014/main" id="{512BB672-7D5C-4BC4-251D-657787B283A6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21;p2">
            <a:extLst>
              <a:ext uri="{FF2B5EF4-FFF2-40B4-BE49-F238E27FC236}">
                <a16:creationId xmlns:a16="http://schemas.microsoft.com/office/drawing/2014/main" id="{A833CE4B-050C-B618-6D95-CFE85730C912}"/>
              </a:ext>
            </a:extLst>
          </p:cNvPr>
          <p:cNvSpPr txBox="1">
            <a:spLocks noGrp="1"/>
          </p:cNvSpPr>
          <p:nvPr>
            <p:ph idx="1"/>
          </p:nvPr>
        </p:nvSpPr>
        <p:spPr/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9" name="Google Shape;22;p2">
            <a:extLst>
              <a:ext uri="{FF2B5EF4-FFF2-40B4-BE49-F238E27FC236}">
                <a16:creationId xmlns:a16="http://schemas.microsoft.com/office/drawing/2014/main" id="{626EC77D-B729-7758-DD70-3E150E49BAD4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348ED59A-FDB2-4D93-920F-6E3CF143A36D}" type="slidenum">
              <a:t>‹#›</a:t>
            </a:fld>
            <a:endParaRPr lang="en-US"/>
          </a:p>
        </p:txBody>
      </p:sp>
      <p:cxnSp>
        <p:nvCxnSpPr>
          <p:cNvPr id="10" name="Google Shape;23;p2">
            <a:extLst>
              <a:ext uri="{FF2B5EF4-FFF2-40B4-BE49-F238E27FC236}">
                <a16:creationId xmlns:a16="http://schemas.microsoft.com/office/drawing/2014/main" id="{65550F73-3CD4-C20C-D4A4-6873DDD70D72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1" name="Google Shape;24;p2">
            <a:extLst>
              <a:ext uri="{FF2B5EF4-FFF2-40B4-BE49-F238E27FC236}">
                <a16:creationId xmlns:a16="http://schemas.microsoft.com/office/drawing/2014/main" id="{45F1555E-9654-D3DD-20C3-485FA55F6FC6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765654"/>
      </p:ext>
    </p:extLst>
  </p:cSld>
  <p:clrMapOvr>
    <a:masterClrMapping/>
  </p:clrMapOvr>
  <p:hf sldNum="0" hdr="0" ftr="0" dt="0"/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5;p2">
            <a:extLst>
              <a:ext uri="{FF2B5EF4-FFF2-40B4-BE49-F238E27FC236}">
                <a16:creationId xmlns:a16="http://schemas.microsoft.com/office/drawing/2014/main" id="{EADEE7D5-8020-9CAC-EBE2-D66FFD556066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6;p2">
              <a:extLst>
                <a:ext uri="{FF2B5EF4-FFF2-40B4-BE49-F238E27FC236}">
                  <a16:creationId xmlns:a16="http://schemas.microsoft.com/office/drawing/2014/main" id="{95B8A592-997C-1B76-9CF7-592362E5144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7;p2">
              <a:extLst>
                <a:ext uri="{FF2B5EF4-FFF2-40B4-BE49-F238E27FC236}">
                  <a16:creationId xmlns:a16="http://schemas.microsoft.com/office/drawing/2014/main" id="{05EB33B1-A22D-1EFE-87F7-21D1C80C2725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8;p2">
                <a:extLst>
                  <a:ext uri="{FF2B5EF4-FFF2-40B4-BE49-F238E27FC236}">
                    <a16:creationId xmlns:a16="http://schemas.microsoft.com/office/drawing/2014/main" id="{54B93B56-80A7-0CE0-5CE9-36ADC8B2CF27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9;p2">
                <a:extLst>
                  <a:ext uri="{FF2B5EF4-FFF2-40B4-BE49-F238E27FC236}">
                    <a16:creationId xmlns:a16="http://schemas.microsoft.com/office/drawing/2014/main" id="{1D939683-E050-8BD8-F67E-D4CB3D91FEED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20;p2">
            <a:extLst>
              <a:ext uri="{FF2B5EF4-FFF2-40B4-BE49-F238E27FC236}">
                <a16:creationId xmlns:a16="http://schemas.microsoft.com/office/drawing/2014/main" id="{4B8EA6C7-C345-093C-D330-80E74367F628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21;p2">
            <a:extLst>
              <a:ext uri="{FF2B5EF4-FFF2-40B4-BE49-F238E27FC236}">
                <a16:creationId xmlns:a16="http://schemas.microsoft.com/office/drawing/2014/main" id="{636121F2-6089-76B8-10B8-6FDE4B2D18ED}"/>
              </a:ext>
            </a:extLst>
          </p:cNvPr>
          <p:cNvSpPr txBox="1">
            <a:spLocks noGrp="1"/>
          </p:cNvSpPr>
          <p:nvPr>
            <p:ph idx="1"/>
          </p:nvPr>
        </p:nvSpPr>
        <p:spPr/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9" name="Google Shape;22;p2">
            <a:extLst>
              <a:ext uri="{FF2B5EF4-FFF2-40B4-BE49-F238E27FC236}">
                <a16:creationId xmlns:a16="http://schemas.microsoft.com/office/drawing/2014/main" id="{FE3DD34D-96B4-6A6A-B749-CA3D28E451DA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1E5EE084-1BB0-4C7B-A797-86ECCDB06C1F}" type="slidenum">
              <a:t>‹#›</a:t>
            </a:fld>
            <a:endParaRPr lang="en-US"/>
          </a:p>
        </p:txBody>
      </p:sp>
      <p:cxnSp>
        <p:nvCxnSpPr>
          <p:cNvPr id="10" name="Google Shape;23;p2">
            <a:extLst>
              <a:ext uri="{FF2B5EF4-FFF2-40B4-BE49-F238E27FC236}">
                <a16:creationId xmlns:a16="http://schemas.microsoft.com/office/drawing/2014/main" id="{E6CC9F99-25CC-E1E6-2622-00BDF7F5930D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1" name="Google Shape;24;p2">
            <a:extLst>
              <a:ext uri="{FF2B5EF4-FFF2-40B4-BE49-F238E27FC236}">
                <a16:creationId xmlns:a16="http://schemas.microsoft.com/office/drawing/2014/main" id="{19EE9370-52E7-0EA6-54F2-1CB9845F4FD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60549"/>
      </p:ext>
    </p:extLst>
  </p:cSld>
  <p:clrMapOvr>
    <a:masterClrMapping/>
  </p:clrMapOvr>
  <p:hf sldNum="0" hdr="0" ftr="0" dt="0"/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6;p3">
            <a:extLst>
              <a:ext uri="{FF2B5EF4-FFF2-40B4-BE49-F238E27FC236}">
                <a16:creationId xmlns:a16="http://schemas.microsoft.com/office/drawing/2014/main" id="{5A8478CB-4239-43E8-837C-C0A67814DC30}"/>
              </a:ext>
            </a:extLst>
          </p:cNvPr>
          <p:cNvSpPr/>
          <p:nvPr/>
        </p:nvSpPr>
        <p:spPr>
          <a:xfrm>
            <a:off x="902366" y="1294415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27;p3">
            <a:extLst>
              <a:ext uri="{FF2B5EF4-FFF2-40B4-BE49-F238E27FC236}">
                <a16:creationId xmlns:a16="http://schemas.microsoft.com/office/drawing/2014/main" id="{B74C57FA-7A39-AA7A-0D30-5E024C2B2FD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1561328"/>
            <a:ext cx="5194432" cy="1826340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28;p3">
            <a:extLst>
              <a:ext uri="{FF2B5EF4-FFF2-40B4-BE49-F238E27FC236}">
                <a16:creationId xmlns:a16="http://schemas.microsoft.com/office/drawing/2014/main" id="{95EF0C4C-561F-A313-01FE-B51F0D22B489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766861"/>
            <a:ext cx="5194432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30;p3">
            <a:extLst>
              <a:ext uri="{FF2B5EF4-FFF2-40B4-BE49-F238E27FC236}">
                <a16:creationId xmlns:a16="http://schemas.microsoft.com/office/drawing/2014/main" id="{C8C3827E-C46B-315C-1768-15C84642DBA9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6" name="Google Shape;31;p3">
              <a:extLst>
                <a:ext uri="{FF2B5EF4-FFF2-40B4-BE49-F238E27FC236}">
                  <a16:creationId xmlns:a16="http://schemas.microsoft.com/office/drawing/2014/main" id="{D9D4F536-F269-BC98-4F37-819E20E9A302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7" name="Google Shape;32;p3">
              <a:extLst>
                <a:ext uri="{FF2B5EF4-FFF2-40B4-BE49-F238E27FC236}">
                  <a16:creationId xmlns:a16="http://schemas.microsoft.com/office/drawing/2014/main" id="{F1A32AC9-52AC-FDB7-105B-459CAF563794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8" name="Google Shape;33;p3">
              <a:extLst>
                <a:ext uri="{FF2B5EF4-FFF2-40B4-BE49-F238E27FC236}">
                  <a16:creationId xmlns:a16="http://schemas.microsoft.com/office/drawing/2014/main" id="{CCD892C9-7D07-30C0-B93A-E7DB30E9E8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568789837"/>
      </p:ext>
    </p:extLst>
  </p:cSld>
  <p:clrMapOvr>
    <a:masterClrMapping/>
  </p:clrMapOvr>
  <p:hf sldNum="0" hdr="0" ftr="0" dt="0"/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_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6;p5">
            <a:extLst>
              <a:ext uri="{FF2B5EF4-FFF2-40B4-BE49-F238E27FC236}">
                <a16:creationId xmlns:a16="http://schemas.microsoft.com/office/drawing/2014/main" id="{2161A1B5-9482-E957-8251-FEE95E4CA1AD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3" name="Google Shape;47;p5">
            <a:extLst>
              <a:ext uri="{FF2B5EF4-FFF2-40B4-BE49-F238E27FC236}">
                <a16:creationId xmlns:a16="http://schemas.microsoft.com/office/drawing/2014/main" id="{CD4EC35F-922E-12A3-AA1C-C90D70633AFA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609603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grpSp>
        <p:nvGrpSpPr>
          <p:cNvPr id="4" name="Google Shape;48;p5">
            <a:extLst>
              <a:ext uri="{FF2B5EF4-FFF2-40B4-BE49-F238E27FC236}">
                <a16:creationId xmlns:a16="http://schemas.microsoft.com/office/drawing/2014/main" id="{53AABDD1-99FA-4027-9C36-81319930AF5C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5" name="Google Shape;49;p5">
              <a:extLst>
                <a:ext uri="{FF2B5EF4-FFF2-40B4-BE49-F238E27FC236}">
                  <a16:creationId xmlns:a16="http://schemas.microsoft.com/office/drawing/2014/main" id="{F66D2CDC-8E45-76FF-0683-C4A5653FF0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6" name="Google Shape;50;p5">
              <a:extLst>
                <a:ext uri="{FF2B5EF4-FFF2-40B4-BE49-F238E27FC236}">
                  <a16:creationId xmlns:a16="http://schemas.microsoft.com/office/drawing/2014/main" id="{23B4192E-6763-F97E-4991-1B0ACF4CED33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7" name="Google Shape;51;p5">
                <a:extLst>
                  <a:ext uri="{FF2B5EF4-FFF2-40B4-BE49-F238E27FC236}">
                    <a16:creationId xmlns:a16="http://schemas.microsoft.com/office/drawing/2014/main" id="{4C63BBB4-EAA8-4008-FEA8-7FE16EAC4DF3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8" name="Google Shape;52;p5">
                <a:extLst>
                  <a:ext uri="{FF2B5EF4-FFF2-40B4-BE49-F238E27FC236}">
                    <a16:creationId xmlns:a16="http://schemas.microsoft.com/office/drawing/2014/main" id="{D0B81F40-2294-DA68-E242-6B616073A726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9" name="Google Shape;53;p5">
            <a:extLst>
              <a:ext uri="{FF2B5EF4-FFF2-40B4-BE49-F238E27FC236}">
                <a16:creationId xmlns:a16="http://schemas.microsoft.com/office/drawing/2014/main" id="{FEBCF3A9-4204-61DA-F7C1-CB91B974FFC2}"/>
              </a:ext>
            </a:extLst>
          </p:cNvPr>
          <p:cNvSpPr txBox="1">
            <a:spLocks noGrp="1"/>
          </p:cNvSpPr>
          <p:nvPr>
            <p:ph idx="2"/>
          </p:nvPr>
        </p:nvSpPr>
        <p:spPr>
          <a:xfrm>
            <a:off x="6172200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Google Shape;54;p5">
            <a:extLst>
              <a:ext uri="{FF2B5EF4-FFF2-40B4-BE49-F238E27FC236}">
                <a16:creationId xmlns:a16="http://schemas.microsoft.com/office/drawing/2014/main" id="{2EC8F91E-FEB0-A0D1-9FC8-8403758A1D1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8839193" y="6356351"/>
            <a:ext cx="2743200" cy="365129"/>
          </a:xfrm>
        </p:spPr>
        <p:txBody>
          <a:bodyPr/>
          <a:lstStyle>
            <a:lvl1pPr>
              <a:defRPr/>
            </a:lvl1pPr>
          </a:lstStyle>
          <a:p>
            <a:pPr lvl="0"/>
            <a:fld id="{6EEFD596-2E0A-459F-AED3-0A0F43D2A07B}" type="slidenum">
              <a:t>‹#›</a:t>
            </a:fld>
            <a:endParaRPr lang="en-US"/>
          </a:p>
        </p:txBody>
      </p:sp>
      <p:cxnSp>
        <p:nvCxnSpPr>
          <p:cNvPr id="11" name="Google Shape;55;p5">
            <a:extLst>
              <a:ext uri="{FF2B5EF4-FFF2-40B4-BE49-F238E27FC236}">
                <a16:creationId xmlns:a16="http://schemas.microsoft.com/office/drawing/2014/main" id="{946BE893-4CBF-FF74-F991-6F9D6DE4D6B1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2" name="Google Shape;56;p5">
            <a:extLst>
              <a:ext uri="{FF2B5EF4-FFF2-40B4-BE49-F238E27FC236}">
                <a16:creationId xmlns:a16="http://schemas.microsoft.com/office/drawing/2014/main" id="{2021D4ED-B1A1-A4B3-D8E5-72AFBC23E02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403227"/>
      </p:ext>
    </p:extLst>
  </p:cSld>
  <p:clrMapOvr>
    <a:masterClrMapping/>
  </p:clrMapOvr>
  <p:hf sldNum="0" hdr="0" ftr="0" dt="0"/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58;p6">
            <a:extLst>
              <a:ext uri="{FF2B5EF4-FFF2-40B4-BE49-F238E27FC236}">
                <a16:creationId xmlns:a16="http://schemas.microsoft.com/office/drawing/2014/main" id="{52EBA31A-8B8B-7389-DB49-2C3C083840B7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59;p6">
              <a:extLst>
                <a:ext uri="{FF2B5EF4-FFF2-40B4-BE49-F238E27FC236}">
                  <a16:creationId xmlns:a16="http://schemas.microsoft.com/office/drawing/2014/main" id="{C200D3EC-ECF0-F1BB-86E7-8967E527A0C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60;p6">
              <a:extLst>
                <a:ext uri="{FF2B5EF4-FFF2-40B4-BE49-F238E27FC236}">
                  <a16:creationId xmlns:a16="http://schemas.microsoft.com/office/drawing/2014/main" id="{E229331D-849C-D6D9-FAE2-A1C0012043E6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61;p6">
                <a:extLst>
                  <a:ext uri="{FF2B5EF4-FFF2-40B4-BE49-F238E27FC236}">
                    <a16:creationId xmlns:a16="http://schemas.microsoft.com/office/drawing/2014/main" id="{663D7E00-7D74-B388-2EFC-85351A29F69C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62;p6">
                <a:extLst>
                  <a:ext uri="{FF2B5EF4-FFF2-40B4-BE49-F238E27FC236}">
                    <a16:creationId xmlns:a16="http://schemas.microsoft.com/office/drawing/2014/main" id="{85AA23C1-E328-72C2-9701-0A8DE27B0CF3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63;p6">
            <a:extLst>
              <a:ext uri="{FF2B5EF4-FFF2-40B4-BE49-F238E27FC236}">
                <a16:creationId xmlns:a16="http://schemas.microsoft.com/office/drawing/2014/main" id="{140C5F49-0743-E00E-B560-180CAF7CC4C0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64;p6">
            <a:extLst>
              <a:ext uri="{FF2B5EF4-FFF2-40B4-BE49-F238E27FC236}">
                <a16:creationId xmlns:a16="http://schemas.microsoft.com/office/drawing/2014/main" id="{98926B66-5686-7C72-D73D-276E5C1D2DD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/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9" name="Google Shape;65;p6">
            <a:extLst>
              <a:ext uri="{FF2B5EF4-FFF2-40B4-BE49-F238E27FC236}">
                <a16:creationId xmlns:a16="http://schemas.microsoft.com/office/drawing/2014/main" id="{432A3280-3D84-1817-686C-D5371762140A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FDCFF565-D453-422C-B3D1-38A7F3F737CF}" type="slidenum">
              <a:t>‹#›</a:t>
            </a:fld>
            <a:endParaRPr lang="en-US"/>
          </a:p>
        </p:txBody>
      </p:sp>
      <p:cxnSp>
        <p:nvCxnSpPr>
          <p:cNvPr id="10" name="Google Shape;66;p6">
            <a:extLst>
              <a:ext uri="{FF2B5EF4-FFF2-40B4-BE49-F238E27FC236}">
                <a16:creationId xmlns:a16="http://schemas.microsoft.com/office/drawing/2014/main" id="{E5A1BA95-4973-EAF0-9DD5-A9D347F9C0FE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1" name="Google Shape;67;p6">
            <a:extLst>
              <a:ext uri="{FF2B5EF4-FFF2-40B4-BE49-F238E27FC236}">
                <a16:creationId xmlns:a16="http://schemas.microsoft.com/office/drawing/2014/main" id="{0D46FFA0-801B-DFBA-BE4D-BB9A4ADBDB09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62132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99105753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69;p7">
            <a:extLst>
              <a:ext uri="{FF2B5EF4-FFF2-40B4-BE49-F238E27FC236}">
                <a16:creationId xmlns:a16="http://schemas.microsoft.com/office/drawing/2014/main" id="{C9AD0812-0645-D104-4792-C792AAA602BC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3" name="Google Shape;70;p7">
            <a:extLst>
              <a:ext uri="{FF2B5EF4-FFF2-40B4-BE49-F238E27FC236}">
                <a16:creationId xmlns:a16="http://schemas.microsoft.com/office/drawing/2014/main" id="{BA95969B-158C-2686-731C-3B9AE921ABE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grpSp>
        <p:nvGrpSpPr>
          <p:cNvPr id="4" name="Google Shape;71;p7">
            <a:extLst>
              <a:ext uri="{FF2B5EF4-FFF2-40B4-BE49-F238E27FC236}">
                <a16:creationId xmlns:a16="http://schemas.microsoft.com/office/drawing/2014/main" id="{09DB377E-E2BE-D35E-A114-442466CB3A9B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5" name="Google Shape;72;p7">
              <a:extLst>
                <a:ext uri="{FF2B5EF4-FFF2-40B4-BE49-F238E27FC236}">
                  <a16:creationId xmlns:a16="http://schemas.microsoft.com/office/drawing/2014/main" id="{60E7A444-5416-8B01-94A0-515F515947F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6" name="Google Shape;73;p7">
              <a:extLst>
                <a:ext uri="{FF2B5EF4-FFF2-40B4-BE49-F238E27FC236}">
                  <a16:creationId xmlns:a16="http://schemas.microsoft.com/office/drawing/2014/main" id="{17FEAF01-C79B-74CE-3D50-4F3C000B043D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7" name="Google Shape;74;p7">
                <a:extLst>
                  <a:ext uri="{FF2B5EF4-FFF2-40B4-BE49-F238E27FC236}">
                    <a16:creationId xmlns:a16="http://schemas.microsoft.com/office/drawing/2014/main" id="{4981742C-9DD5-A9EC-6E15-0DF6954EE6C0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8" name="Google Shape;75;p7">
                <a:extLst>
                  <a:ext uri="{FF2B5EF4-FFF2-40B4-BE49-F238E27FC236}">
                    <a16:creationId xmlns:a16="http://schemas.microsoft.com/office/drawing/2014/main" id="{F1C5E6F3-5654-2EFC-A251-AB594E4D3D48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9" name="Google Shape;76;p7">
            <a:extLst>
              <a:ext uri="{FF2B5EF4-FFF2-40B4-BE49-F238E27FC236}">
                <a16:creationId xmlns:a16="http://schemas.microsoft.com/office/drawing/2014/main" id="{4474EB9A-D5C8-FA69-3EE4-0EB419AADC1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Google Shape;77;p7">
            <a:extLst>
              <a:ext uri="{FF2B5EF4-FFF2-40B4-BE49-F238E27FC236}">
                <a16:creationId xmlns:a16="http://schemas.microsoft.com/office/drawing/2014/main" id="{51AB997D-B1F8-97B3-5947-A339905A269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8839193" y="6356351"/>
            <a:ext cx="2743200" cy="365129"/>
          </a:xfrm>
        </p:spPr>
        <p:txBody>
          <a:bodyPr/>
          <a:lstStyle>
            <a:lvl1pPr>
              <a:defRPr/>
            </a:lvl1pPr>
          </a:lstStyle>
          <a:p>
            <a:pPr lvl="0"/>
            <a:fld id="{AFB3F07D-4D69-4787-AFD5-62E3EEECD799}" type="slidenum">
              <a:t>‹#›</a:t>
            </a:fld>
            <a:endParaRPr lang="en-US"/>
          </a:p>
        </p:txBody>
      </p:sp>
      <p:cxnSp>
        <p:nvCxnSpPr>
          <p:cNvPr id="11" name="Google Shape;78;p7">
            <a:extLst>
              <a:ext uri="{FF2B5EF4-FFF2-40B4-BE49-F238E27FC236}">
                <a16:creationId xmlns:a16="http://schemas.microsoft.com/office/drawing/2014/main" id="{18271968-9DCA-5A88-078E-04BA34844655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2" name="Google Shape;79;p7">
            <a:extLst>
              <a:ext uri="{FF2B5EF4-FFF2-40B4-BE49-F238E27FC236}">
                <a16:creationId xmlns:a16="http://schemas.microsoft.com/office/drawing/2014/main" id="{7F4A7F6E-A0C2-36AC-3590-15BB6C7CE1AC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076569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81;p8">
            <a:extLst>
              <a:ext uri="{FF2B5EF4-FFF2-40B4-BE49-F238E27FC236}">
                <a16:creationId xmlns:a16="http://schemas.microsoft.com/office/drawing/2014/main" id="{C806DAEE-C837-C2DF-B909-7AFB998A00C5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82;p8">
              <a:extLst>
                <a:ext uri="{FF2B5EF4-FFF2-40B4-BE49-F238E27FC236}">
                  <a16:creationId xmlns:a16="http://schemas.microsoft.com/office/drawing/2014/main" id="{A9139FB8-4BCC-A8AB-8EF6-D1E1DC3E32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83;p8">
              <a:extLst>
                <a:ext uri="{FF2B5EF4-FFF2-40B4-BE49-F238E27FC236}">
                  <a16:creationId xmlns:a16="http://schemas.microsoft.com/office/drawing/2014/main" id="{7C64B8BC-4FB3-9DA4-4A0F-2D191F3150CE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84;p8">
                <a:extLst>
                  <a:ext uri="{FF2B5EF4-FFF2-40B4-BE49-F238E27FC236}">
                    <a16:creationId xmlns:a16="http://schemas.microsoft.com/office/drawing/2014/main" id="{0DA56E4D-7559-0385-EB3B-023006C18E82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85;p8">
                <a:extLst>
                  <a:ext uri="{FF2B5EF4-FFF2-40B4-BE49-F238E27FC236}">
                    <a16:creationId xmlns:a16="http://schemas.microsoft.com/office/drawing/2014/main" id="{AFFEAA14-C651-2322-3702-C401F72B16F8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86;p8">
            <a:extLst>
              <a:ext uri="{FF2B5EF4-FFF2-40B4-BE49-F238E27FC236}">
                <a16:creationId xmlns:a16="http://schemas.microsoft.com/office/drawing/2014/main" id="{3119E003-D432-BDEB-2F9D-015E8486803F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87;p8">
            <a:extLst>
              <a:ext uri="{FF2B5EF4-FFF2-40B4-BE49-F238E27FC236}">
                <a16:creationId xmlns:a16="http://schemas.microsoft.com/office/drawing/2014/main" id="{2B736D99-3502-E447-48AE-9A79402EE67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/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9" name="Google Shape;88;p8">
            <a:extLst>
              <a:ext uri="{FF2B5EF4-FFF2-40B4-BE49-F238E27FC236}">
                <a16:creationId xmlns:a16="http://schemas.microsoft.com/office/drawing/2014/main" id="{EEAE568F-08E6-70EB-09D6-DFC1F28F3A1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E5715C09-AF71-4BF0-BAE4-6CEFCAC87B34}" type="slidenum">
              <a:t>‹#›</a:t>
            </a:fld>
            <a:endParaRPr lang="en-US"/>
          </a:p>
        </p:txBody>
      </p:sp>
      <p:cxnSp>
        <p:nvCxnSpPr>
          <p:cNvPr id="10" name="Google Shape;89;p8">
            <a:extLst>
              <a:ext uri="{FF2B5EF4-FFF2-40B4-BE49-F238E27FC236}">
                <a16:creationId xmlns:a16="http://schemas.microsoft.com/office/drawing/2014/main" id="{9D95A54E-0E44-C14A-0683-78281B0A2368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1" name="Google Shape;90;p8">
            <a:extLst>
              <a:ext uri="{FF2B5EF4-FFF2-40B4-BE49-F238E27FC236}">
                <a16:creationId xmlns:a16="http://schemas.microsoft.com/office/drawing/2014/main" id="{A7986472-FFDC-1316-6441-5E41C18AC377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67398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92;p9">
            <a:extLst>
              <a:ext uri="{FF2B5EF4-FFF2-40B4-BE49-F238E27FC236}">
                <a16:creationId xmlns:a16="http://schemas.microsoft.com/office/drawing/2014/main" id="{09FA6DAD-0933-34C7-6674-8FCA3DC603F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82E47A65-6549-4D78-916D-46752E882777}" type="slidenum">
              <a:t>‹#›</a:t>
            </a:fld>
            <a:endParaRPr lang="en-US"/>
          </a:p>
        </p:txBody>
      </p:sp>
      <p:cxnSp>
        <p:nvCxnSpPr>
          <p:cNvPr id="3" name="Google Shape;93;p9">
            <a:extLst>
              <a:ext uri="{FF2B5EF4-FFF2-40B4-BE49-F238E27FC236}">
                <a16:creationId xmlns:a16="http://schemas.microsoft.com/office/drawing/2014/main" id="{EAA58F63-8F7C-E950-8117-8CFE9267843B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4" name="Google Shape;94;p9">
            <a:extLst>
              <a:ext uri="{FF2B5EF4-FFF2-40B4-BE49-F238E27FC236}">
                <a16:creationId xmlns:a16="http://schemas.microsoft.com/office/drawing/2014/main" id="{244B3E15-0512-CAF7-602B-9A28CD83B67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2716829"/>
      </p:ext>
    </p:extLst>
  </p:cSld>
  <p:clrMapOvr>
    <a:masterClrMapping/>
  </p:clrMapOvr>
  <p:hf sldNum="0" hdr="0" ftr="0" dt="0"/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01;p10">
            <a:extLst>
              <a:ext uri="{FF2B5EF4-FFF2-40B4-BE49-F238E27FC236}">
                <a16:creationId xmlns:a16="http://schemas.microsoft.com/office/drawing/2014/main" id="{E48EE469-2FA4-C965-02EF-1B6FDC602D91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3" name="Google Shape;102;p10">
              <a:extLst>
                <a:ext uri="{FF2B5EF4-FFF2-40B4-BE49-F238E27FC236}">
                  <a16:creationId xmlns:a16="http://schemas.microsoft.com/office/drawing/2014/main" id="{CC1E5BA1-280C-C91F-4A1A-E0CFE3DA884F}"/>
                </a:ext>
              </a:extLst>
            </p:cNvPr>
            <p:cNvSpPr/>
            <p:nvPr/>
          </p:nvSpPr>
          <p:spPr>
            <a:xfrm>
              <a:off x="0" y="5100267"/>
              <a:ext cx="7111371" cy="175773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111369"/>
                <a:gd name="f4" fmla="val 1757730"/>
                <a:gd name="f5" fmla="val 772954"/>
                <a:gd name="f6" fmla="val 2778"/>
                <a:gd name="f7" fmla="val 1769038"/>
                <a:gd name="f8" fmla="val 30799"/>
                <a:gd name="f9" fmla="val 2696750"/>
                <a:gd name="f10" fmla="val 267531"/>
                <a:gd name="f11" fmla="val 3590934"/>
                <a:gd name="f12" fmla="val 566046"/>
                <a:gd name="f13" fmla="val 4684008"/>
                <a:gd name="f14" fmla="val 930921"/>
                <a:gd name="f15" fmla="val 5690778"/>
                <a:gd name="f16" fmla="val 1324625"/>
                <a:gd name="f17" fmla="val 6700767"/>
                <a:gd name="f18" fmla="val 1636882"/>
                <a:gd name="f19" fmla="val 25690"/>
                <a:gd name="f20" fmla="val 2197"/>
                <a:gd name="f21" fmla="val 25414"/>
                <a:gd name="f22" fmla="val 114653"/>
                <a:gd name="f23" fmla="val 14905"/>
                <a:gd name="f24" fmla="val 227801"/>
                <a:gd name="f25" fmla="val 7857"/>
                <a:gd name="f26" fmla="val 341773"/>
                <a:gd name="f27" fmla="val 3976"/>
                <a:gd name="f28" fmla="val 486963"/>
                <a:gd name="f29" fmla="+- 0 0 968"/>
                <a:gd name="f30" fmla="val 630656"/>
                <a:gd name="f31" fmla="+- 0 0 1224"/>
                <a:gd name="f32" fmla="*/ f0 1 7111369"/>
                <a:gd name="f33" fmla="*/ f1 1 1757730"/>
                <a:gd name="f34" fmla="+- f4 0 f2"/>
                <a:gd name="f35" fmla="+- f3 0 f2"/>
                <a:gd name="f36" fmla="*/ f35 1 7111369"/>
                <a:gd name="f37" fmla="*/ f34 1 1757730"/>
                <a:gd name="f38" fmla="*/ f2 1 f36"/>
                <a:gd name="f39" fmla="*/ f3 1 f36"/>
                <a:gd name="f40" fmla="*/ f2 1 f37"/>
                <a:gd name="f41" fmla="*/ f4 1 f37"/>
                <a:gd name="f42" fmla="*/ f38 f32 1"/>
                <a:gd name="f43" fmla="*/ f39 f32 1"/>
                <a:gd name="f44" fmla="*/ f41 f33 1"/>
                <a:gd name="f45" fmla="*/ f40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2" t="f45" r="f43" b="f44"/>
              <a:pathLst>
                <a:path w="7111369" h="1757730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4"/>
                  </a:lnTo>
                  <a:lnTo>
                    <a:pt x="f2" y="f4"/>
                  </a:lnTo>
                  <a:lnTo>
                    <a:pt x="f2" y="f19"/>
                  </a:lnTo>
                  <a:lnTo>
                    <a:pt x="f20" y="f21"/>
                  </a:ln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5" y="f6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103;p10">
              <a:extLst>
                <a:ext uri="{FF2B5EF4-FFF2-40B4-BE49-F238E27FC236}">
                  <a16:creationId xmlns:a16="http://schemas.microsoft.com/office/drawing/2014/main" id="{99B81217-B873-2E52-AAEC-8738C4BC7C75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5" name="Google Shape;104;p10">
              <a:extLst>
                <a:ext uri="{FF2B5EF4-FFF2-40B4-BE49-F238E27FC236}">
                  <a16:creationId xmlns:a16="http://schemas.microsoft.com/office/drawing/2014/main" id="{73FCD5DD-0B9B-5FA4-7AB6-0F61A258C8C0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105;p10">
              <a:extLst>
                <a:ext uri="{FF2B5EF4-FFF2-40B4-BE49-F238E27FC236}">
                  <a16:creationId xmlns:a16="http://schemas.microsoft.com/office/drawing/2014/main" id="{4B738555-7E4C-5BEC-E408-FAD0C2E9560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7" name="Google Shape;106;p10">
            <a:extLst>
              <a:ext uri="{FF2B5EF4-FFF2-40B4-BE49-F238E27FC236}">
                <a16:creationId xmlns:a16="http://schemas.microsoft.com/office/drawing/2014/main" id="{02C7D788-76EE-7984-24F0-6B52F6A8F2C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701747"/>
            <a:ext cx="9365376" cy="2014679"/>
          </a:xfrm>
        </p:spPr>
        <p:txBody>
          <a:bodyPr anchor="b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07;p10">
            <a:extLst>
              <a:ext uri="{FF2B5EF4-FFF2-40B4-BE49-F238E27FC236}">
                <a16:creationId xmlns:a16="http://schemas.microsoft.com/office/drawing/2014/main" id="{98DE3A37-B446-A974-AEA4-B21759DB7079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081637"/>
            <a:ext cx="9365376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521305"/>
      </p:ext>
    </p:extLst>
  </p:cSld>
  <p:clrMapOvr>
    <a:masterClrMapping/>
  </p:clrMapOvr>
  <p:hf sldNum="0" hdr="0" ftr="0" dt="0"/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9;p11">
            <a:extLst>
              <a:ext uri="{FF2B5EF4-FFF2-40B4-BE49-F238E27FC236}">
                <a16:creationId xmlns:a16="http://schemas.microsoft.com/office/drawing/2014/main" id="{E57060CF-037E-B7CD-1ED5-B47AC93E98E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57200" y="1146255"/>
            <a:ext cx="2350172" cy="2971800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cxnSp>
        <p:nvCxnSpPr>
          <p:cNvPr id="3" name="Google Shape;110;p11">
            <a:extLst>
              <a:ext uri="{FF2B5EF4-FFF2-40B4-BE49-F238E27FC236}">
                <a16:creationId xmlns:a16="http://schemas.microsoft.com/office/drawing/2014/main" id="{C2AA22D7-74A9-8C9C-DF67-87355BCF7DB6}"/>
              </a:ext>
            </a:extLst>
          </p:cNvPr>
          <p:cNvCxnSpPr/>
          <p:nvPr/>
        </p:nvCxnSpPr>
        <p:spPr>
          <a:xfrm>
            <a:off x="457200" y="947985"/>
            <a:ext cx="2350163" cy="0"/>
          </a:xfrm>
          <a:prstGeom prst="straightConnector1">
            <a:avLst/>
          </a:prstGeom>
          <a:noFill/>
          <a:ln w="31747" cap="flat">
            <a:solidFill>
              <a:srgbClr val="F58366"/>
            </a:solidFill>
            <a:prstDash val="solid"/>
            <a:miter/>
          </a:ln>
        </p:spPr>
      </p:cxnSp>
      <p:grpSp>
        <p:nvGrpSpPr>
          <p:cNvPr id="4" name="Google Shape;111;p11">
            <a:extLst>
              <a:ext uri="{FF2B5EF4-FFF2-40B4-BE49-F238E27FC236}">
                <a16:creationId xmlns:a16="http://schemas.microsoft.com/office/drawing/2014/main" id="{84777F02-2633-AA43-5F9C-E735860D15EF}"/>
              </a:ext>
            </a:extLst>
          </p:cNvPr>
          <p:cNvGrpSpPr/>
          <p:nvPr/>
        </p:nvGrpSpPr>
        <p:grpSpPr>
          <a:xfrm>
            <a:off x="0" y="5379424"/>
            <a:ext cx="2807363" cy="753895"/>
            <a:chOff x="0" y="5379424"/>
            <a:chExt cx="2807363" cy="753895"/>
          </a:xfrm>
        </p:grpSpPr>
        <p:sp>
          <p:nvSpPr>
            <p:cNvPr id="5" name="Google Shape;112;p11">
              <a:extLst>
                <a:ext uri="{FF2B5EF4-FFF2-40B4-BE49-F238E27FC236}">
                  <a16:creationId xmlns:a16="http://schemas.microsoft.com/office/drawing/2014/main" id="{7D0B4D64-C8BF-3BA9-8071-026310DDC2C6}"/>
                </a:ext>
              </a:extLst>
            </p:cNvPr>
            <p:cNvSpPr/>
            <p:nvPr/>
          </p:nvSpPr>
          <p:spPr>
            <a:xfrm>
              <a:off x="0" y="5532513"/>
              <a:ext cx="2807363" cy="60080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00807"/>
                <a:gd name="f5" fmla="val 429971"/>
                <a:gd name="f6" fmla="val 123998"/>
                <a:gd name="f7" fmla="val 1184765"/>
                <a:gd name="f8" fmla="val 325331"/>
                <a:gd name="f9" fmla="val 2014184"/>
                <a:gd name="f10" fmla="val 392492"/>
                <a:gd name="f11" fmla="val 2790212"/>
                <a:gd name="f12" fmla="val 235402"/>
                <a:gd name="f13" fmla="val 231522"/>
                <a:gd name="f14" fmla="val 566106"/>
                <a:gd name="f15" fmla="val 2593885"/>
                <a:gd name="f16" fmla="val 587498"/>
                <a:gd name="f17" fmla="val 1673646"/>
                <a:gd name="f18" fmla="val 651184"/>
                <a:gd name="f19" fmla="val 884869"/>
                <a:gd name="f20" fmla="val 479260"/>
                <a:gd name="f21" fmla="val 100844"/>
                <a:gd name="f22" fmla="val 222653"/>
                <a:gd name="f23" fmla="val 188389"/>
                <a:gd name="f24" fmla="*/ f0 1 2807368"/>
                <a:gd name="f25" fmla="*/ f1 1 600807"/>
                <a:gd name="f26" fmla="+- f4 0 f2"/>
                <a:gd name="f27" fmla="+- f3 0 f2"/>
                <a:gd name="f28" fmla="*/ f27 1 2807368"/>
                <a:gd name="f29" fmla="*/ f26 1 600807"/>
                <a:gd name="f30" fmla="*/ f2 1 f28"/>
                <a:gd name="f31" fmla="*/ f3 1 f28"/>
                <a:gd name="f32" fmla="*/ f2 1 f29"/>
                <a:gd name="f33" fmla="*/ f4 1 f29"/>
                <a:gd name="f34" fmla="*/ f30 f24 1"/>
                <a:gd name="f35" fmla="*/ f31 f24 1"/>
                <a:gd name="f36" fmla="*/ f33 f25 1"/>
                <a:gd name="f37" fmla="*/ f32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37" r="f35" b="f36"/>
              <a:pathLst>
                <a:path w="2807368" h="600807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lnTo>
                    <a:pt x="f3" y="f13"/>
                  </a:lnTo>
                  <a:lnTo>
                    <a:pt x="f3" y="f14"/>
                  </a:lnTo>
                  <a:lnTo>
                    <a:pt x="f15" y="f16"/>
                  </a:lnTo>
                  <a:cubicBezTo>
                    <a:pt x="f17" y="f18"/>
                    <a:pt x="f19" y="f20"/>
                    <a:pt x="f21" y="f22"/>
                  </a:cubicBezTo>
                  <a:lnTo>
                    <a:pt x="f2" y="f23"/>
                  </a:ln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6" name="Google Shape;113;p11">
              <a:extLst>
                <a:ext uri="{FF2B5EF4-FFF2-40B4-BE49-F238E27FC236}">
                  <a16:creationId xmlns:a16="http://schemas.microsoft.com/office/drawing/2014/main" id="{9A2952A6-A857-5FE5-E391-A0E847CD142C}"/>
                </a:ext>
              </a:extLst>
            </p:cNvPr>
            <p:cNvSpPr/>
            <p:nvPr/>
          </p:nvSpPr>
          <p:spPr>
            <a:xfrm>
              <a:off x="0" y="5379424"/>
              <a:ext cx="2807363" cy="64980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49803"/>
                <a:gd name="f5" fmla="val 282676"/>
                <a:gd name="f6" fmla="val 70799"/>
                <a:gd name="f7" fmla="val 435964"/>
                <a:gd name="f8" fmla="val 106085"/>
                <a:gd name="f9" fmla="val 588770"/>
                <a:gd name="f10" fmla="val 137629"/>
                <a:gd name="f11" fmla="val 740881"/>
                <a:gd name="f12" fmla="val 163828"/>
                <a:gd name="f13" fmla="val 1362800"/>
                <a:gd name="f14" fmla="val 270912"/>
                <a:gd name="f15" fmla="val 2067879"/>
                <a:gd name="f16" fmla="val 253759"/>
                <a:gd name="f17" fmla="val 2706471"/>
                <a:gd name="f18" fmla="val 96397"/>
                <a:gd name="f19" fmla="val 67250"/>
                <a:gd name="f20" fmla="val 605551"/>
                <a:gd name="f21" fmla="val 2602685"/>
                <a:gd name="f22" fmla="val 629466"/>
                <a:gd name="f23" fmla="val 1684237"/>
                <a:gd name="f24" fmla="val 708219"/>
                <a:gd name="f25" fmla="val 893252"/>
                <a:gd name="f26" fmla="val 549395"/>
                <a:gd name="f27" fmla="val 105614"/>
                <a:gd name="f28" fmla="val 305882"/>
                <a:gd name="f29" fmla="val 271926"/>
                <a:gd name="f30" fmla="*/ f0 1 2807368"/>
                <a:gd name="f31" fmla="*/ f1 1 649803"/>
                <a:gd name="f32" fmla="+- f4 0 f2"/>
                <a:gd name="f33" fmla="+- f3 0 f2"/>
                <a:gd name="f34" fmla="*/ f33 1 2807368"/>
                <a:gd name="f35" fmla="*/ f32 1 649803"/>
                <a:gd name="f36" fmla="*/ f2 1 f34"/>
                <a:gd name="f37" fmla="*/ f3 1 f34"/>
                <a:gd name="f38" fmla="*/ f2 1 f35"/>
                <a:gd name="f39" fmla="*/ f4 1 f35"/>
                <a:gd name="f40" fmla="*/ f36 f30 1"/>
                <a:gd name="f41" fmla="*/ f37 f30 1"/>
                <a:gd name="f42" fmla="*/ f39 f31 1"/>
                <a:gd name="f43" fmla="*/ f3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2807368" h="649803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19"/>
                  </a:lnTo>
                  <a:lnTo>
                    <a:pt x="f3" y="f20"/>
                  </a:lnTo>
                  <a:lnTo>
                    <a:pt x="f21" y="f22"/>
                  </a:lnTo>
                  <a:cubicBezTo>
                    <a:pt x="f23" y="f24"/>
                    <a:pt x="f25" y="f26"/>
                    <a:pt x="f27" y="f28"/>
                  </a:cubicBezTo>
                  <a:lnTo>
                    <a:pt x="f2" y="f29"/>
                  </a:ln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pic>
        <p:nvPicPr>
          <p:cNvPr id="7" name="Google Shape;115;p11">
            <a:extLst>
              <a:ext uri="{FF2B5EF4-FFF2-40B4-BE49-F238E27FC236}">
                <a16:creationId xmlns:a16="http://schemas.microsoft.com/office/drawing/2014/main" id="{682E4091-62EA-523D-94A8-CF5530BB4126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513344" y="4385535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344026352"/>
      </p:ext>
    </p:extLst>
  </p:cSld>
  <p:clrMapOvr>
    <a:masterClrMapping/>
  </p:clrMapOvr>
  <p:hf sldNum="0" hdr="0" ftr="0" dt="0"/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17;p12">
            <a:extLst>
              <a:ext uri="{FF2B5EF4-FFF2-40B4-BE49-F238E27FC236}">
                <a16:creationId xmlns:a16="http://schemas.microsoft.com/office/drawing/2014/main" id="{71A0FE96-C696-C96D-670A-9E683F056DCE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18;p12">
              <a:extLst>
                <a:ext uri="{FF2B5EF4-FFF2-40B4-BE49-F238E27FC236}">
                  <a16:creationId xmlns:a16="http://schemas.microsoft.com/office/drawing/2014/main" id="{4F042EAA-05B6-0EF7-82EC-93CA3D15B63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19;p12">
              <a:extLst>
                <a:ext uri="{FF2B5EF4-FFF2-40B4-BE49-F238E27FC236}">
                  <a16:creationId xmlns:a16="http://schemas.microsoft.com/office/drawing/2014/main" id="{CA05835C-4C5C-6CDE-9CF1-C4B321B39ADB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20;p12">
                <a:extLst>
                  <a:ext uri="{FF2B5EF4-FFF2-40B4-BE49-F238E27FC236}">
                    <a16:creationId xmlns:a16="http://schemas.microsoft.com/office/drawing/2014/main" id="{D48B8694-9245-D612-285D-526F57247FB3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21;p12">
                <a:extLst>
                  <a:ext uri="{FF2B5EF4-FFF2-40B4-BE49-F238E27FC236}">
                    <a16:creationId xmlns:a16="http://schemas.microsoft.com/office/drawing/2014/main" id="{8DFA4A79-DCCD-8C70-2599-BE141E5B8AB7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22;p12">
            <a:extLst>
              <a:ext uri="{FF2B5EF4-FFF2-40B4-BE49-F238E27FC236}">
                <a16:creationId xmlns:a16="http://schemas.microsoft.com/office/drawing/2014/main" id="{23293616-FA00-28CE-76F3-FE159796A632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23;p12">
            <a:extLst>
              <a:ext uri="{FF2B5EF4-FFF2-40B4-BE49-F238E27FC236}">
                <a16:creationId xmlns:a16="http://schemas.microsoft.com/office/drawing/2014/main" id="{7AD820A7-86F2-854B-9F8A-2BB127ED103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/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9" name="Google Shape;124;p12">
            <a:extLst>
              <a:ext uri="{FF2B5EF4-FFF2-40B4-BE49-F238E27FC236}">
                <a16:creationId xmlns:a16="http://schemas.microsoft.com/office/drawing/2014/main" id="{BEDFD56E-293C-602F-3FF5-98454E2BFD73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5E8FFA22-1DAF-4A3E-9581-ABC7025CBD6C}" type="slidenum">
              <a:t>‹#›</a:t>
            </a:fld>
            <a:endParaRPr lang="en-US"/>
          </a:p>
        </p:txBody>
      </p:sp>
      <p:cxnSp>
        <p:nvCxnSpPr>
          <p:cNvPr id="10" name="Google Shape;125;p12">
            <a:extLst>
              <a:ext uri="{FF2B5EF4-FFF2-40B4-BE49-F238E27FC236}">
                <a16:creationId xmlns:a16="http://schemas.microsoft.com/office/drawing/2014/main" id="{46BF40B3-F1D7-EAA2-E064-B05B80D883B4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1" name="Google Shape;126;p12">
            <a:extLst>
              <a:ext uri="{FF2B5EF4-FFF2-40B4-BE49-F238E27FC236}">
                <a16:creationId xmlns:a16="http://schemas.microsoft.com/office/drawing/2014/main" id="{ED680EDA-BFB5-0D7C-B0F9-DD490C12AF07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314138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28;p13">
            <a:extLst>
              <a:ext uri="{FF2B5EF4-FFF2-40B4-BE49-F238E27FC236}">
                <a16:creationId xmlns:a16="http://schemas.microsoft.com/office/drawing/2014/main" id="{51B620DC-CA73-ADC0-BD6F-DBBEC523D9B9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29;p13">
              <a:extLst>
                <a:ext uri="{FF2B5EF4-FFF2-40B4-BE49-F238E27FC236}">
                  <a16:creationId xmlns:a16="http://schemas.microsoft.com/office/drawing/2014/main" id="{94C64670-77FD-09DE-48F3-4F9D6B9BF90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30;p13">
              <a:extLst>
                <a:ext uri="{FF2B5EF4-FFF2-40B4-BE49-F238E27FC236}">
                  <a16:creationId xmlns:a16="http://schemas.microsoft.com/office/drawing/2014/main" id="{9399634A-A23D-C493-CB0C-AC17D0071A78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31;p13">
                <a:extLst>
                  <a:ext uri="{FF2B5EF4-FFF2-40B4-BE49-F238E27FC236}">
                    <a16:creationId xmlns:a16="http://schemas.microsoft.com/office/drawing/2014/main" id="{40456CD8-5667-411E-2826-030FFACA7BF7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32;p13">
                <a:extLst>
                  <a:ext uri="{FF2B5EF4-FFF2-40B4-BE49-F238E27FC236}">
                    <a16:creationId xmlns:a16="http://schemas.microsoft.com/office/drawing/2014/main" id="{9A27C5C1-ACBF-94DD-1E93-9E25AA6BBE96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33;p13">
            <a:extLst>
              <a:ext uri="{FF2B5EF4-FFF2-40B4-BE49-F238E27FC236}">
                <a16:creationId xmlns:a16="http://schemas.microsoft.com/office/drawing/2014/main" id="{77E0B0BA-BAC3-B112-B704-F86698BAF217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34;p13">
            <a:extLst>
              <a:ext uri="{FF2B5EF4-FFF2-40B4-BE49-F238E27FC236}">
                <a16:creationId xmlns:a16="http://schemas.microsoft.com/office/drawing/2014/main" id="{7419A994-07D5-E460-AA0F-715A1EBD43E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/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9" name="Google Shape;135;p13">
            <a:extLst>
              <a:ext uri="{FF2B5EF4-FFF2-40B4-BE49-F238E27FC236}">
                <a16:creationId xmlns:a16="http://schemas.microsoft.com/office/drawing/2014/main" id="{7B62A5C5-514B-9C73-F3EB-3B4B16C89C8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FE364747-42EF-4D94-B3D4-EAEA44CD1A9D}" type="slidenum">
              <a:t>‹#›</a:t>
            </a:fld>
            <a:endParaRPr lang="en-US"/>
          </a:p>
        </p:txBody>
      </p:sp>
      <p:cxnSp>
        <p:nvCxnSpPr>
          <p:cNvPr id="10" name="Google Shape;136;p13">
            <a:extLst>
              <a:ext uri="{FF2B5EF4-FFF2-40B4-BE49-F238E27FC236}">
                <a16:creationId xmlns:a16="http://schemas.microsoft.com/office/drawing/2014/main" id="{C3344C68-A0B0-FFD0-6E35-B53954E60E05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1" name="Google Shape;137;p13">
            <a:extLst>
              <a:ext uri="{FF2B5EF4-FFF2-40B4-BE49-F238E27FC236}">
                <a16:creationId xmlns:a16="http://schemas.microsoft.com/office/drawing/2014/main" id="{E3256BCF-8B1E-ECF8-31C2-D9A96604DD00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626094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28;p13">
            <a:extLst>
              <a:ext uri="{FF2B5EF4-FFF2-40B4-BE49-F238E27FC236}">
                <a16:creationId xmlns:a16="http://schemas.microsoft.com/office/drawing/2014/main" id="{BE15A897-B835-0664-3861-5397A5E13FF6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29;p13">
              <a:extLst>
                <a:ext uri="{FF2B5EF4-FFF2-40B4-BE49-F238E27FC236}">
                  <a16:creationId xmlns:a16="http://schemas.microsoft.com/office/drawing/2014/main" id="{5EBA8AB7-22C2-526F-F317-96F9EB7601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30;p13">
              <a:extLst>
                <a:ext uri="{FF2B5EF4-FFF2-40B4-BE49-F238E27FC236}">
                  <a16:creationId xmlns:a16="http://schemas.microsoft.com/office/drawing/2014/main" id="{78BD6397-CAB8-358F-3B1B-DF71216E447A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31;p13">
                <a:extLst>
                  <a:ext uri="{FF2B5EF4-FFF2-40B4-BE49-F238E27FC236}">
                    <a16:creationId xmlns:a16="http://schemas.microsoft.com/office/drawing/2014/main" id="{C23065A2-6C23-DBCA-A6C4-6F3C7C8DBDFE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32;p13">
                <a:extLst>
                  <a:ext uri="{FF2B5EF4-FFF2-40B4-BE49-F238E27FC236}">
                    <a16:creationId xmlns:a16="http://schemas.microsoft.com/office/drawing/2014/main" id="{4149D8F5-2903-F15D-C2A5-99D73FEA28E6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33;p13">
            <a:extLst>
              <a:ext uri="{FF2B5EF4-FFF2-40B4-BE49-F238E27FC236}">
                <a16:creationId xmlns:a16="http://schemas.microsoft.com/office/drawing/2014/main" id="{F59AC238-003F-F7C9-8CF0-6B534DCB462A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34;p13">
            <a:extLst>
              <a:ext uri="{FF2B5EF4-FFF2-40B4-BE49-F238E27FC236}">
                <a16:creationId xmlns:a16="http://schemas.microsoft.com/office/drawing/2014/main" id="{5F1B3E8D-AFE4-C6A1-56D8-FC7D4BD3066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/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9" name="Google Shape;135;p13">
            <a:extLst>
              <a:ext uri="{FF2B5EF4-FFF2-40B4-BE49-F238E27FC236}">
                <a16:creationId xmlns:a16="http://schemas.microsoft.com/office/drawing/2014/main" id="{CD52D47B-CC05-7793-9861-280E4B1EECED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333F9B8E-BABC-4D90-8CA7-859576E6EBC5}" type="slidenum">
              <a:t>‹#›</a:t>
            </a:fld>
            <a:endParaRPr lang="en-US"/>
          </a:p>
        </p:txBody>
      </p:sp>
      <p:cxnSp>
        <p:nvCxnSpPr>
          <p:cNvPr id="10" name="Google Shape;136;p13">
            <a:extLst>
              <a:ext uri="{FF2B5EF4-FFF2-40B4-BE49-F238E27FC236}">
                <a16:creationId xmlns:a16="http://schemas.microsoft.com/office/drawing/2014/main" id="{979ACC3C-26D1-DBD9-9B3F-87D3234DE8A1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1" name="Google Shape;137;p13">
            <a:extLst>
              <a:ext uri="{FF2B5EF4-FFF2-40B4-BE49-F238E27FC236}">
                <a16:creationId xmlns:a16="http://schemas.microsoft.com/office/drawing/2014/main" id="{6D452B1F-B54E-9144-BCF9-3D4A6A96734C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396781"/>
      </p:ext>
    </p:extLst>
  </p:cSld>
  <p:clrMapOvr>
    <a:masterClrMapping/>
  </p:clrMapOvr>
  <p:hf sldNum="0" hdr="0" ftr="0" dt="0"/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39;p14">
            <a:extLst>
              <a:ext uri="{FF2B5EF4-FFF2-40B4-BE49-F238E27FC236}">
                <a16:creationId xmlns:a16="http://schemas.microsoft.com/office/drawing/2014/main" id="{FB9C56BC-4450-7B92-FD43-430FFF7B97D0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3" name="Google Shape;140;p14">
              <a:extLst>
                <a:ext uri="{FF2B5EF4-FFF2-40B4-BE49-F238E27FC236}">
                  <a16:creationId xmlns:a16="http://schemas.microsoft.com/office/drawing/2014/main" id="{ABE840B1-C77D-1F2C-17BA-992398DDEA97}"/>
                </a:ext>
              </a:extLst>
            </p:cNvPr>
            <p:cNvSpPr/>
            <p:nvPr/>
          </p:nvSpPr>
          <p:spPr>
            <a:xfrm>
              <a:off x="0" y="5100267"/>
              <a:ext cx="7111371" cy="175773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111369"/>
                <a:gd name="f4" fmla="val 1757730"/>
                <a:gd name="f5" fmla="val 772954"/>
                <a:gd name="f6" fmla="val 2778"/>
                <a:gd name="f7" fmla="val 1769038"/>
                <a:gd name="f8" fmla="val 30799"/>
                <a:gd name="f9" fmla="val 2696750"/>
                <a:gd name="f10" fmla="val 267531"/>
                <a:gd name="f11" fmla="val 3590934"/>
                <a:gd name="f12" fmla="val 566046"/>
                <a:gd name="f13" fmla="val 4684008"/>
                <a:gd name="f14" fmla="val 930921"/>
                <a:gd name="f15" fmla="val 5690778"/>
                <a:gd name="f16" fmla="val 1324625"/>
                <a:gd name="f17" fmla="val 6700767"/>
                <a:gd name="f18" fmla="val 1636882"/>
                <a:gd name="f19" fmla="val 25690"/>
                <a:gd name="f20" fmla="val 2197"/>
                <a:gd name="f21" fmla="val 25414"/>
                <a:gd name="f22" fmla="val 114653"/>
                <a:gd name="f23" fmla="val 14905"/>
                <a:gd name="f24" fmla="val 227801"/>
                <a:gd name="f25" fmla="val 7857"/>
                <a:gd name="f26" fmla="val 341773"/>
                <a:gd name="f27" fmla="val 3976"/>
                <a:gd name="f28" fmla="val 486963"/>
                <a:gd name="f29" fmla="+- 0 0 968"/>
                <a:gd name="f30" fmla="val 630656"/>
                <a:gd name="f31" fmla="+- 0 0 1224"/>
                <a:gd name="f32" fmla="*/ f0 1 7111369"/>
                <a:gd name="f33" fmla="*/ f1 1 1757730"/>
                <a:gd name="f34" fmla="+- f4 0 f2"/>
                <a:gd name="f35" fmla="+- f3 0 f2"/>
                <a:gd name="f36" fmla="*/ f35 1 7111369"/>
                <a:gd name="f37" fmla="*/ f34 1 1757730"/>
                <a:gd name="f38" fmla="*/ f2 1 f36"/>
                <a:gd name="f39" fmla="*/ f3 1 f36"/>
                <a:gd name="f40" fmla="*/ f2 1 f37"/>
                <a:gd name="f41" fmla="*/ f4 1 f37"/>
                <a:gd name="f42" fmla="*/ f38 f32 1"/>
                <a:gd name="f43" fmla="*/ f39 f32 1"/>
                <a:gd name="f44" fmla="*/ f41 f33 1"/>
                <a:gd name="f45" fmla="*/ f40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2" t="f45" r="f43" b="f44"/>
              <a:pathLst>
                <a:path w="7111369" h="1757730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4"/>
                  </a:lnTo>
                  <a:lnTo>
                    <a:pt x="f2" y="f4"/>
                  </a:lnTo>
                  <a:lnTo>
                    <a:pt x="f2" y="f19"/>
                  </a:lnTo>
                  <a:lnTo>
                    <a:pt x="f20" y="f21"/>
                  </a:ln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5" y="f6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141;p14">
              <a:extLst>
                <a:ext uri="{FF2B5EF4-FFF2-40B4-BE49-F238E27FC236}">
                  <a16:creationId xmlns:a16="http://schemas.microsoft.com/office/drawing/2014/main" id="{54D22007-CF8D-08F5-8CDD-0CDDC69A37C1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5" name="Google Shape;142;p14">
              <a:extLst>
                <a:ext uri="{FF2B5EF4-FFF2-40B4-BE49-F238E27FC236}">
                  <a16:creationId xmlns:a16="http://schemas.microsoft.com/office/drawing/2014/main" id="{A8B42951-09D9-6CB5-4817-57C5C6427F9F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143;p14">
              <a:extLst>
                <a:ext uri="{FF2B5EF4-FFF2-40B4-BE49-F238E27FC236}">
                  <a16:creationId xmlns:a16="http://schemas.microsoft.com/office/drawing/2014/main" id="{DD70FF2C-A2F0-0257-90C3-A2F20912F5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7" name="Google Shape;144;p14">
            <a:extLst>
              <a:ext uri="{FF2B5EF4-FFF2-40B4-BE49-F238E27FC236}">
                <a16:creationId xmlns:a16="http://schemas.microsoft.com/office/drawing/2014/main" id="{755944BF-3B7B-0D0B-A0A4-ECCCC6C23EE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701747"/>
            <a:ext cx="9365376" cy="2014679"/>
          </a:xfrm>
        </p:spPr>
        <p:txBody>
          <a:bodyPr anchor="b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45;p14">
            <a:extLst>
              <a:ext uri="{FF2B5EF4-FFF2-40B4-BE49-F238E27FC236}">
                <a16:creationId xmlns:a16="http://schemas.microsoft.com/office/drawing/2014/main" id="{D74DA08E-30DE-84F3-C342-9CF58EDD9943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081637"/>
            <a:ext cx="9365376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0728464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58;p16">
            <a:extLst>
              <a:ext uri="{FF2B5EF4-FFF2-40B4-BE49-F238E27FC236}">
                <a16:creationId xmlns:a16="http://schemas.microsoft.com/office/drawing/2014/main" id="{39A25152-B3EA-3D48-F0A6-C70EA046A64B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59;p16">
              <a:extLst>
                <a:ext uri="{FF2B5EF4-FFF2-40B4-BE49-F238E27FC236}">
                  <a16:creationId xmlns:a16="http://schemas.microsoft.com/office/drawing/2014/main" id="{0B4C670B-DDF3-4F40-D03A-42E36A7A8E4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60;p16">
              <a:extLst>
                <a:ext uri="{FF2B5EF4-FFF2-40B4-BE49-F238E27FC236}">
                  <a16:creationId xmlns:a16="http://schemas.microsoft.com/office/drawing/2014/main" id="{CBD32621-C067-9CB8-CB70-3186FEA21C42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61;p16">
                <a:extLst>
                  <a:ext uri="{FF2B5EF4-FFF2-40B4-BE49-F238E27FC236}">
                    <a16:creationId xmlns:a16="http://schemas.microsoft.com/office/drawing/2014/main" id="{8F377B24-237B-7F78-B1A6-75CB81CEA56B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62;p16">
                <a:extLst>
                  <a:ext uri="{FF2B5EF4-FFF2-40B4-BE49-F238E27FC236}">
                    <a16:creationId xmlns:a16="http://schemas.microsoft.com/office/drawing/2014/main" id="{BA7E1043-C7DB-F75E-3C7F-02A3E449D347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63;p16">
            <a:extLst>
              <a:ext uri="{FF2B5EF4-FFF2-40B4-BE49-F238E27FC236}">
                <a16:creationId xmlns:a16="http://schemas.microsoft.com/office/drawing/2014/main" id="{179B60EA-EA84-658F-E064-111C9D03CA20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64;p16">
            <a:extLst>
              <a:ext uri="{FF2B5EF4-FFF2-40B4-BE49-F238E27FC236}">
                <a16:creationId xmlns:a16="http://schemas.microsoft.com/office/drawing/2014/main" id="{4F762BE6-2FD3-A20D-6871-0E081D59099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/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9" name="Google Shape;165;p16">
            <a:extLst>
              <a:ext uri="{FF2B5EF4-FFF2-40B4-BE49-F238E27FC236}">
                <a16:creationId xmlns:a16="http://schemas.microsoft.com/office/drawing/2014/main" id="{9DA69C28-CA76-B11C-62D4-6189C6EC6C0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3F9C03A5-D2D4-40AF-8F2A-7434537E94D3}" type="slidenum">
              <a:t>‹#›</a:t>
            </a:fld>
            <a:endParaRPr lang="en-US"/>
          </a:p>
        </p:txBody>
      </p:sp>
      <p:cxnSp>
        <p:nvCxnSpPr>
          <p:cNvPr id="10" name="Google Shape;166;p16">
            <a:extLst>
              <a:ext uri="{FF2B5EF4-FFF2-40B4-BE49-F238E27FC236}">
                <a16:creationId xmlns:a16="http://schemas.microsoft.com/office/drawing/2014/main" id="{C76F4DCA-0C7B-E4DD-5876-29B7B7285C80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1" name="Google Shape;167;p16">
            <a:extLst>
              <a:ext uri="{FF2B5EF4-FFF2-40B4-BE49-F238E27FC236}">
                <a16:creationId xmlns:a16="http://schemas.microsoft.com/office/drawing/2014/main" id="{8223A869-8FBD-A7CA-B390-06BAAEFEB04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388467"/>
      </p:ext>
    </p:extLst>
  </p:cSld>
  <p:clrMapOvr>
    <a:masterClrMapping/>
  </p:clrMapOvr>
  <p:hf sldNum="0"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884677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69;p17">
            <a:extLst>
              <a:ext uri="{FF2B5EF4-FFF2-40B4-BE49-F238E27FC236}">
                <a16:creationId xmlns:a16="http://schemas.microsoft.com/office/drawing/2014/main" id="{1AD8D6B5-26E0-7049-5198-3B772E4910AD}"/>
              </a:ext>
            </a:extLst>
          </p:cNvPr>
          <p:cNvSpPr/>
          <p:nvPr/>
        </p:nvSpPr>
        <p:spPr>
          <a:xfrm>
            <a:off x="902366" y="1294415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70;p17">
            <a:extLst>
              <a:ext uri="{FF2B5EF4-FFF2-40B4-BE49-F238E27FC236}">
                <a16:creationId xmlns:a16="http://schemas.microsoft.com/office/drawing/2014/main" id="{2DF05824-5CB8-F426-982A-E230B63685E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1561328"/>
            <a:ext cx="5194432" cy="1826340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71;p17">
            <a:extLst>
              <a:ext uri="{FF2B5EF4-FFF2-40B4-BE49-F238E27FC236}">
                <a16:creationId xmlns:a16="http://schemas.microsoft.com/office/drawing/2014/main" id="{3A57D4AB-7FBC-9713-3C65-4AC5E85A5648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766861"/>
            <a:ext cx="5194432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173;p17">
            <a:extLst>
              <a:ext uri="{FF2B5EF4-FFF2-40B4-BE49-F238E27FC236}">
                <a16:creationId xmlns:a16="http://schemas.microsoft.com/office/drawing/2014/main" id="{81A7BD14-F705-048E-54BB-1AF0F94ED22C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6" name="Google Shape;174;p17">
              <a:extLst>
                <a:ext uri="{FF2B5EF4-FFF2-40B4-BE49-F238E27FC236}">
                  <a16:creationId xmlns:a16="http://schemas.microsoft.com/office/drawing/2014/main" id="{29E08ED0-731C-D773-DD97-787D41715AB0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7" name="Google Shape;175;p17">
              <a:extLst>
                <a:ext uri="{FF2B5EF4-FFF2-40B4-BE49-F238E27FC236}">
                  <a16:creationId xmlns:a16="http://schemas.microsoft.com/office/drawing/2014/main" id="{E1A932A3-E75E-9E1F-A0F7-A0BB9A4A0C4F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8" name="Google Shape;176;p17">
              <a:extLst>
                <a:ext uri="{FF2B5EF4-FFF2-40B4-BE49-F238E27FC236}">
                  <a16:creationId xmlns:a16="http://schemas.microsoft.com/office/drawing/2014/main" id="{A96B5157-27D9-822A-D846-6F165B75D3A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36671284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78;p18">
            <a:extLst>
              <a:ext uri="{FF2B5EF4-FFF2-40B4-BE49-F238E27FC236}">
                <a16:creationId xmlns:a16="http://schemas.microsoft.com/office/drawing/2014/main" id="{A33B52BF-0CB8-8C1A-DD76-AC6AA8E5AC88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3" name="Google Shape;179;p18">
              <a:extLst>
                <a:ext uri="{FF2B5EF4-FFF2-40B4-BE49-F238E27FC236}">
                  <a16:creationId xmlns:a16="http://schemas.microsoft.com/office/drawing/2014/main" id="{A6E5BA33-B9A4-5989-5751-7CC7F66EC73A}"/>
                </a:ext>
              </a:extLst>
            </p:cNvPr>
            <p:cNvSpPr/>
            <p:nvPr/>
          </p:nvSpPr>
          <p:spPr>
            <a:xfrm>
              <a:off x="0" y="5100267"/>
              <a:ext cx="7111371" cy="175773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111369"/>
                <a:gd name="f4" fmla="val 1757730"/>
                <a:gd name="f5" fmla="val 772954"/>
                <a:gd name="f6" fmla="val 2778"/>
                <a:gd name="f7" fmla="val 1769038"/>
                <a:gd name="f8" fmla="val 30799"/>
                <a:gd name="f9" fmla="val 2696750"/>
                <a:gd name="f10" fmla="val 267531"/>
                <a:gd name="f11" fmla="val 3590934"/>
                <a:gd name="f12" fmla="val 566046"/>
                <a:gd name="f13" fmla="val 4684008"/>
                <a:gd name="f14" fmla="val 930921"/>
                <a:gd name="f15" fmla="val 5690778"/>
                <a:gd name="f16" fmla="val 1324625"/>
                <a:gd name="f17" fmla="val 6700767"/>
                <a:gd name="f18" fmla="val 1636882"/>
                <a:gd name="f19" fmla="val 25690"/>
                <a:gd name="f20" fmla="val 2197"/>
                <a:gd name="f21" fmla="val 25414"/>
                <a:gd name="f22" fmla="val 114653"/>
                <a:gd name="f23" fmla="val 14905"/>
                <a:gd name="f24" fmla="val 227801"/>
                <a:gd name="f25" fmla="val 7857"/>
                <a:gd name="f26" fmla="val 341773"/>
                <a:gd name="f27" fmla="val 3976"/>
                <a:gd name="f28" fmla="val 486963"/>
                <a:gd name="f29" fmla="+- 0 0 968"/>
                <a:gd name="f30" fmla="val 630656"/>
                <a:gd name="f31" fmla="+- 0 0 1224"/>
                <a:gd name="f32" fmla="*/ f0 1 7111369"/>
                <a:gd name="f33" fmla="*/ f1 1 1757730"/>
                <a:gd name="f34" fmla="+- f4 0 f2"/>
                <a:gd name="f35" fmla="+- f3 0 f2"/>
                <a:gd name="f36" fmla="*/ f35 1 7111369"/>
                <a:gd name="f37" fmla="*/ f34 1 1757730"/>
                <a:gd name="f38" fmla="*/ f2 1 f36"/>
                <a:gd name="f39" fmla="*/ f3 1 f36"/>
                <a:gd name="f40" fmla="*/ f2 1 f37"/>
                <a:gd name="f41" fmla="*/ f4 1 f37"/>
                <a:gd name="f42" fmla="*/ f38 f32 1"/>
                <a:gd name="f43" fmla="*/ f39 f32 1"/>
                <a:gd name="f44" fmla="*/ f41 f33 1"/>
                <a:gd name="f45" fmla="*/ f40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2" t="f45" r="f43" b="f44"/>
              <a:pathLst>
                <a:path w="7111369" h="1757730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4"/>
                  </a:lnTo>
                  <a:lnTo>
                    <a:pt x="f2" y="f4"/>
                  </a:lnTo>
                  <a:lnTo>
                    <a:pt x="f2" y="f19"/>
                  </a:lnTo>
                  <a:lnTo>
                    <a:pt x="f20" y="f21"/>
                  </a:ln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5" y="f6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180;p18">
              <a:extLst>
                <a:ext uri="{FF2B5EF4-FFF2-40B4-BE49-F238E27FC236}">
                  <a16:creationId xmlns:a16="http://schemas.microsoft.com/office/drawing/2014/main" id="{7D34702C-8BED-6597-C2B3-08408FDF6C45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5" name="Google Shape;181;p18">
              <a:extLst>
                <a:ext uri="{FF2B5EF4-FFF2-40B4-BE49-F238E27FC236}">
                  <a16:creationId xmlns:a16="http://schemas.microsoft.com/office/drawing/2014/main" id="{E7609235-7486-4A89-18DA-4A07B6F36CB6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182;p18">
              <a:extLst>
                <a:ext uri="{FF2B5EF4-FFF2-40B4-BE49-F238E27FC236}">
                  <a16:creationId xmlns:a16="http://schemas.microsoft.com/office/drawing/2014/main" id="{D0EFE02B-A6D9-0588-7FE9-9027BB4FC2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7" name="Google Shape;183;p18">
            <a:extLst>
              <a:ext uri="{FF2B5EF4-FFF2-40B4-BE49-F238E27FC236}">
                <a16:creationId xmlns:a16="http://schemas.microsoft.com/office/drawing/2014/main" id="{8E5528C5-BF16-34E5-3F0E-887164879AC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701747"/>
            <a:ext cx="9365376" cy="2014679"/>
          </a:xfrm>
        </p:spPr>
        <p:txBody>
          <a:bodyPr anchor="b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84;p18">
            <a:extLst>
              <a:ext uri="{FF2B5EF4-FFF2-40B4-BE49-F238E27FC236}">
                <a16:creationId xmlns:a16="http://schemas.microsoft.com/office/drawing/2014/main" id="{335784CB-0BEB-95AD-D74E-EC44626E85CE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081637"/>
            <a:ext cx="9365376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8954457"/>
      </p:ext>
    </p:extLst>
  </p:cSld>
  <p:clrMapOvr>
    <a:masterClrMapping/>
  </p:clrMapOvr>
  <p:hf sldNum="0" hdr="0" ftr="0" dt="0"/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86;p19">
            <a:extLst>
              <a:ext uri="{FF2B5EF4-FFF2-40B4-BE49-F238E27FC236}">
                <a16:creationId xmlns:a16="http://schemas.microsoft.com/office/drawing/2014/main" id="{5AF59FA7-F47D-9C82-E3A2-C6FC7E27F95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57200" y="1146255"/>
            <a:ext cx="2350172" cy="2971800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cxnSp>
        <p:nvCxnSpPr>
          <p:cNvPr id="3" name="Google Shape;187;p19">
            <a:extLst>
              <a:ext uri="{FF2B5EF4-FFF2-40B4-BE49-F238E27FC236}">
                <a16:creationId xmlns:a16="http://schemas.microsoft.com/office/drawing/2014/main" id="{EB098F71-D742-329A-331E-5A4317BCAA12}"/>
              </a:ext>
            </a:extLst>
          </p:cNvPr>
          <p:cNvCxnSpPr/>
          <p:nvPr/>
        </p:nvCxnSpPr>
        <p:spPr>
          <a:xfrm>
            <a:off x="457200" y="947985"/>
            <a:ext cx="2350163" cy="0"/>
          </a:xfrm>
          <a:prstGeom prst="straightConnector1">
            <a:avLst/>
          </a:prstGeom>
          <a:noFill/>
          <a:ln w="31747" cap="flat">
            <a:solidFill>
              <a:srgbClr val="F58366"/>
            </a:solidFill>
            <a:prstDash val="solid"/>
            <a:miter/>
          </a:ln>
        </p:spPr>
      </p:cxnSp>
      <p:grpSp>
        <p:nvGrpSpPr>
          <p:cNvPr id="4" name="Google Shape;188;p19">
            <a:extLst>
              <a:ext uri="{FF2B5EF4-FFF2-40B4-BE49-F238E27FC236}">
                <a16:creationId xmlns:a16="http://schemas.microsoft.com/office/drawing/2014/main" id="{F036B613-0EF9-A830-371D-B150C2DF3280}"/>
              </a:ext>
            </a:extLst>
          </p:cNvPr>
          <p:cNvGrpSpPr/>
          <p:nvPr/>
        </p:nvGrpSpPr>
        <p:grpSpPr>
          <a:xfrm>
            <a:off x="0" y="5379424"/>
            <a:ext cx="2807363" cy="753895"/>
            <a:chOff x="0" y="5379424"/>
            <a:chExt cx="2807363" cy="753895"/>
          </a:xfrm>
        </p:grpSpPr>
        <p:sp>
          <p:nvSpPr>
            <p:cNvPr id="5" name="Google Shape;189;p19">
              <a:extLst>
                <a:ext uri="{FF2B5EF4-FFF2-40B4-BE49-F238E27FC236}">
                  <a16:creationId xmlns:a16="http://schemas.microsoft.com/office/drawing/2014/main" id="{549FD198-243E-4616-8EBE-C3B542C90792}"/>
                </a:ext>
              </a:extLst>
            </p:cNvPr>
            <p:cNvSpPr/>
            <p:nvPr/>
          </p:nvSpPr>
          <p:spPr>
            <a:xfrm>
              <a:off x="0" y="5532513"/>
              <a:ext cx="2807363" cy="60080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00807"/>
                <a:gd name="f5" fmla="val 429971"/>
                <a:gd name="f6" fmla="val 123998"/>
                <a:gd name="f7" fmla="val 1184765"/>
                <a:gd name="f8" fmla="val 325331"/>
                <a:gd name="f9" fmla="val 2014184"/>
                <a:gd name="f10" fmla="val 392492"/>
                <a:gd name="f11" fmla="val 2790212"/>
                <a:gd name="f12" fmla="val 235402"/>
                <a:gd name="f13" fmla="val 231522"/>
                <a:gd name="f14" fmla="val 566106"/>
                <a:gd name="f15" fmla="val 2593885"/>
                <a:gd name="f16" fmla="val 587498"/>
                <a:gd name="f17" fmla="val 1673646"/>
                <a:gd name="f18" fmla="val 651184"/>
                <a:gd name="f19" fmla="val 884869"/>
                <a:gd name="f20" fmla="val 479260"/>
                <a:gd name="f21" fmla="val 100844"/>
                <a:gd name="f22" fmla="val 222653"/>
                <a:gd name="f23" fmla="val 188389"/>
                <a:gd name="f24" fmla="*/ f0 1 2807368"/>
                <a:gd name="f25" fmla="*/ f1 1 600807"/>
                <a:gd name="f26" fmla="+- f4 0 f2"/>
                <a:gd name="f27" fmla="+- f3 0 f2"/>
                <a:gd name="f28" fmla="*/ f27 1 2807368"/>
                <a:gd name="f29" fmla="*/ f26 1 600807"/>
                <a:gd name="f30" fmla="*/ f2 1 f28"/>
                <a:gd name="f31" fmla="*/ f3 1 f28"/>
                <a:gd name="f32" fmla="*/ f2 1 f29"/>
                <a:gd name="f33" fmla="*/ f4 1 f29"/>
                <a:gd name="f34" fmla="*/ f30 f24 1"/>
                <a:gd name="f35" fmla="*/ f31 f24 1"/>
                <a:gd name="f36" fmla="*/ f33 f25 1"/>
                <a:gd name="f37" fmla="*/ f32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37" r="f35" b="f36"/>
              <a:pathLst>
                <a:path w="2807368" h="600807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lnTo>
                    <a:pt x="f3" y="f13"/>
                  </a:lnTo>
                  <a:lnTo>
                    <a:pt x="f3" y="f14"/>
                  </a:lnTo>
                  <a:lnTo>
                    <a:pt x="f15" y="f16"/>
                  </a:lnTo>
                  <a:cubicBezTo>
                    <a:pt x="f17" y="f18"/>
                    <a:pt x="f19" y="f20"/>
                    <a:pt x="f21" y="f22"/>
                  </a:cubicBezTo>
                  <a:lnTo>
                    <a:pt x="f2" y="f23"/>
                  </a:ln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6" name="Google Shape;190;p19">
              <a:extLst>
                <a:ext uri="{FF2B5EF4-FFF2-40B4-BE49-F238E27FC236}">
                  <a16:creationId xmlns:a16="http://schemas.microsoft.com/office/drawing/2014/main" id="{0A53EDE0-0518-F12A-5F94-342914EFE56E}"/>
                </a:ext>
              </a:extLst>
            </p:cNvPr>
            <p:cNvSpPr/>
            <p:nvPr/>
          </p:nvSpPr>
          <p:spPr>
            <a:xfrm>
              <a:off x="0" y="5379424"/>
              <a:ext cx="2807363" cy="64980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49803"/>
                <a:gd name="f5" fmla="val 282676"/>
                <a:gd name="f6" fmla="val 70799"/>
                <a:gd name="f7" fmla="val 435964"/>
                <a:gd name="f8" fmla="val 106085"/>
                <a:gd name="f9" fmla="val 588770"/>
                <a:gd name="f10" fmla="val 137629"/>
                <a:gd name="f11" fmla="val 740881"/>
                <a:gd name="f12" fmla="val 163828"/>
                <a:gd name="f13" fmla="val 1362800"/>
                <a:gd name="f14" fmla="val 270912"/>
                <a:gd name="f15" fmla="val 2067879"/>
                <a:gd name="f16" fmla="val 253759"/>
                <a:gd name="f17" fmla="val 2706471"/>
                <a:gd name="f18" fmla="val 96397"/>
                <a:gd name="f19" fmla="val 67250"/>
                <a:gd name="f20" fmla="val 605551"/>
                <a:gd name="f21" fmla="val 2602685"/>
                <a:gd name="f22" fmla="val 629466"/>
                <a:gd name="f23" fmla="val 1684237"/>
                <a:gd name="f24" fmla="val 708219"/>
                <a:gd name="f25" fmla="val 893252"/>
                <a:gd name="f26" fmla="val 549395"/>
                <a:gd name="f27" fmla="val 105614"/>
                <a:gd name="f28" fmla="val 305882"/>
                <a:gd name="f29" fmla="val 271926"/>
                <a:gd name="f30" fmla="*/ f0 1 2807368"/>
                <a:gd name="f31" fmla="*/ f1 1 649803"/>
                <a:gd name="f32" fmla="+- f4 0 f2"/>
                <a:gd name="f33" fmla="+- f3 0 f2"/>
                <a:gd name="f34" fmla="*/ f33 1 2807368"/>
                <a:gd name="f35" fmla="*/ f32 1 649803"/>
                <a:gd name="f36" fmla="*/ f2 1 f34"/>
                <a:gd name="f37" fmla="*/ f3 1 f34"/>
                <a:gd name="f38" fmla="*/ f2 1 f35"/>
                <a:gd name="f39" fmla="*/ f4 1 f35"/>
                <a:gd name="f40" fmla="*/ f36 f30 1"/>
                <a:gd name="f41" fmla="*/ f37 f30 1"/>
                <a:gd name="f42" fmla="*/ f39 f31 1"/>
                <a:gd name="f43" fmla="*/ f3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2807368" h="649803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19"/>
                  </a:lnTo>
                  <a:lnTo>
                    <a:pt x="f3" y="f20"/>
                  </a:lnTo>
                  <a:lnTo>
                    <a:pt x="f21" y="f22"/>
                  </a:lnTo>
                  <a:cubicBezTo>
                    <a:pt x="f23" y="f24"/>
                    <a:pt x="f25" y="f26"/>
                    <a:pt x="f27" y="f28"/>
                  </a:cubicBezTo>
                  <a:lnTo>
                    <a:pt x="f2" y="f29"/>
                  </a:ln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pic>
        <p:nvPicPr>
          <p:cNvPr id="7" name="Google Shape;192;p19">
            <a:extLst>
              <a:ext uri="{FF2B5EF4-FFF2-40B4-BE49-F238E27FC236}">
                <a16:creationId xmlns:a16="http://schemas.microsoft.com/office/drawing/2014/main" id="{55E55CA9-0C98-0679-2753-A85A4F71432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513344" y="4385535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402731200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94;p20">
            <a:extLst>
              <a:ext uri="{FF2B5EF4-FFF2-40B4-BE49-F238E27FC236}">
                <a16:creationId xmlns:a16="http://schemas.microsoft.com/office/drawing/2014/main" id="{AC9D7924-90B1-4637-55E7-B23A1EDDF258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95;p20">
            <a:extLst>
              <a:ext uri="{FF2B5EF4-FFF2-40B4-BE49-F238E27FC236}">
                <a16:creationId xmlns:a16="http://schemas.microsoft.com/office/drawing/2014/main" id="{80E90AD9-212D-FA01-DCE0-5F000FE2142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96;p20">
            <a:extLst>
              <a:ext uri="{FF2B5EF4-FFF2-40B4-BE49-F238E27FC236}">
                <a16:creationId xmlns:a16="http://schemas.microsoft.com/office/drawing/2014/main" id="{34A31C5E-7165-B893-B639-3808EEADA5A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97;p20">
            <a:extLst>
              <a:ext uri="{FF2B5EF4-FFF2-40B4-BE49-F238E27FC236}">
                <a16:creationId xmlns:a16="http://schemas.microsoft.com/office/drawing/2014/main" id="{66D8C191-0707-5968-4C32-A53186D02E3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AEC4D0F4-F572-44C6-A965-3F1836DE549B}" type="slidenum">
              <a:t>‹#›</a:t>
            </a:fld>
            <a:endParaRPr lang="en-US"/>
          </a:p>
        </p:txBody>
      </p:sp>
      <p:cxnSp>
        <p:nvCxnSpPr>
          <p:cNvPr id="6" name="Google Shape;198;p20">
            <a:extLst>
              <a:ext uri="{FF2B5EF4-FFF2-40B4-BE49-F238E27FC236}">
                <a16:creationId xmlns:a16="http://schemas.microsoft.com/office/drawing/2014/main" id="{F3D5BD7E-4F0A-6CEB-5CBD-8B5455E106BA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99;p20">
            <a:extLst>
              <a:ext uri="{FF2B5EF4-FFF2-40B4-BE49-F238E27FC236}">
                <a16:creationId xmlns:a16="http://schemas.microsoft.com/office/drawing/2014/main" id="{83D730F6-7436-23E4-A914-D3FB003C5EBA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200;p20">
            <a:extLst>
              <a:ext uri="{FF2B5EF4-FFF2-40B4-BE49-F238E27FC236}">
                <a16:creationId xmlns:a16="http://schemas.microsoft.com/office/drawing/2014/main" id="{8EA059AC-400F-D49F-7DBA-DC3943C48233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201;p20">
              <a:extLst>
                <a:ext uri="{FF2B5EF4-FFF2-40B4-BE49-F238E27FC236}">
                  <a16:creationId xmlns:a16="http://schemas.microsoft.com/office/drawing/2014/main" id="{C2672AFB-F073-3E2C-4E0A-752D62FA19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202;p20">
              <a:extLst>
                <a:ext uri="{FF2B5EF4-FFF2-40B4-BE49-F238E27FC236}">
                  <a16:creationId xmlns:a16="http://schemas.microsoft.com/office/drawing/2014/main" id="{7E044DFD-9AF0-00CD-0B43-39257B7BC384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203;p20">
                <a:extLst>
                  <a:ext uri="{FF2B5EF4-FFF2-40B4-BE49-F238E27FC236}">
                    <a16:creationId xmlns:a16="http://schemas.microsoft.com/office/drawing/2014/main" id="{5363164B-3F62-00E9-413F-F57F6EB5262A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204;p20">
                <a:extLst>
                  <a:ext uri="{FF2B5EF4-FFF2-40B4-BE49-F238E27FC236}">
                    <a16:creationId xmlns:a16="http://schemas.microsoft.com/office/drawing/2014/main" id="{4CC50368-A128-83EB-CB18-FB5FAEC50051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205;p20" descr="Open quotation mark with solid fill">
            <a:extLst>
              <a:ext uri="{FF2B5EF4-FFF2-40B4-BE49-F238E27FC236}">
                <a16:creationId xmlns:a16="http://schemas.microsoft.com/office/drawing/2014/main" id="{614E3508-DA80-3B9A-F39B-0608CC9CC57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009741602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207;p21">
            <a:extLst>
              <a:ext uri="{FF2B5EF4-FFF2-40B4-BE49-F238E27FC236}">
                <a16:creationId xmlns:a16="http://schemas.microsoft.com/office/drawing/2014/main" id="{CB3C5563-C4E3-6643-7D2C-37D1F93E4A4F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208;p21">
              <a:extLst>
                <a:ext uri="{FF2B5EF4-FFF2-40B4-BE49-F238E27FC236}">
                  <a16:creationId xmlns:a16="http://schemas.microsoft.com/office/drawing/2014/main" id="{27EE3338-6D78-0828-528E-D3ADB579F0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209;p21">
              <a:extLst>
                <a:ext uri="{FF2B5EF4-FFF2-40B4-BE49-F238E27FC236}">
                  <a16:creationId xmlns:a16="http://schemas.microsoft.com/office/drawing/2014/main" id="{D3F85D3F-1CCB-7F37-7E71-BBF1CFBCDE80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210;p21">
                <a:extLst>
                  <a:ext uri="{FF2B5EF4-FFF2-40B4-BE49-F238E27FC236}">
                    <a16:creationId xmlns:a16="http://schemas.microsoft.com/office/drawing/2014/main" id="{490D4C29-4BFD-E746-F7EF-90FA7245350D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211;p21">
                <a:extLst>
                  <a:ext uri="{FF2B5EF4-FFF2-40B4-BE49-F238E27FC236}">
                    <a16:creationId xmlns:a16="http://schemas.microsoft.com/office/drawing/2014/main" id="{B1AB4AD6-206E-3F67-AE45-737D97082506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212;p21">
            <a:extLst>
              <a:ext uri="{FF2B5EF4-FFF2-40B4-BE49-F238E27FC236}">
                <a16:creationId xmlns:a16="http://schemas.microsoft.com/office/drawing/2014/main" id="{C73C6BF7-34DD-5F55-D7AF-94D2AAB1A2EC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213;p21">
            <a:extLst>
              <a:ext uri="{FF2B5EF4-FFF2-40B4-BE49-F238E27FC236}">
                <a16:creationId xmlns:a16="http://schemas.microsoft.com/office/drawing/2014/main" id="{70544781-2515-182F-9BAE-1D19A70EBA1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/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9" name="Google Shape;214;p21">
            <a:extLst>
              <a:ext uri="{FF2B5EF4-FFF2-40B4-BE49-F238E27FC236}">
                <a16:creationId xmlns:a16="http://schemas.microsoft.com/office/drawing/2014/main" id="{9C9673F2-F70A-9965-DD5C-13CCDCF1EC9D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614556AB-B018-4BDB-B9D9-1F97AD9ED53C}" type="slidenum">
              <a:t>‹#›</a:t>
            </a:fld>
            <a:endParaRPr lang="en-US"/>
          </a:p>
        </p:txBody>
      </p:sp>
      <p:cxnSp>
        <p:nvCxnSpPr>
          <p:cNvPr id="10" name="Google Shape;215;p21">
            <a:extLst>
              <a:ext uri="{FF2B5EF4-FFF2-40B4-BE49-F238E27FC236}">
                <a16:creationId xmlns:a16="http://schemas.microsoft.com/office/drawing/2014/main" id="{2D0EC13A-9586-B971-549C-4E4966F8514D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1" name="Google Shape;216;p21">
            <a:extLst>
              <a:ext uri="{FF2B5EF4-FFF2-40B4-BE49-F238E27FC236}">
                <a16:creationId xmlns:a16="http://schemas.microsoft.com/office/drawing/2014/main" id="{6EEC3E7E-9181-97A8-83F5-0F96A4C11DF1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384408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18;p22">
            <a:extLst>
              <a:ext uri="{FF2B5EF4-FFF2-40B4-BE49-F238E27FC236}">
                <a16:creationId xmlns:a16="http://schemas.microsoft.com/office/drawing/2014/main" id="{4FE4E30D-F66E-2CC3-71D2-4097D17F4EA3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3" name="Google Shape;219;p22">
            <a:extLst>
              <a:ext uri="{FF2B5EF4-FFF2-40B4-BE49-F238E27FC236}">
                <a16:creationId xmlns:a16="http://schemas.microsoft.com/office/drawing/2014/main" id="{51CB8EEE-0878-66F5-B86C-6994017F2B1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grpSp>
        <p:nvGrpSpPr>
          <p:cNvPr id="4" name="Google Shape;220;p22">
            <a:extLst>
              <a:ext uri="{FF2B5EF4-FFF2-40B4-BE49-F238E27FC236}">
                <a16:creationId xmlns:a16="http://schemas.microsoft.com/office/drawing/2014/main" id="{1138234B-9D0B-EFE7-F272-E7899345133A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5" name="Google Shape;221;p22">
              <a:extLst>
                <a:ext uri="{FF2B5EF4-FFF2-40B4-BE49-F238E27FC236}">
                  <a16:creationId xmlns:a16="http://schemas.microsoft.com/office/drawing/2014/main" id="{30F536C6-6803-2308-44D5-906CA0E1A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6" name="Google Shape;222;p22">
              <a:extLst>
                <a:ext uri="{FF2B5EF4-FFF2-40B4-BE49-F238E27FC236}">
                  <a16:creationId xmlns:a16="http://schemas.microsoft.com/office/drawing/2014/main" id="{C36C76B8-E7C0-5C1A-92E1-69DFEE965539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7" name="Google Shape;223;p22">
                <a:extLst>
                  <a:ext uri="{FF2B5EF4-FFF2-40B4-BE49-F238E27FC236}">
                    <a16:creationId xmlns:a16="http://schemas.microsoft.com/office/drawing/2014/main" id="{ECB96882-B1AD-138E-4C52-DA2E524047A0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8" name="Google Shape;224;p22">
                <a:extLst>
                  <a:ext uri="{FF2B5EF4-FFF2-40B4-BE49-F238E27FC236}">
                    <a16:creationId xmlns:a16="http://schemas.microsoft.com/office/drawing/2014/main" id="{190C23FA-78CB-6B95-8691-D30D561BA370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9" name="Google Shape;225;p22">
            <a:extLst>
              <a:ext uri="{FF2B5EF4-FFF2-40B4-BE49-F238E27FC236}">
                <a16:creationId xmlns:a16="http://schemas.microsoft.com/office/drawing/2014/main" id="{46619CEC-E942-18AF-468C-1BB70418E6E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Google Shape;226;p22">
            <a:extLst>
              <a:ext uri="{FF2B5EF4-FFF2-40B4-BE49-F238E27FC236}">
                <a16:creationId xmlns:a16="http://schemas.microsoft.com/office/drawing/2014/main" id="{476E2E5C-09ED-925E-3E8D-875C183B13E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8839193" y="6356351"/>
            <a:ext cx="2743200" cy="365129"/>
          </a:xfrm>
        </p:spPr>
        <p:txBody>
          <a:bodyPr/>
          <a:lstStyle>
            <a:lvl1pPr>
              <a:defRPr/>
            </a:lvl1pPr>
          </a:lstStyle>
          <a:p>
            <a:pPr lvl="0"/>
            <a:fld id="{8D12C604-050A-45DF-B73B-8907DB40B17A}" type="slidenum">
              <a:t>‹#›</a:t>
            </a:fld>
            <a:endParaRPr lang="en-US"/>
          </a:p>
        </p:txBody>
      </p:sp>
      <p:cxnSp>
        <p:nvCxnSpPr>
          <p:cNvPr id="11" name="Google Shape;227;p22">
            <a:extLst>
              <a:ext uri="{FF2B5EF4-FFF2-40B4-BE49-F238E27FC236}">
                <a16:creationId xmlns:a16="http://schemas.microsoft.com/office/drawing/2014/main" id="{A1BAF81D-99B4-B411-1E44-ACBE2A0D3EEF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2" name="Google Shape;228;p22">
            <a:extLst>
              <a:ext uri="{FF2B5EF4-FFF2-40B4-BE49-F238E27FC236}">
                <a16:creationId xmlns:a16="http://schemas.microsoft.com/office/drawing/2014/main" id="{B1FD9DC5-7D6E-9261-4F2A-B0BFAF0BC08A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343264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_OBJECTS_WITH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230;p23">
            <a:extLst>
              <a:ext uri="{FF2B5EF4-FFF2-40B4-BE49-F238E27FC236}">
                <a16:creationId xmlns:a16="http://schemas.microsoft.com/office/drawing/2014/main" id="{15B717D5-A1E1-D695-3085-BC6EDA93ADF0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231;p23">
              <a:extLst>
                <a:ext uri="{FF2B5EF4-FFF2-40B4-BE49-F238E27FC236}">
                  <a16:creationId xmlns:a16="http://schemas.microsoft.com/office/drawing/2014/main" id="{A85D920C-A61F-2CD9-2D27-8DAC5ABAFB7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232;p23">
              <a:extLst>
                <a:ext uri="{FF2B5EF4-FFF2-40B4-BE49-F238E27FC236}">
                  <a16:creationId xmlns:a16="http://schemas.microsoft.com/office/drawing/2014/main" id="{5B2F5BA0-ACCC-5419-8CF3-3B8959DC724D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233;p23">
                <a:extLst>
                  <a:ext uri="{FF2B5EF4-FFF2-40B4-BE49-F238E27FC236}">
                    <a16:creationId xmlns:a16="http://schemas.microsoft.com/office/drawing/2014/main" id="{01D0E374-2F41-9ED4-9E18-87EC7193A5CA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234;p23">
                <a:extLst>
                  <a:ext uri="{FF2B5EF4-FFF2-40B4-BE49-F238E27FC236}">
                    <a16:creationId xmlns:a16="http://schemas.microsoft.com/office/drawing/2014/main" id="{28C09B3A-97F7-8B55-181A-C2D8BD8F97F8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235;p23">
            <a:extLst>
              <a:ext uri="{FF2B5EF4-FFF2-40B4-BE49-F238E27FC236}">
                <a16:creationId xmlns:a16="http://schemas.microsoft.com/office/drawing/2014/main" id="{3EE6330B-A85B-05A0-B1CC-79C1AF9493B6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236;p23">
            <a:extLst>
              <a:ext uri="{FF2B5EF4-FFF2-40B4-BE49-F238E27FC236}">
                <a16:creationId xmlns:a16="http://schemas.microsoft.com/office/drawing/2014/main" id="{07F4815E-723B-5463-25ED-8927A4512A2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09603" y="1681160"/>
            <a:ext cx="538797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9" name="Google Shape;237;p23">
            <a:extLst>
              <a:ext uri="{FF2B5EF4-FFF2-40B4-BE49-F238E27FC236}">
                <a16:creationId xmlns:a16="http://schemas.microsoft.com/office/drawing/2014/main" id="{B20F843E-672F-7EDC-7D9A-F3D40FAB41D9}"/>
              </a:ext>
            </a:extLst>
          </p:cNvPr>
          <p:cNvSpPr txBox="1">
            <a:spLocks noGrp="1"/>
          </p:cNvSpPr>
          <p:nvPr>
            <p:ph type="body" idx="3"/>
          </p:nvPr>
        </p:nvSpPr>
        <p:spPr>
          <a:xfrm>
            <a:off x="609603" y="2505071"/>
            <a:ext cx="5387973" cy="3684583"/>
          </a:xfrm>
          <a:solidFill>
            <a:srgbClr val="F3F6FB"/>
          </a:solidFill>
        </p:spPr>
        <p:txBody>
          <a:bodyPr lIns="182870" tIns="0" rIns="182870" bIns="0">
            <a:normAutofit/>
          </a:bodyPr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0" name="Google Shape;238;p23">
            <a:extLst>
              <a:ext uri="{FF2B5EF4-FFF2-40B4-BE49-F238E27FC236}">
                <a16:creationId xmlns:a16="http://schemas.microsoft.com/office/drawing/2014/main" id="{075C9588-D26E-464B-461D-BADAB4787369}"/>
              </a:ext>
            </a:extLst>
          </p:cNvPr>
          <p:cNvSpPr txBox="1">
            <a:spLocks noGrp="1"/>
          </p:cNvSpPr>
          <p:nvPr>
            <p:ph idx="2"/>
          </p:nvPr>
        </p:nvSpPr>
        <p:spPr>
          <a:xfrm>
            <a:off x="6172200" y="1681160"/>
            <a:ext cx="541020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11" name="Google Shape;239;p23">
            <a:extLst>
              <a:ext uri="{FF2B5EF4-FFF2-40B4-BE49-F238E27FC236}">
                <a16:creationId xmlns:a16="http://schemas.microsoft.com/office/drawing/2014/main" id="{5B3EEB9C-1D13-F766-7D4E-501142BA040E}"/>
              </a:ext>
            </a:extLst>
          </p:cNvPr>
          <p:cNvSpPr txBox="1">
            <a:spLocks noGrp="1"/>
          </p:cNvSpPr>
          <p:nvPr>
            <p:ph idx="4"/>
          </p:nvPr>
        </p:nvSpPr>
        <p:spPr>
          <a:xfrm>
            <a:off x="6172200" y="2505071"/>
            <a:ext cx="5410203" cy="3684583"/>
          </a:xfrm>
          <a:solidFill>
            <a:srgbClr val="F3F6FB"/>
          </a:solidFill>
        </p:spPr>
        <p:txBody>
          <a:bodyPr lIns="182870" tIns="0" rIns="182870" bIns="0"/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2" name="Google Shape;240;p23">
            <a:extLst>
              <a:ext uri="{FF2B5EF4-FFF2-40B4-BE49-F238E27FC236}">
                <a16:creationId xmlns:a16="http://schemas.microsoft.com/office/drawing/2014/main" id="{ACD018E7-7269-4E92-5B78-EAA8D0165C4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14A9D591-9953-437E-9B54-CC770173D6B6}" type="slidenum">
              <a:t>‹#›</a:t>
            </a:fld>
            <a:endParaRPr lang="en-US"/>
          </a:p>
        </p:txBody>
      </p:sp>
      <p:cxnSp>
        <p:nvCxnSpPr>
          <p:cNvPr id="13" name="Google Shape;241;p23">
            <a:extLst>
              <a:ext uri="{FF2B5EF4-FFF2-40B4-BE49-F238E27FC236}">
                <a16:creationId xmlns:a16="http://schemas.microsoft.com/office/drawing/2014/main" id="{F21BCEAE-3E23-C177-1790-E64D18A952CD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4" name="Google Shape;242;p23">
            <a:extLst>
              <a:ext uri="{FF2B5EF4-FFF2-40B4-BE49-F238E27FC236}">
                <a16:creationId xmlns:a16="http://schemas.microsoft.com/office/drawing/2014/main" id="{A4ED135A-B50E-8A5D-5EA7-FBB7AEF6E55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6187143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244;p24">
            <a:extLst>
              <a:ext uri="{FF2B5EF4-FFF2-40B4-BE49-F238E27FC236}">
                <a16:creationId xmlns:a16="http://schemas.microsoft.com/office/drawing/2014/main" id="{93CF3A03-5F46-0E8F-E74E-279E5A207C59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245;p24">
              <a:extLst>
                <a:ext uri="{FF2B5EF4-FFF2-40B4-BE49-F238E27FC236}">
                  <a16:creationId xmlns:a16="http://schemas.microsoft.com/office/drawing/2014/main" id="{218CD142-1EA3-D506-A371-280FEBEB8D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246;p24">
              <a:extLst>
                <a:ext uri="{FF2B5EF4-FFF2-40B4-BE49-F238E27FC236}">
                  <a16:creationId xmlns:a16="http://schemas.microsoft.com/office/drawing/2014/main" id="{916CB10B-8717-DA71-E366-36441C0AA547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247;p24">
                <a:extLst>
                  <a:ext uri="{FF2B5EF4-FFF2-40B4-BE49-F238E27FC236}">
                    <a16:creationId xmlns:a16="http://schemas.microsoft.com/office/drawing/2014/main" id="{4CC71441-245A-1F2B-079B-41CB80BB4AE8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248;p24">
                <a:extLst>
                  <a:ext uri="{FF2B5EF4-FFF2-40B4-BE49-F238E27FC236}">
                    <a16:creationId xmlns:a16="http://schemas.microsoft.com/office/drawing/2014/main" id="{6EF647B3-48D1-C8BB-4BC8-9B8E6B21EC6A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249;p24">
            <a:extLst>
              <a:ext uri="{FF2B5EF4-FFF2-40B4-BE49-F238E27FC236}">
                <a16:creationId xmlns:a16="http://schemas.microsoft.com/office/drawing/2014/main" id="{3435AC0C-07FF-930A-0F21-EF3F67E1CE24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250;p24">
            <a:extLst>
              <a:ext uri="{FF2B5EF4-FFF2-40B4-BE49-F238E27FC236}">
                <a16:creationId xmlns:a16="http://schemas.microsoft.com/office/drawing/2014/main" id="{57DAA8E7-5EE4-D799-2682-4D93A113EF97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FB913468-6F8A-412E-B715-3C7B86F59680}" type="slidenum">
              <a:t>‹#›</a:t>
            </a:fld>
            <a:endParaRPr lang="en-US"/>
          </a:p>
        </p:txBody>
      </p:sp>
      <p:cxnSp>
        <p:nvCxnSpPr>
          <p:cNvPr id="9" name="Google Shape;251;p24">
            <a:extLst>
              <a:ext uri="{FF2B5EF4-FFF2-40B4-BE49-F238E27FC236}">
                <a16:creationId xmlns:a16="http://schemas.microsoft.com/office/drawing/2014/main" id="{BBDC74CD-DA2A-76DA-66F0-36FB49C1FD98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0" name="Google Shape;252;p24">
            <a:extLst>
              <a:ext uri="{FF2B5EF4-FFF2-40B4-BE49-F238E27FC236}">
                <a16:creationId xmlns:a16="http://schemas.microsoft.com/office/drawing/2014/main" id="{124E23BB-5438-7ECF-98A4-E456487EBAC5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946834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254;p25">
            <a:extLst>
              <a:ext uri="{FF2B5EF4-FFF2-40B4-BE49-F238E27FC236}">
                <a16:creationId xmlns:a16="http://schemas.microsoft.com/office/drawing/2014/main" id="{59B94792-761C-6623-FA5A-8D9172CB7696}"/>
              </a:ext>
            </a:extLst>
          </p:cNvPr>
          <p:cNvGrpSpPr/>
          <p:nvPr/>
        </p:nvGrpSpPr>
        <p:grpSpPr>
          <a:xfrm>
            <a:off x="0" y="0"/>
            <a:ext cx="12191996" cy="2148830"/>
            <a:chOff x="0" y="0"/>
            <a:chExt cx="12191996" cy="2148830"/>
          </a:xfrm>
        </p:grpSpPr>
        <p:sp>
          <p:nvSpPr>
            <p:cNvPr id="3" name="Google Shape;255;p25">
              <a:extLst>
                <a:ext uri="{FF2B5EF4-FFF2-40B4-BE49-F238E27FC236}">
                  <a16:creationId xmlns:a16="http://schemas.microsoft.com/office/drawing/2014/main" id="{53FD95EE-74B4-5ED2-B4E9-2D857810E40A}"/>
                </a:ext>
              </a:extLst>
            </p:cNvPr>
            <p:cNvSpPr/>
            <p:nvPr/>
          </p:nvSpPr>
          <p:spPr>
            <a:xfrm flipH="1">
              <a:off x="0" y="0"/>
              <a:ext cx="12191996" cy="214883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2148830"/>
                <a:gd name="f5" fmla="val 2318293"/>
                <a:gd name="f6" fmla="val 2110341"/>
                <a:gd name="f7" fmla="val 1952334"/>
                <a:gd name="f8" fmla="val 920"/>
                <a:gd name="f9" fmla="val 1343499"/>
                <a:gd name="f10" fmla="val 23864"/>
                <a:gd name="f11" fmla="val 752130"/>
                <a:gd name="f12" fmla="val 152982"/>
                <a:gd name="f13" fmla="val 184205"/>
                <a:gd name="f14" fmla="val 435928"/>
                <a:gd name="f15" fmla="val 536864"/>
                <a:gd name="f16" fmla="val 554713"/>
                <a:gd name="f17" fmla="val 201115"/>
                <a:gd name="f18" fmla="val 452796"/>
                <a:gd name="f19" fmla="val 776357"/>
                <a:gd name="f20" fmla="val 187336"/>
                <a:gd name="f21" fmla="val 1349828"/>
                <a:gd name="f22" fmla="val 76760"/>
                <a:gd name="f23" fmla="val 1947588"/>
                <a:gd name="f24" fmla="val 66249"/>
                <a:gd name="f25" fmla="val 2962940"/>
                <a:gd name="f26" fmla="val 48421"/>
                <a:gd name="f27" fmla="val 3890218"/>
                <a:gd name="f28" fmla="val 291317"/>
                <a:gd name="f29" fmla="val 4778140"/>
                <a:gd name="f30" fmla="val 604018"/>
                <a:gd name="f31" fmla="val 7231510"/>
                <a:gd name="f32" fmla="val 1468126"/>
                <a:gd name="f33" fmla="val 9178927"/>
                <a:gd name="f34" fmla="val 2492024"/>
                <a:gd name="f35" fmla="val 11996242"/>
                <a:gd name="f36" fmla="val 2036894"/>
                <a:gd name="f37" fmla="val 2002266"/>
                <a:gd name="f38" fmla="val 1415250"/>
                <a:gd name="f39" fmla="val 12022971"/>
                <a:gd name="f40" fmla="val 1470801"/>
                <a:gd name="f41" fmla="val 10719696"/>
                <a:gd name="f42" fmla="val 1863939"/>
                <a:gd name="f43" fmla="val 9271154"/>
                <a:gd name="f44" fmla="val 1783804"/>
                <a:gd name="f45" fmla="val 7970940"/>
                <a:gd name="f46" fmla="val 1436986"/>
                <a:gd name="f47" fmla="val 6890984"/>
                <a:gd name="f48" fmla="val 1148958"/>
                <a:gd name="f49" fmla="val 5866930"/>
                <a:gd name="f50" fmla="val 767309"/>
                <a:gd name="f51" fmla="val 4800356"/>
                <a:gd name="f52" fmla="val 456582"/>
                <a:gd name="f53" fmla="val 4068903"/>
                <a:gd name="f54" fmla="val 243471"/>
                <a:gd name="f55" fmla="val 3348204"/>
                <a:gd name="f56" fmla="val 74251"/>
                <a:gd name="f57" fmla="val 2646880"/>
                <a:gd name="f58" fmla="val 17560"/>
                <a:gd name="f59" fmla="*/ f0 1 12192000"/>
                <a:gd name="f60" fmla="*/ f1 1 2148830"/>
                <a:gd name="f61" fmla="+- f4 0 f2"/>
                <a:gd name="f62" fmla="+- f3 0 f2"/>
                <a:gd name="f63" fmla="*/ f62 1 12192000"/>
                <a:gd name="f64" fmla="*/ f61 1 2148830"/>
                <a:gd name="f65" fmla="*/ f2 1 f63"/>
                <a:gd name="f66" fmla="*/ f3 1 f63"/>
                <a:gd name="f67" fmla="*/ f2 1 f64"/>
                <a:gd name="f68" fmla="*/ f4 1 f64"/>
                <a:gd name="f69" fmla="*/ f65 f59 1"/>
                <a:gd name="f70" fmla="*/ f66 f59 1"/>
                <a:gd name="f71" fmla="*/ f68 f60 1"/>
                <a:gd name="f72" fmla="*/ f67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9" t="f72" r="f70" b="f71"/>
              <a:pathLst>
                <a:path w="12192000" h="2148830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256;p25">
              <a:extLst>
                <a:ext uri="{FF2B5EF4-FFF2-40B4-BE49-F238E27FC236}">
                  <a16:creationId xmlns:a16="http://schemas.microsoft.com/office/drawing/2014/main" id="{1252131B-0054-86E2-EB09-6E766CB90B54}"/>
                </a:ext>
              </a:extLst>
            </p:cNvPr>
            <p:cNvSpPr/>
            <p:nvPr/>
          </p:nvSpPr>
          <p:spPr>
            <a:xfrm flipH="1">
              <a:off x="0" y="0"/>
              <a:ext cx="12191996" cy="19921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992138"/>
                <a:gd name="f5" fmla="val 2724271"/>
                <a:gd name="f6" fmla="val 1788442"/>
                <a:gd name="f7" fmla="val 1635403"/>
                <a:gd name="f8" fmla="val 12925"/>
                <a:gd name="f9" fmla="val 1134241"/>
                <a:gd name="f10" fmla="val 70905"/>
                <a:gd name="f11" fmla="val 647221"/>
                <a:gd name="f12" fmla="val 207817"/>
                <a:gd name="f13" fmla="val 178220"/>
                <a:gd name="f14" fmla="val 451207"/>
                <a:gd name="f15" fmla="val 552718"/>
                <a:gd name="f16" fmla="val 570885"/>
                <a:gd name="f17" fmla="val 195368"/>
                <a:gd name="f18" fmla="val 467800"/>
                <a:gd name="f19" fmla="val 765758"/>
                <a:gd name="f20" fmla="val 193094"/>
                <a:gd name="f21" fmla="val 1336955"/>
                <a:gd name="f22" fmla="val 73179"/>
                <a:gd name="f23" fmla="val 1934073"/>
                <a:gd name="f24" fmla="val 52850"/>
                <a:gd name="f25" fmla="val 2948304"/>
                <a:gd name="f26" fmla="val 18310"/>
                <a:gd name="f27" fmla="val 3878878"/>
                <a:gd name="f28" fmla="val 245747"/>
                <a:gd name="f29" fmla="val 4771217"/>
                <a:gd name="f30" fmla="val 543645"/>
                <a:gd name="f31" fmla="val 7236913"/>
                <a:gd name="f32" fmla="val 1366709"/>
                <a:gd name="f33" fmla="val 9199689"/>
                <a:gd name="f34" fmla="val 2357774"/>
                <a:gd name="f35" fmla="val 12007222"/>
                <a:gd name="f36" fmla="val 1856729"/>
                <a:gd name="f37" fmla="val 1820900"/>
                <a:gd name="f38" fmla="val 897073"/>
                <a:gd name="f39" fmla="val 12062517"/>
                <a:gd name="f40" fmla="val 950128"/>
                <a:gd name="f41" fmla="val 10950292"/>
                <a:gd name="f42" fmla="val 1376478"/>
                <a:gd name="f43" fmla="val 9595706"/>
                <a:gd name="f44" fmla="val 1466451"/>
                <a:gd name="f45" fmla="val 8435105"/>
                <a:gd name="f46" fmla="val 1266613"/>
                <a:gd name="f47" fmla="val 6618389"/>
                <a:gd name="f48" fmla="val 953715"/>
                <a:gd name="f49" fmla="val 4735222"/>
                <a:gd name="f50" fmla="val 130088"/>
                <a:gd name="f51" fmla="val 2948502"/>
                <a:gd name="f52" fmla="val 20548"/>
                <a:gd name="f53" fmla="*/ f0 1 12192000"/>
                <a:gd name="f54" fmla="*/ f1 1 1992138"/>
                <a:gd name="f55" fmla="+- f4 0 f2"/>
                <a:gd name="f56" fmla="+- f3 0 f2"/>
                <a:gd name="f57" fmla="*/ f56 1 12192000"/>
                <a:gd name="f58" fmla="*/ f55 1 1992138"/>
                <a:gd name="f59" fmla="*/ f2 1 f57"/>
                <a:gd name="f60" fmla="*/ f3 1 f57"/>
                <a:gd name="f61" fmla="*/ f2 1 f58"/>
                <a:gd name="f62" fmla="*/ f4 1 f58"/>
                <a:gd name="f63" fmla="*/ f59 f53 1"/>
                <a:gd name="f64" fmla="*/ f60 f53 1"/>
                <a:gd name="f65" fmla="*/ f62 f54 1"/>
                <a:gd name="f66" fmla="*/ f61 f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3" t="f66" r="f64" b="f65"/>
              <a:pathLst>
                <a:path w="12192000" h="1992138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lose/>
                </a:path>
              </a:pathLst>
            </a:custGeom>
            <a:solidFill>
              <a:srgbClr val="00498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sp>
        <p:nvSpPr>
          <p:cNvPr id="5" name="Google Shape;257;p25">
            <a:extLst>
              <a:ext uri="{FF2B5EF4-FFF2-40B4-BE49-F238E27FC236}">
                <a16:creationId xmlns:a16="http://schemas.microsoft.com/office/drawing/2014/main" id="{A52C0FB7-EC21-BCC2-4927-55690EE237F4}"/>
              </a:ext>
            </a:extLst>
          </p:cNvPr>
          <p:cNvSpPr/>
          <p:nvPr/>
        </p:nvSpPr>
        <p:spPr>
          <a:xfrm>
            <a:off x="902366" y="1517693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6" name="Google Shape;258;p25">
            <a:extLst>
              <a:ext uri="{FF2B5EF4-FFF2-40B4-BE49-F238E27FC236}">
                <a16:creationId xmlns:a16="http://schemas.microsoft.com/office/drawing/2014/main" id="{7C861BB8-9528-8442-12BE-1C088E88CBD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219196" y="3429000"/>
            <a:ext cx="5582649" cy="1413561"/>
          </a:xfrm>
        </p:spPr>
        <p:txBody>
          <a:bodyPr/>
          <a:lstStyle>
            <a:lvl1pPr indent="-228600">
              <a:buNone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7" name="Google Shape;259;p25">
            <a:extLst>
              <a:ext uri="{FF2B5EF4-FFF2-40B4-BE49-F238E27FC236}">
                <a16:creationId xmlns:a16="http://schemas.microsoft.com/office/drawing/2014/main" id="{E9F045E5-A869-9727-3E45-69169C289C9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19196" y="1887486"/>
            <a:ext cx="5582649" cy="1078260"/>
          </a:xfrm>
        </p:spPr>
        <p:txBody>
          <a:bodyPr/>
          <a:lstStyle>
            <a:lvl1pPr>
              <a:defRPr sz="6000"/>
            </a:lvl1pPr>
          </a:lstStyle>
          <a:p>
            <a:pPr lvl="0"/>
            <a:endParaRPr lang="en-US"/>
          </a:p>
        </p:txBody>
      </p:sp>
      <p:pic>
        <p:nvPicPr>
          <p:cNvPr id="8" name="Google Shape;260;p25">
            <a:extLst>
              <a:ext uri="{FF2B5EF4-FFF2-40B4-BE49-F238E27FC236}">
                <a16:creationId xmlns:a16="http://schemas.microsoft.com/office/drawing/2014/main" id="{80181C30-02CB-A8DA-E477-A923DC79D1A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902366" y="228371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607633796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63;p26">
            <a:extLst>
              <a:ext uri="{FF2B5EF4-FFF2-40B4-BE49-F238E27FC236}">
                <a16:creationId xmlns:a16="http://schemas.microsoft.com/office/drawing/2014/main" id="{546B66D2-D095-A8C8-5220-912BDDD64A5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5B5F83F8-944C-4B72-B784-1548AEFBFB0A}" type="slidenum">
              <a:t>‹#›</a:t>
            </a:fld>
            <a:endParaRPr lang="en-US"/>
          </a:p>
        </p:txBody>
      </p:sp>
      <p:cxnSp>
        <p:nvCxnSpPr>
          <p:cNvPr id="3" name="Google Shape;264;p26">
            <a:extLst>
              <a:ext uri="{FF2B5EF4-FFF2-40B4-BE49-F238E27FC236}">
                <a16:creationId xmlns:a16="http://schemas.microsoft.com/office/drawing/2014/main" id="{C9B4D6D4-F519-E2D6-E412-A40EFA83C51E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4" name="Google Shape;265;p26">
            <a:extLst>
              <a:ext uri="{FF2B5EF4-FFF2-40B4-BE49-F238E27FC236}">
                <a16:creationId xmlns:a16="http://schemas.microsoft.com/office/drawing/2014/main" id="{9744A3D8-AFF4-27AC-DE11-47B168C091F5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266;p26">
            <a:extLst>
              <a:ext uri="{FF2B5EF4-FFF2-40B4-BE49-F238E27FC236}">
                <a16:creationId xmlns:a16="http://schemas.microsoft.com/office/drawing/2014/main" id="{6C5819F1-FA09-55B2-A226-CA41940D2AA3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6" name="Google Shape;267;p26">
              <a:extLst>
                <a:ext uri="{FF2B5EF4-FFF2-40B4-BE49-F238E27FC236}">
                  <a16:creationId xmlns:a16="http://schemas.microsoft.com/office/drawing/2014/main" id="{5E6026E7-1F24-3B9F-F57F-2223F2B0E4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7" name="Google Shape;268;p26">
              <a:extLst>
                <a:ext uri="{FF2B5EF4-FFF2-40B4-BE49-F238E27FC236}">
                  <a16:creationId xmlns:a16="http://schemas.microsoft.com/office/drawing/2014/main" id="{304DA1A1-DBFA-D6E4-BD41-98B24C1BF195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8" name="Google Shape;269;p26">
                <a:extLst>
                  <a:ext uri="{FF2B5EF4-FFF2-40B4-BE49-F238E27FC236}">
                    <a16:creationId xmlns:a16="http://schemas.microsoft.com/office/drawing/2014/main" id="{AE20144A-797B-0C48-2113-F327DF6ACBEA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9" name="Google Shape;270;p26">
                <a:extLst>
                  <a:ext uri="{FF2B5EF4-FFF2-40B4-BE49-F238E27FC236}">
                    <a16:creationId xmlns:a16="http://schemas.microsoft.com/office/drawing/2014/main" id="{F94F6AE0-96B8-ED0A-9800-F26910D3F8F7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546098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1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8524111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72;p27">
            <a:extLst>
              <a:ext uri="{FF2B5EF4-FFF2-40B4-BE49-F238E27FC236}">
                <a16:creationId xmlns:a16="http://schemas.microsoft.com/office/drawing/2014/main" id="{E7A406BD-7850-8469-C41B-3DF4F6F3297E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273;p27">
            <a:extLst>
              <a:ext uri="{FF2B5EF4-FFF2-40B4-BE49-F238E27FC236}">
                <a16:creationId xmlns:a16="http://schemas.microsoft.com/office/drawing/2014/main" id="{D6FA6F3C-0F81-790E-3462-78AC75AC0EF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274;p27">
            <a:extLst>
              <a:ext uri="{FF2B5EF4-FFF2-40B4-BE49-F238E27FC236}">
                <a16:creationId xmlns:a16="http://schemas.microsoft.com/office/drawing/2014/main" id="{28B4DD54-BED5-FE98-C7EF-A0D0AD9CCCB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275;p27">
            <a:extLst>
              <a:ext uri="{FF2B5EF4-FFF2-40B4-BE49-F238E27FC236}">
                <a16:creationId xmlns:a16="http://schemas.microsoft.com/office/drawing/2014/main" id="{5C9067C4-86D1-3829-65D0-56A865F6209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004D462D-9CE9-460C-8FBD-8B6B47A7325A}" type="slidenum">
              <a:t>‹#›</a:t>
            </a:fld>
            <a:endParaRPr lang="en-US"/>
          </a:p>
        </p:txBody>
      </p:sp>
      <p:cxnSp>
        <p:nvCxnSpPr>
          <p:cNvPr id="6" name="Google Shape;276;p27">
            <a:extLst>
              <a:ext uri="{FF2B5EF4-FFF2-40B4-BE49-F238E27FC236}">
                <a16:creationId xmlns:a16="http://schemas.microsoft.com/office/drawing/2014/main" id="{561ABAD4-BED8-A46D-CD5B-69F7B914535D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277;p27">
            <a:extLst>
              <a:ext uri="{FF2B5EF4-FFF2-40B4-BE49-F238E27FC236}">
                <a16:creationId xmlns:a16="http://schemas.microsoft.com/office/drawing/2014/main" id="{8AAD3ABB-E296-40F3-EA5F-AE0BAC26B81C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278;p27">
            <a:extLst>
              <a:ext uri="{FF2B5EF4-FFF2-40B4-BE49-F238E27FC236}">
                <a16:creationId xmlns:a16="http://schemas.microsoft.com/office/drawing/2014/main" id="{3C812EA2-94F8-3227-4937-2584DCCB02F5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279;p27">
              <a:extLst>
                <a:ext uri="{FF2B5EF4-FFF2-40B4-BE49-F238E27FC236}">
                  <a16:creationId xmlns:a16="http://schemas.microsoft.com/office/drawing/2014/main" id="{BFDC4A39-31F0-D2B4-FCD1-D5CB9CC4FC6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280;p27">
              <a:extLst>
                <a:ext uri="{FF2B5EF4-FFF2-40B4-BE49-F238E27FC236}">
                  <a16:creationId xmlns:a16="http://schemas.microsoft.com/office/drawing/2014/main" id="{BAB14587-FB83-90F1-31C0-214F8EC39DD0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281;p27">
                <a:extLst>
                  <a:ext uri="{FF2B5EF4-FFF2-40B4-BE49-F238E27FC236}">
                    <a16:creationId xmlns:a16="http://schemas.microsoft.com/office/drawing/2014/main" id="{0BEF2977-84D7-79DC-C7C1-753FB5FF3FBF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282;p27">
                <a:extLst>
                  <a:ext uri="{FF2B5EF4-FFF2-40B4-BE49-F238E27FC236}">
                    <a16:creationId xmlns:a16="http://schemas.microsoft.com/office/drawing/2014/main" id="{0EB75E5C-6BD4-BC5B-2D5F-2EB15ECDEDA0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283;p27" descr="Open quotation mark with solid fill">
            <a:extLst>
              <a:ext uri="{FF2B5EF4-FFF2-40B4-BE49-F238E27FC236}">
                <a16:creationId xmlns:a16="http://schemas.microsoft.com/office/drawing/2014/main" id="{BAF63386-56D7-6ABE-8422-4725A056DFD2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669087323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69;p17">
            <a:extLst>
              <a:ext uri="{FF2B5EF4-FFF2-40B4-BE49-F238E27FC236}">
                <a16:creationId xmlns:a16="http://schemas.microsoft.com/office/drawing/2014/main" id="{95F7BC17-9ABE-B475-6304-4C580BC27E1A}"/>
              </a:ext>
            </a:extLst>
          </p:cNvPr>
          <p:cNvSpPr/>
          <p:nvPr/>
        </p:nvSpPr>
        <p:spPr>
          <a:xfrm>
            <a:off x="902366" y="1294415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70;p17">
            <a:extLst>
              <a:ext uri="{FF2B5EF4-FFF2-40B4-BE49-F238E27FC236}">
                <a16:creationId xmlns:a16="http://schemas.microsoft.com/office/drawing/2014/main" id="{D9D5B550-83FD-E24B-5097-AEECDEF129D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1561328"/>
            <a:ext cx="5194432" cy="1826340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71;p17">
            <a:extLst>
              <a:ext uri="{FF2B5EF4-FFF2-40B4-BE49-F238E27FC236}">
                <a16:creationId xmlns:a16="http://schemas.microsoft.com/office/drawing/2014/main" id="{100BD320-95F5-F653-0369-37DA28A48112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766861"/>
            <a:ext cx="5194432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173;p17">
            <a:extLst>
              <a:ext uri="{FF2B5EF4-FFF2-40B4-BE49-F238E27FC236}">
                <a16:creationId xmlns:a16="http://schemas.microsoft.com/office/drawing/2014/main" id="{4E5860EA-FBC2-D66B-B4BF-750401FC9F8F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6" name="Google Shape;174;p17">
              <a:extLst>
                <a:ext uri="{FF2B5EF4-FFF2-40B4-BE49-F238E27FC236}">
                  <a16:creationId xmlns:a16="http://schemas.microsoft.com/office/drawing/2014/main" id="{C2180788-E7D4-6884-675D-F72961502630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7" name="Google Shape;175;p17">
              <a:extLst>
                <a:ext uri="{FF2B5EF4-FFF2-40B4-BE49-F238E27FC236}">
                  <a16:creationId xmlns:a16="http://schemas.microsoft.com/office/drawing/2014/main" id="{FB1E7EE2-3CF1-F514-42A2-A3BEFC82345C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8" name="Google Shape;176;p17">
              <a:extLst>
                <a:ext uri="{FF2B5EF4-FFF2-40B4-BE49-F238E27FC236}">
                  <a16:creationId xmlns:a16="http://schemas.microsoft.com/office/drawing/2014/main" id="{70007F4B-88BF-802D-D8DC-F449C8FAD1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373420689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78;p18">
            <a:extLst>
              <a:ext uri="{FF2B5EF4-FFF2-40B4-BE49-F238E27FC236}">
                <a16:creationId xmlns:a16="http://schemas.microsoft.com/office/drawing/2014/main" id="{0DEDFD7D-0706-9FD0-46B9-C96A17CB7698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3" name="Google Shape;179;p18">
              <a:extLst>
                <a:ext uri="{FF2B5EF4-FFF2-40B4-BE49-F238E27FC236}">
                  <a16:creationId xmlns:a16="http://schemas.microsoft.com/office/drawing/2014/main" id="{9B06CBC8-F96F-C72C-95CB-9AA8A268EB3B}"/>
                </a:ext>
              </a:extLst>
            </p:cNvPr>
            <p:cNvSpPr/>
            <p:nvPr/>
          </p:nvSpPr>
          <p:spPr>
            <a:xfrm>
              <a:off x="0" y="5100267"/>
              <a:ext cx="7111371" cy="175773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111369"/>
                <a:gd name="f4" fmla="val 1757730"/>
                <a:gd name="f5" fmla="val 772954"/>
                <a:gd name="f6" fmla="val 2778"/>
                <a:gd name="f7" fmla="val 1769038"/>
                <a:gd name="f8" fmla="val 30799"/>
                <a:gd name="f9" fmla="val 2696750"/>
                <a:gd name="f10" fmla="val 267531"/>
                <a:gd name="f11" fmla="val 3590934"/>
                <a:gd name="f12" fmla="val 566046"/>
                <a:gd name="f13" fmla="val 4684008"/>
                <a:gd name="f14" fmla="val 930921"/>
                <a:gd name="f15" fmla="val 5690778"/>
                <a:gd name="f16" fmla="val 1324625"/>
                <a:gd name="f17" fmla="val 6700767"/>
                <a:gd name="f18" fmla="val 1636882"/>
                <a:gd name="f19" fmla="val 25690"/>
                <a:gd name="f20" fmla="val 2197"/>
                <a:gd name="f21" fmla="val 25414"/>
                <a:gd name="f22" fmla="val 114653"/>
                <a:gd name="f23" fmla="val 14905"/>
                <a:gd name="f24" fmla="val 227801"/>
                <a:gd name="f25" fmla="val 7857"/>
                <a:gd name="f26" fmla="val 341773"/>
                <a:gd name="f27" fmla="val 3976"/>
                <a:gd name="f28" fmla="val 486963"/>
                <a:gd name="f29" fmla="+- 0 0 968"/>
                <a:gd name="f30" fmla="val 630656"/>
                <a:gd name="f31" fmla="+- 0 0 1224"/>
                <a:gd name="f32" fmla="*/ f0 1 7111369"/>
                <a:gd name="f33" fmla="*/ f1 1 1757730"/>
                <a:gd name="f34" fmla="+- f4 0 f2"/>
                <a:gd name="f35" fmla="+- f3 0 f2"/>
                <a:gd name="f36" fmla="*/ f35 1 7111369"/>
                <a:gd name="f37" fmla="*/ f34 1 1757730"/>
                <a:gd name="f38" fmla="*/ f2 1 f36"/>
                <a:gd name="f39" fmla="*/ f3 1 f36"/>
                <a:gd name="f40" fmla="*/ f2 1 f37"/>
                <a:gd name="f41" fmla="*/ f4 1 f37"/>
                <a:gd name="f42" fmla="*/ f38 f32 1"/>
                <a:gd name="f43" fmla="*/ f39 f32 1"/>
                <a:gd name="f44" fmla="*/ f41 f33 1"/>
                <a:gd name="f45" fmla="*/ f40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2" t="f45" r="f43" b="f44"/>
              <a:pathLst>
                <a:path w="7111369" h="1757730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4"/>
                  </a:lnTo>
                  <a:lnTo>
                    <a:pt x="f2" y="f4"/>
                  </a:lnTo>
                  <a:lnTo>
                    <a:pt x="f2" y="f19"/>
                  </a:lnTo>
                  <a:lnTo>
                    <a:pt x="f20" y="f21"/>
                  </a:ln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5" y="f6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180;p18">
              <a:extLst>
                <a:ext uri="{FF2B5EF4-FFF2-40B4-BE49-F238E27FC236}">
                  <a16:creationId xmlns:a16="http://schemas.microsoft.com/office/drawing/2014/main" id="{56EC95B4-D15D-B604-C333-B08230ECC2A2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5" name="Google Shape;181;p18">
              <a:extLst>
                <a:ext uri="{FF2B5EF4-FFF2-40B4-BE49-F238E27FC236}">
                  <a16:creationId xmlns:a16="http://schemas.microsoft.com/office/drawing/2014/main" id="{D2EBA469-04A8-662B-19BD-D502503227F7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182;p18">
              <a:extLst>
                <a:ext uri="{FF2B5EF4-FFF2-40B4-BE49-F238E27FC236}">
                  <a16:creationId xmlns:a16="http://schemas.microsoft.com/office/drawing/2014/main" id="{0C21D7A6-770F-5F0C-6B8C-1741AAA8F23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7" name="Google Shape;183;p18">
            <a:extLst>
              <a:ext uri="{FF2B5EF4-FFF2-40B4-BE49-F238E27FC236}">
                <a16:creationId xmlns:a16="http://schemas.microsoft.com/office/drawing/2014/main" id="{2088B1A1-9AF1-04F7-3FFA-F746E3050C8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701747"/>
            <a:ext cx="9365376" cy="2014679"/>
          </a:xfrm>
        </p:spPr>
        <p:txBody>
          <a:bodyPr anchor="b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84;p18">
            <a:extLst>
              <a:ext uri="{FF2B5EF4-FFF2-40B4-BE49-F238E27FC236}">
                <a16:creationId xmlns:a16="http://schemas.microsoft.com/office/drawing/2014/main" id="{F0E8FE0A-48DF-DBC1-EA0D-1313A5A44C15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081637"/>
            <a:ext cx="9365376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180132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86;p19">
            <a:extLst>
              <a:ext uri="{FF2B5EF4-FFF2-40B4-BE49-F238E27FC236}">
                <a16:creationId xmlns:a16="http://schemas.microsoft.com/office/drawing/2014/main" id="{A1A34290-E781-B71F-E18F-87338A586E1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57200" y="1146255"/>
            <a:ext cx="2350172" cy="2971800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cxnSp>
        <p:nvCxnSpPr>
          <p:cNvPr id="3" name="Google Shape;187;p19">
            <a:extLst>
              <a:ext uri="{FF2B5EF4-FFF2-40B4-BE49-F238E27FC236}">
                <a16:creationId xmlns:a16="http://schemas.microsoft.com/office/drawing/2014/main" id="{8BDD3442-3EFB-4930-02AD-EBD27DE9C13E}"/>
              </a:ext>
            </a:extLst>
          </p:cNvPr>
          <p:cNvCxnSpPr/>
          <p:nvPr/>
        </p:nvCxnSpPr>
        <p:spPr>
          <a:xfrm>
            <a:off x="457200" y="947985"/>
            <a:ext cx="2350163" cy="0"/>
          </a:xfrm>
          <a:prstGeom prst="straightConnector1">
            <a:avLst/>
          </a:prstGeom>
          <a:noFill/>
          <a:ln w="31747" cap="flat">
            <a:solidFill>
              <a:srgbClr val="F58366"/>
            </a:solidFill>
            <a:prstDash val="solid"/>
            <a:miter/>
          </a:ln>
        </p:spPr>
      </p:cxnSp>
      <p:grpSp>
        <p:nvGrpSpPr>
          <p:cNvPr id="4" name="Google Shape;188;p19">
            <a:extLst>
              <a:ext uri="{FF2B5EF4-FFF2-40B4-BE49-F238E27FC236}">
                <a16:creationId xmlns:a16="http://schemas.microsoft.com/office/drawing/2014/main" id="{B267CF82-BD65-1E66-8991-8FE28D203188}"/>
              </a:ext>
            </a:extLst>
          </p:cNvPr>
          <p:cNvGrpSpPr/>
          <p:nvPr/>
        </p:nvGrpSpPr>
        <p:grpSpPr>
          <a:xfrm>
            <a:off x="0" y="5379424"/>
            <a:ext cx="2807363" cy="753895"/>
            <a:chOff x="0" y="5379424"/>
            <a:chExt cx="2807363" cy="753895"/>
          </a:xfrm>
        </p:grpSpPr>
        <p:sp>
          <p:nvSpPr>
            <p:cNvPr id="5" name="Google Shape;189;p19">
              <a:extLst>
                <a:ext uri="{FF2B5EF4-FFF2-40B4-BE49-F238E27FC236}">
                  <a16:creationId xmlns:a16="http://schemas.microsoft.com/office/drawing/2014/main" id="{F8419B7D-BF7C-B3A9-AB20-B3AEEE3A2F78}"/>
                </a:ext>
              </a:extLst>
            </p:cNvPr>
            <p:cNvSpPr/>
            <p:nvPr/>
          </p:nvSpPr>
          <p:spPr>
            <a:xfrm>
              <a:off x="0" y="5532513"/>
              <a:ext cx="2807363" cy="60080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00807"/>
                <a:gd name="f5" fmla="val 429971"/>
                <a:gd name="f6" fmla="val 123998"/>
                <a:gd name="f7" fmla="val 1184765"/>
                <a:gd name="f8" fmla="val 325331"/>
                <a:gd name="f9" fmla="val 2014184"/>
                <a:gd name="f10" fmla="val 392492"/>
                <a:gd name="f11" fmla="val 2790212"/>
                <a:gd name="f12" fmla="val 235402"/>
                <a:gd name="f13" fmla="val 231522"/>
                <a:gd name="f14" fmla="val 566106"/>
                <a:gd name="f15" fmla="val 2593885"/>
                <a:gd name="f16" fmla="val 587498"/>
                <a:gd name="f17" fmla="val 1673646"/>
                <a:gd name="f18" fmla="val 651184"/>
                <a:gd name="f19" fmla="val 884869"/>
                <a:gd name="f20" fmla="val 479260"/>
                <a:gd name="f21" fmla="val 100844"/>
                <a:gd name="f22" fmla="val 222653"/>
                <a:gd name="f23" fmla="val 188389"/>
                <a:gd name="f24" fmla="*/ f0 1 2807368"/>
                <a:gd name="f25" fmla="*/ f1 1 600807"/>
                <a:gd name="f26" fmla="+- f4 0 f2"/>
                <a:gd name="f27" fmla="+- f3 0 f2"/>
                <a:gd name="f28" fmla="*/ f27 1 2807368"/>
                <a:gd name="f29" fmla="*/ f26 1 600807"/>
                <a:gd name="f30" fmla="*/ f2 1 f28"/>
                <a:gd name="f31" fmla="*/ f3 1 f28"/>
                <a:gd name="f32" fmla="*/ f2 1 f29"/>
                <a:gd name="f33" fmla="*/ f4 1 f29"/>
                <a:gd name="f34" fmla="*/ f30 f24 1"/>
                <a:gd name="f35" fmla="*/ f31 f24 1"/>
                <a:gd name="f36" fmla="*/ f33 f25 1"/>
                <a:gd name="f37" fmla="*/ f32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37" r="f35" b="f36"/>
              <a:pathLst>
                <a:path w="2807368" h="600807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lnTo>
                    <a:pt x="f3" y="f13"/>
                  </a:lnTo>
                  <a:lnTo>
                    <a:pt x="f3" y="f14"/>
                  </a:lnTo>
                  <a:lnTo>
                    <a:pt x="f15" y="f16"/>
                  </a:lnTo>
                  <a:cubicBezTo>
                    <a:pt x="f17" y="f18"/>
                    <a:pt x="f19" y="f20"/>
                    <a:pt x="f21" y="f22"/>
                  </a:cubicBezTo>
                  <a:lnTo>
                    <a:pt x="f2" y="f23"/>
                  </a:ln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6" name="Google Shape;190;p19">
              <a:extLst>
                <a:ext uri="{FF2B5EF4-FFF2-40B4-BE49-F238E27FC236}">
                  <a16:creationId xmlns:a16="http://schemas.microsoft.com/office/drawing/2014/main" id="{34A88BB8-2CF6-B1EF-CB64-B8C6D3A35E9E}"/>
                </a:ext>
              </a:extLst>
            </p:cNvPr>
            <p:cNvSpPr/>
            <p:nvPr/>
          </p:nvSpPr>
          <p:spPr>
            <a:xfrm>
              <a:off x="0" y="5379424"/>
              <a:ext cx="2807363" cy="64980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49803"/>
                <a:gd name="f5" fmla="val 282676"/>
                <a:gd name="f6" fmla="val 70799"/>
                <a:gd name="f7" fmla="val 435964"/>
                <a:gd name="f8" fmla="val 106085"/>
                <a:gd name="f9" fmla="val 588770"/>
                <a:gd name="f10" fmla="val 137629"/>
                <a:gd name="f11" fmla="val 740881"/>
                <a:gd name="f12" fmla="val 163828"/>
                <a:gd name="f13" fmla="val 1362800"/>
                <a:gd name="f14" fmla="val 270912"/>
                <a:gd name="f15" fmla="val 2067879"/>
                <a:gd name="f16" fmla="val 253759"/>
                <a:gd name="f17" fmla="val 2706471"/>
                <a:gd name="f18" fmla="val 96397"/>
                <a:gd name="f19" fmla="val 67250"/>
                <a:gd name="f20" fmla="val 605551"/>
                <a:gd name="f21" fmla="val 2602685"/>
                <a:gd name="f22" fmla="val 629466"/>
                <a:gd name="f23" fmla="val 1684237"/>
                <a:gd name="f24" fmla="val 708219"/>
                <a:gd name="f25" fmla="val 893252"/>
                <a:gd name="f26" fmla="val 549395"/>
                <a:gd name="f27" fmla="val 105614"/>
                <a:gd name="f28" fmla="val 305882"/>
                <a:gd name="f29" fmla="val 271926"/>
                <a:gd name="f30" fmla="*/ f0 1 2807368"/>
                <a:gd name="f31" fmla="*/ f1 1 649803"/>
                <a:gd name="f32" fmla="+- f4 0 f2"/>
                <a:gd name="f33" fmla="+- f3 0 f2"/>
                <a:gd name="f34" fmla="*/ f33 1 2807368"/>
                <a:gd name="f35" fmla="*/ f32 1 649803"/>
                <a:gd name="f36" fmla="*/ f2 1 f34"/>
                <a:gd name="f37" fmla="*/ f3 1 f34"/>
                <a:gd name="f38" fmla="*/ f2 1 f35"/>
                <a:gd name="f39" fmla="*/ f4 1 f35"/>
                <a:gd name="f40" fmla="*/ f36 f30 1"/>
                <a:gd name="f41" fmla="*/ f37 f30 1"/>
                <a:gd name="f42" fmla="*/ f39 f31 1"/>
                <a:gd name="f43" fmla="*/ f3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2807368" h="649803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19"/>
                  </a:lnTo>
                  <a:lnTo>
                    <a:pt x="f3" y="f20"/>
                  </a:lnTo>
                  <a:lnTo>
                    <a:pt x="f21" y="f22"/>
                  </a:lnTo>
                  <a:cubicBezTo>
                    <a:pt x="f23" y="f24"/>
                    <a:pt x="f25" y="f26"/>
                    <a:pt x="f27" y="f28"/>
                  </a:cubicBezTo>
                  <a:lnTo>
                    <a:pt x="f2" y="f29"/>
                  </a:ln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pic>
        <p:nvPicPr>
          <p:cNvPr id="7" name="Google Shape;192;p19">
            <a:extLst>
              <a:ext uri="{FF2B5EF4-FFF2-40B4-BE49-F238E27FC236}">
                <a16:creationId xmlns:a16="http://schemas.microsoft.com/office/drawing/2014/main" id="{216F796C-0D22-3A50-8106-8D9B6619E95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513344" y="4385535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258338654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94;p20">
            <a:extLst>
              <a:ext uri="{FF2B5EF4-FFF2-40B4-BE49-F238E27FC236}">
                <a16:creationId xmlns:a16="http://schemas.microsoft.com/office/drawing/2014/main" id="{4645FE49-806E-575D-774E-A2267570D223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95;p20">
            <a:extLst>
              <a:ext uri="{FF2B5EF4-FFF2-40B4-BE49-F238E27FC236}">
                <a16:creationId xmlns:a16="http://schemas.microsoft.com/office/drawing/2014/main" id="{19BA7112-5C93-4008-F880-33DEB0680DE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96;p20">
            <a:extLst>
              <a:ext uri="{FF2B5EF4-FFF2-40B4-BE49-F238E27FC236}">
                <a16:creationId xmlns:a16="http://schemas.microsoft.com/office/drawing/2014/main" id="{8BFE2CC6-F4DD-C406-0A3B-3D07A26E853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97;p20">
            <a:extLst>
              <a:ext uri="{FF2B5EF4-FFF2-40B4-BE49-F238E27FC236}">
                <a16:creationId xmlns:a16="http://schemas.microsoft.com/office/drawing/2014/main" id="{D9CAA396-465C-7A30-375A-2120590777CC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B5873FC7-B069-4E75-8584-7CC4824A37F1}" type="slidenum">
              <a:t>‹#›</a:t>
            </a:fld>
            <a:endParaRPr lang="en-US"/>
          </a:p>
        </p:txBody>
      </p:sp>
      <p:cxnSp>
        <p:nvCxnSpPr>
          <p:cNvPr id="6" name="Google Shape;198;p20">
            <a:extLst>
              <a:ext uri="{FF2B5EF4-FFF2-40B4-BE49-F238E27FC236}">
                <a16:creationId xmlns:a16="http://schemas.microsoft.com/office/drawing/2014/main" id="{A1C7D47B-3117-91E6-9385-361D5286F873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99;p20">
            <a:extLst>
              <a:ext uri="{FF2B5EF4-FFF2-40B4-BE49-F238E27FC236}">
                <a16:creationId xmlns:a16="http://schemas.microsoft.com/office/drawing/2014/main" id="{72927672-8C6C-8128-D484-F56EB39C1087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200;p20">
            <a:extLst>
              <a:ext uri="{FF2B5EF4-FFF2-40B4-BE49-F238E27FC236}">
                <a16:creationId xmlns:a16="http://schemas.microsoft.com/office/drawing/2014/main" id="{89F406A1-418C-E063-59CE-A4DF4B2769F4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201;p20">
              <a:extLst>
                <a:ext uri="{FF2B5EF4-FFF2-40B4-BE49-F238E27FC236}">
                  <a16:creationId xmlns:a16="http://schemas.microsoft.com/office/drawing/2014/main" id="{EFD82637-27A5-9D45-84CB-EF647E5610B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202;p20">
              <a:extLst>
                <a:ext uri="{FF2B5EF4-FFF2-40B4-BE49-F238E27FC236}">
                  <a16:creationId xmlns:a16="http://schemas.microsoft.com/office/drawing/2014/main" id="{A97BE68F-33D7-A858-1403-D70DCA954081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203;p20">
                <a:extLst>
                  <a:ext uri="{FF2B5EF4-FFF2-40B4-BE49-F238E27FC236}">
                    <a16:creationId xmlns:a16="http://schemas.microsoft.com/office/drawing/2014/main" id="{A5F4AF07-3C56-2B10-50DE-B8CF86CB1C12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204;p20">
                <a:extLst>
                  <a:ext uri="{FF2B5EF4-FFF2-40B4-BE49-F238E27FC236}">
                    <a16:creationId xmlns:a16="http://schemas.microsoft.com/office/drawing/2014/main" id="{962709F6-D3F3-3129-CC22-7DE69138ACB2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205;p20" descr="Open quotation mark with solid fill">
            <a:extLst>
              <a:ext uri="{FF2B5EF4-FFF2-40B4-BE49-F238E27FC236}">
                <a16:creationId xmlns:a16="http://schemas.microsoft.com/office/drawing/2014/main" id="{36BCFAF2-A521-7C2D-FFD1-84BF596E2CD6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814693954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207;p21">
            <a:extLst>
              <a:ext uri="{FF2B5EF4-FFF2-40B4-BE49-F238E27FC236}">
                <a16:creationId xmlns:a16="http://schemas.microsoft.com/office/drawing/2014/main" id="{1526388E-436A-711F-B151-9177205652A1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208;p21">
              <a:extLst>
                <a:ext uri="{FF2B5EF4-FFF2-40B4-BE49-F238E27FC236}">
                  <a16:creationId xmlns:a16="http://schemas.microsoft.com/office/drawing/2014/main" id="{36083027-55E5-3D96-BC59-3E3787DD6F4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209;p21">
              <a:extLst>
                <a:ext uri="{FF2B5EF4-FFF2-40B4-BE49-F238E27FC236}">
                  <a16:creationId xmlns:a16="http://schemas.microsoft.com/office/drawing/2014/main" id="{F6FDED13-2DF9-C543-C05C-EDF60AA394F6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210;p21">
                <a:extLst>
                  <a:ext uri="{FF2B5EF4-FFF2-40B4-BE49-F238E27FC236}">
                    <a16:creationId xmlns:a16="http://schemas.microsoft.com/office/drawing/2014/main" id="{13CAFECD-85C5-05F4-D525-5CE95F5B3D0C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211;p21">
                <a:extLst>
                  <a:ext uri="{FF2B5EF4-FFF2-40B4-BE49-F238E27FC236}">
                    <a16:creationId xmlns:a16="http://schemas.microsoft.com/office/drawing/2014/main" id="{2E5D5BB2-4625-357F-68CE-1AD0F92264B6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212;p21">
            <a:extLst>
              <a:ext uri="{FF2B5EF4-FFF2-40B4-BE49-F238E27FC236}">
                <a16:creationId xmlns:a16="http://schemas.microsoft.com/office/drawing/2014/main" id="{33649CA9-78AE-A71F-5686-55F9412828D1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213;p21">
            <a:extLst>
              <a:ext uri="{FF2B5EF4-FFF2-40B4-BE49-F238E27FC236}">
                <a16:creationId xmlns:a16="http://schemas.microsoft.com/office/drawing/2014/main" id="{2A9E61D7-B542-F238-35AC-459341DBFFF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/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9" name="Google Shape;214;p21">
            <a:extLst>
              <a:ext uri="{FF2B5EF4-FFF2-40B4-BE49-F238E27FC236}">
                <a16:creationId xmlns:a16="http://schemas.microsoft.com/office/drawing/2014/main" id="{0D575606-4CD0-C098-B90B-0D83D3027EA3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C30249F1-4D81-480A-95D1-7DFB52AEE99B}" type="slidenum">
              <a:t>‹#›</a:t>
            </a:fld>
            <a:endParaRPr lang="en-US"/>
          </a:p>
        </p:txBody>
      </p:sp>
      <p:cxnSp>
        <p:nvCxnSpPr>
          <p:cNvPr id="10" name="Google Shape;215;p21">
            <a:extLst>
              <a:ext uri="{FF2B5EF4-FFF2-40B4-BE49-F238E27FC236}">
                <a16:creationId xmlns:a16="http://schemas.microsoft.com/office/drawing/2014/main" id="{9266A975-F776-75C1-FF59-9BC0917C83A7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1" name="Google Shape;216;p21">
            <a:extLst>
              <a:ext uri="{FF2B5EF4-FFF2-40B4-BE49-F238E27FC236}">
                <a16:creationId xmlns:a16="http://schemas.microsoft.com/office/drawing/2014/main" id="{200BBAF5-21E7-3974-BE47-9F482802F315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134116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18;p22">
            <a:extLst>
              <a:ext uri="{FF2B5EF4-FFF2-40B4-BE49-F238E27FC236}">
                <a16:creationId xmlns:a16="http://schemas.microsoft.com/office/drawing/2014/main" id="{A9CA8D8B-41E7-8509-D765-BE5214C46137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3" name="Google Shape;219;p22">
            <a:extLst>
              <a:ext uri="{FF2B5EF4-FFF2-40B4-BE49-F238E27FC236}">
                <a16:creationId xmlns:a16="http://schemas.microsoft.com/office/drawing/2014/main" id="{83B385DE-44A0-E88E-1301-D26CE7B0CC8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grpSp>
        <p:nvGrpSpPr>
          <p:cNvPr id="4" name="Google Shape;220;p22">
            <a:extLst>
              <a:ext uri="{FF2B5EF4-FFF2-40B4-BE49-F238E27FC236}">
                <a16:creationId xmlns:a16="http://schemas.microsoft.com/office/drawing/2014/main" id="{DA21C359-6881-E2E3-5A19-3A10101907FC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5" name="Google Shape;221;p22">
              <a:extLst>
                <a:ext uri="{FF2B5EF4-FFF2-40B4-BE49-F238E27FC236}">
                  <a16:creationId xmlns:a16="http://schemas.microsoft.com/office/drawing/2014/main" id="{A226289D-E40A-933E-E4D2-2D35E802666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6" name="Google Shape;222;p22">
              <a:extLst>
                <a:ext uri="{FF2B5EF4-FFF2-40B4-BE49-F238E27FC236}">
                  <a16:creationId xmlns:a16="http://schemas.microsoft.com/office/drawing/2014/main" id="{3C57DA86-B4D8-AAAA-1314-3349B715AF35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7" name="Google Shape;223;p22">
                <a:extLst>
                  <a:ext uri="{FF2B5EF4-FFF2-40B4-BE49-F238E27FC236}">
                    <a16:creationId xmlns:a16="http://schemas.microsoft.com/office/drawing/2014/main" id="{23B9326F-256C-BA00-5483-9D6DCD4B79C3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8" name="Google Shape;224;p22">
                <a:extLst>
                  <a:ext uri="{FF2B5EF4-FFF2-40B4-BE49-F238E27FC236}">
                    <a16:creationId xmlns:a16="http://schemas.microsoft.com/office/drawing/2014/main" id="{8C183E9F-DEAF-C628-E180-B2028CF7CCB8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9" name="Google Shape;225;p22">
            <a:extLst>
              <a:ext uri="{FF2B5EF4-FFF2-40B4-BE49-F238E27FC236}">
                <a16:creationId xmlns:a16="http://schemas.microsoft.com/office/drawing/2014/main" id="{745CBB15-C000-E0BF-7BEF-D0CC8CE53A4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Google Shape;226;p22">
            <a:extLst>
              <a:ext uri="{FF2B5EF4-FFF2-40B4-BE49-F238E27FC236}">
                <a16:creationId xmlns:a16="http://schemas.microsoft.com/office/drawing/2014/main" id="{1B94741A-3D33-1685-110F-2BB9DE37EC8D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8839193" y="6356351"/>
            <a:ext cx="2743200" cy="365129"/>
          </a:xfrm>
        </p:spPr>
        <p:txBody>
          <a:bodyPr/>
          <a:lstStyle>
            <a:lvl1pPr>
              <a:defRPr/>
            </a:lvl1pPr>
          </a:lstStyle>
          <a:p>
            <a:pPr lvl="0"/>
            <a:fld id="{36297077-B3C7-44BB-94EF-9ADF004524B4}" type="slidenum">
              <a:t>‹#›</a:t>
            </a:fld>
            <a:endParaRPr lang="en-US"/>
          </a:p>
        </p:txBody>
      </p:sp>
      <p:cxnSp>
        <p:nvCxnSpPr>
          <p:cNvPr id="11" name="Google Shape;227;p22">
            <a:extLst>
              <a:ext uri="{FF2B5EF4-FFF2-40B4-BE49-F238E27FC236}">
                <a16:creationId xmlns:a16="http://schemas.microsoft.com/office/drawing/2014/main" id="{9D656EE0-3624-8800-9F6C-E1D76B4BC7CF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2" name="Google Shape;228;p22">
            <a:extLst>
              <a:ext uri="{FF2B5EF4-FFF2-40B4-BE49-F238E27FC236}">
                <a16:creationId xmlns:a16="http://schemas.microsoft.com/office/drawing/2014/main" id="{D4F55DE9-72D7-7E75-D4B5-A7BA244BCCE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777493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TWO_OBJECTS_WITH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230;p23">
            <a:extLst>
              <a:ext uri="{FF2B5EF4-FFF2-40B4-BE49-F238E27FC236}">
                <a16:creationId xmlns:a16="http://schemas.microsoft.com/office/drawing/2014/main" id="{D4E20134-BCDA-3C3F-0C24-2A91DFB92D05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231;p23">
              <a:extLst>
                <a:ext uri="{FF2B5EF4-FFF2-40B4-BE49-F238E27FC236}">
                  <a16:creationId xmlns:a16="http://schemas.microsoft.com/office/drawing/2014/main" id="{9F57E70E-97B7-15BA-B1A3-B399999BFE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232;p23">
              <a:extLst>
                <a:ext uri="{FF2B5EF4-FFF2-40B4-BE49-F238E27FC236}">
                  <a16:creationId xmlns:a16="http://schemas.microsoft.com/office/drawing/2014/main" id="{05D6C852-F9E8-B405-E756-F6E91171F9F2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233;p23">
                <a:extLst>
                  <a:ext uri="{FF2B5EF4-FFF2-40B4-BE49-F238E27FC236}">
                    <a16:creationId xmlns:a16="http://schemas.microsoft.com/office/drawing/2014/main" id="{8A6569B8-8DC1-9F54-C718-3E2E4CFABCB7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234;p23">
                <a:extLst>
                  <a:ext uri="{FF2B5EF4-FFF2-40B4-BE49-F238E27FC236}">
                    <a16:creationId xmlns:a16="http://schemas.microsoft.com/office/drawing/2014/main" id="{ED596EED-50BE-D775-35E5-64FE30082ED1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235;p23">
            <a:extLst>
              <a:ext uri="{FF2B5EF4-FFF2-40B4-BE49-F238E27FC236}">
                <a16:creationId xmlns:a16="http://schemas.microsoft.com/office/drawing/2014/main" id="{E32AC28E-E09B-19E8-ACCD-62E875046271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236;p23">
            <a:extLst>
              <a:ext uri="{FF2B5EF4-FFF2-40B4-BE49-F238E27FC236}">
                <a16:creationId xmlns:a16="http://schemas.microsoft.com/office/drawing/2014/main" id="{E7C57A8F-B820-CE2A-094B-DE00BFDB672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09603" y="1681160"/>
            <a:ext cx="538797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9" name="Google Shape;237;p23">
            <a:extLst>
              <a:ext uri="{FF2B5EF4-FFF2-40B4-BE49-F238E27FC236}">
                <a16:creationId xmlns:a16="http://schemas.microsoft.com/office/drawing/2014/main" id="{560B47DB-5E96-127B-E15F-E894EF9C1F63}"/>
              </a:ext>
            </a:extLst>
          </p:cNvPr>
          <p:cNvSpPr txBox="1">
            <a:spLocks noGrp="1"/>
          </p:cNvSpPr>
          <p:nvPr>
            <p:ph type="body" idx="3"/>
          </p:nvPr>
        </p:nvSpPr>
        <p:spPr>
          <a:xfrm>
            <a:off x="609603" y="2505071"/>
            <a:ext cx="5387973" cy="3684583"/>
          </a:xfrm>
          <a:solidFill>
            <a:srgbClr val="F3F6FB"/>
          </a:solidFill>
        </p:spPr>
        <p:txBody>
          <a:bodyPr lIns="182870" tIns="0" rIns="182870" bIns="0">
            <a:normAutofit/>
          </a:bodyPr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0" name="Google Shape;238;p23">
            <a:extLst>
              <a:ext uri="{FF2B5EF4-FFF2-40B4-BE49-F238E27FC236}">
                <a16:creationId xmlns:a16="http://schemas.microsoft.com/office/drawing/2014/main" id="{30B51DAD-8876-8C76-57AB-D9E1BCF2285E}"/>
              </a:ext>
            </a:extLst>
          </p:cNvPr>
          <p:cNvSpPr txBox="1">
            <a:spLocks noGrp="1"/>
          </p:cNvSpPr>
          <p:nvPr>
            <p:ph idx="2"/>
          </p:nvPr>
        </p:nvSpPr>
        <p:spPr>
          <a:xfrm>
            <a:off x="6172200" y="1681160"/>
            <a:ext cx="541020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11" name="Google Shape;239;p23">
            <a:extLst>
              <a:ext uri="{FF2B5EF4-FFF2-40B4-BE49-F238E27FC236}">
                <a16:creationId xmlns:a16="http://schemas.microsoft.com/office/drawing/2014/main" id="{7B275BE6-2ABC-84C9-7842-5161A5E7C7C6}"/>
              </a:ext>
            </a:extLst>
          </p:cNvPr>
          <p:cNvSpPr txBox="1">
            <a:spLocks noGrp="1"/>
          </p:cNvSpPr>
          <p:nvPr>
            <p:ph idx="4"/>
          </p:nvPr>
        </p:nvSpPr>
        <p:spPr>
          <a:xfrm>
            <a:off x="6172200" y="2505071"/>
            <a:ext cx="5410203" cy="3684583"/>
          </a:xfrm>
          <a:solidFill>
            <a:srgbClr val="F3F6FB"/>
          </a:solidFill>
        </p:spPr>
        <p:txBody>
          <a:bodyPr lIns="182870" tIns="0" rIns="182870" bIns="0"/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2" name="Google Shape;240;p23">
            <a:extLst>
              <a:ext uri="{FF2B5EF4-FFF2-40B4-BE49-F238E27FC236}">
                <a16:creationId xmlns:a16="http://schemas.microsoft.com/office/drawing/2014/main" id="{FCC36427-E0D9-FC9B-796C-633CE98F413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96BD9D3D-B1A1-4BA0-AC68-46AEB0E1CC33}" type="slidenum">
              <a:t>‹#›</a:t>
            </a:fld>
            <a:endParaRPr lang="en-US"/>
          </a:p>
        </p:txBody>
      </p:sp>
      <p:cxnSp>
        <p:nvCxnSpPr>
          <p:cNvPr id="13" name="Google Shape;241;p23">
            <a:extLst>
              <a:ext uri="{FF2B5EF4-FFF2-40B4-BE49-F238E27FC236}">
                <a16:creationId xmlns:a16="http://schemas.microsoft.com/office/drawing/2014/main" id="{D4467CF8-70D4-19FC-9CA5-5FFC74001E95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4" name="Google Shape;242;p23">
            <a:extLst>
              <a:ext uri="{FF2B5EF4-FFF2-40B4-BE49-F238E27FC236}">
                <a16:creationId xmlns:a16="http://schemas.microsoft.com/office/drawing/2014/main" id="{E57FA111-379D-A794-6CF4-B75BA71504A5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722575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244;p24">
            <a:extLst>
              <a:ext uri="{FF2B5EF4-FFF2-40B4-BE49-F238E27FC236}">
                <a16:creationId xmlns:a16="http://schemas.microsoft.com/office/drawing/2014/main" id="{DB9FB74F-2415-FB35-9D36-05B7C4B2FEC0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245;p24">
              <a:extLst>
                <a:ext uri="{FF2B5EF4-FFF2-40B4-BE49-F238E27FC236}">
                  <a16:creationId xmlns:a16="http://schemas.microsoft.com/office/drawing/2014/main" id="{529778E9-7735-8F65-D833-2103FE20077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246;p24">
              <a:extLst>
                <a:ext uri="{FF2B5EF4-FFF2-40B4-BE49-F238E27FC236}">
                  <a16:creationId xmlns:a16="http://schemas.microsoft.com/office/drawing/2014/main" id="{058396A1-6D03-B0E5-36F9-3C4D6B7D4EF4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247;p24">
                <a:extLst>
                  <a:ext uri="{FF2B5EF4-FFF2-40B4-BE49-F238E27FC236}">
                    <a16:creationId xmlns:a16="http://schemas.microsoft.com/office/drawing/2014/main" id="{AE2FB6C1-E102-7E50-B4FA-14CF9E28E49A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248;p24">
                <a:extLst>
                  <a:ext uri="{FF2B5EF4-FFF2-40B4-BE49-F238E27FC236}">
                    <a16:creationId xmlns:a16="http://schemas.microsoft.com/office/drawing/2014/main" id="{3F629D5C-DF04-8A52-0501-CE8144A6907B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249;p24">
            <a:extLst>
              <a:ext uri="{FF2B5EF4-FFF2-40B4-BE49-F238E27FC236}">
                <a16:creationId xmlns:a16="http://schemas.microsoft.com/office/drawing/2014/main" id="{857E9145-163D-2BF6-E336-66326EFABF0D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250;p24">
            <a:extLst>
              <a:ext uri="{FF2B5EF4-FFF2-40B4-BE49-F238E27FC236}">
                <a16:creationId xmlns:a16="http://schemas.microsoft.com/office/drawing/2014/main" id="{95FA9C47-1F19-F5C3-DE12-54EF1B9E299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D43187BC-D5F0-4C7B-915A-2B07DCFE4DE0}" type="slidenum">
              <a:t>‹#›</a:t>
            </a:fld>
            <a:endParaRPr lang="en-US"/>
          </a:p>
        </p:txBody>
      </p:sp>
      <p:cxnSp>
        <p:nvCxnSpPr>
          <p:cNvPr id="9" name="Google Shape;251;p24">
            <a:extLst>
              <a:ext uri="{FF2B5EF4-FFF2-40B4-BE49-F238E27FC236}">
                <a16:creationId xmlns:a16="http://schemas.microsoft.com/office/drawing/2014/main" id="{9C5BE6B6-D518-6F3E-9CD1-0D03BAEBD071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0" name="Google Shape;252;p24">
            <a:extLst>
              <a:ext uri="{FF2B5EF4-FFF2-40B4-BE49-F238E27FC236}">
                <a16:creationId xmlns:a16="http://schemas.microsoft.com/office/drawing/2014/main" id="{995E1F2D-28CD-60D9-D6A9-975D8F216E2C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77258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254;p25">
            <a:extLst>
              <a:ext uri="{FF2B5EF4-FFF2-40B4-BE49-F238E27FC236}">
                <a16:creationId xmlns:a16="http://schemas.microsoft.com/office/drawing/2014/main" id="{C919ED46-8338-2441-DF44-0EAD37EFE435}"/>
              </a:ext>
            </a:extLst>
          </p:cNvPr>
          <p:cNvGrpSpPr/>
          <p:nvPr/>
        </p:nvGrpSpPr>
        <p:grpSpPr>
          <a:xfrm>
            <a:off x="0" y="0"/>
            <a:ext cx="12191996" cy="2148830"/>
            <a:chOff x="0" y="0"/>
            <a:chExt cx="12191996" cy="2148830"/>
          </a:xfrm>
        </p:grpSpPr>
        <p:sp>
          <p:nvSpPr>
            <p:cNvPr id="3" name="Google Shape;255;p25">
              <a:extLst>
                <a:ext uri="{FF2B5EF4-FFF2-40B4-BE49-F238E27FC236}">
                  <a16:creationId xmlns:a16="http://schemas.microsoft.com/office/drawing/2014/main" id="{BF099710-707A-E782-FC03-422FC421C8FE}"/>
                </a:ext>
              </a:extLst>
            </p:cNvPr>
            <p:cNvSpPr/>
            <p:nvPr/>
          </p:nvSpPr>
          <p:spPr>
            <a:xfrm flipH="1">
              <a:off x="0" y="0"/>
              <a:ext cx="12191996" cy="214883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2148830"/>
                <a:gd name="f5" fmla="val 2318293"/>
                <a:gd name="f6" fmla="val 2110341"/>
                <a:gd name="f7" fmla="val 1952334"/>
                <a:gd name="f8" fmla="val 920"/>
                <a:gd name="f9" fmla="val 1343499"/>
                <a:gd name="f10" fmla="val 23864"/>
                <a:gd name="f11" fmla="val 752130"/>
                <a:gd name="f12" fmla="val 152982"/>
                <a:gd name="f13" fmla="val 184205"/>
                <a:gd name="f14" fmla="val 435928"/>
                <a:gd name="f15" fmla="val 536864"/>
                <a:gd name="f16" fmla="val 554713"/>
                <a:gd name="f17" fmla="val 201115"/>
                <a:gd name="f18" fmla="val 452796"/>
                <a:gd name="f19" fmla="val 776357"/>
                <a:gd name="f20" fmla="val 187336"/>
                <a:gd name="f21" fmla="val 1349828"/>
                <a:gd name="f22" fmla="val 76760"/>
                <a:gd name="f23" fmla="val 1947588"/>
                <a:gd name="f24" fmla="val 66249"/>
                <a:gd name="f25" fmla="val 2962940"/>
                <a:gd name="f26" fmla="val 48421"/>
                <a:gd name="f27" fmla="val 3890218"/>
                <a:gd name="f28" fmla="val 291317"/>
                <a:gd name="f29" fmla="val 4778140"/>
                <a:gd name="f30" fmla="val 604018"/>
                <a:gd name="f31" fmla="val 7231510"/>
                <a:gd name="f32" fmla="val 1468126"/>
                <a:gd name="f33" fmla="val 9178927"/>
                <a:gd name="f34" fmla="val 2492024"/>
                <a:gd name="f35" fmla="val 11996242"/>
                <a:gd name="f36" fmla="val 2036894"/>
                <a:gd name="f37" fmla="val 2002266"/>
                <a:gd name="f38" fmla="val 1415250"/>
                <a:gd name="f39" fmla="val 12022971"/>
                <a:gd name="f40" fmla="val 1470801"/>
                <a:gd name="f41" fmla="val 10719696"/>
                <a:gd name="f42" fmla="val 1863939"/>
                <a:gd name="f43" fmla="val 9271154"/>
                <a:gd name="f44" fmla="val 1783804"/>
                <a:gd name="f45" fmla="val 7970940"/>
                <a:gd name="f46" fmla="val 1436986"/>
                <a:gd name="f47" fmla="val 6890984"/>
                <a:gd name="f48" fmla="val 1148958"/>
                <a:gd name="f49" fmla="val 5866930"/>
                <a:gd name="f50" fmla="val 767309"/>
                <a:gd name="f51" fmla="val 4800356"/>
                <a:gd name="f52" fmla="val 456582"/>
                <a:gd name="f53" fmla="val 4068903"/>
                <a:gd name="f54" fmla="val 243471"/>
                <a:gd name="f55" fmla="val 3348204"/>
                <a:gd name="f56" fmla="val 74251"/>
                <a:gd name="f57" fmla="val 2646880"/>
                <a:gd name="f58" fmla="val 17560"/>
                <a:gd name="f59" fmla="*/ f0 1 12192000"/>
                <a:gd name="f60" fmla="*/ f1 1 2148830"/>
                <a:gd name="f61" fmla="+- f4 0 f2"/>
                <a:gd name="f62" fmla="+- f3 0 f2"/>
                <a:gd name="f63" fmla="*/ f62 1 12192000"/>
                <a:gd name="f64" fmla="*/ f61 1 2148830"/>
                <a:gd name="f65" fmla="*/ f2 1 f63"/>
                <a:gd name="f66" fmla="*/ f3 1 f63"/>
                <a:gd name="f67" fmla="*/ f2 1 f64"/>
                <a:gd name="f68" fmla="*/ f4 1 f64"/>
                <a:gd name="f69" fmla="*/ f65 f59 1"/>
                <a:gd name="f70" fmla="*/ f66 f59 1"/>
                <a:gd name="f71" fmla="*/ f68 f60 1"/>
                <a:gd name="f72" fmla="*/ f67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9" t="f72" r="f70" b="f71"/>
              <a:pathLst>
                <a:path w="12192000" h="2148830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256;p25">
              <a:extLst>
                <a:ext uri="{FF2B5EF4-FFF2-40B4-BE49-F238E27FC236}">
                  <a16:creationId xmlns:a16="http://schemas.microsoft.com/office/drawing/2014/main" id="{4B3106E8-AB53-A73F-025D-38F1A2873FF2}"/>
                </a:ext>
              </a:extLst>
            </p:cNvPr>
            <p:cNvSpPr/>
            <p:nvPr/>
          </p:nvSpPr>
          <p:spPr>
            <a:xfrm flipH="1">
              <a:off x="0" y="0"/>
              <a:ext cx="12191996" cy="19921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992138"/>
                <a:gd name="f5" fmla="val 2724271"/>
                <a:gd name="f6" fmla="val 1788442"/>
                <a:gd name="f7" fmla="val 1635403"/>
                <a:gd name="f8" fmla="val 12925"/>
                <a:gd name="f9" fmla="val 1134241"/>
                <a:gd name="f10" fmla="val 70905"/>
                <a:gd name="f11" fmla="val 647221"/>
                <a:gd name="f12" fmla="val 207817"/>
                <a:gd name="f13" fmla="val 178220"/>
                <a:gd name="f14" fmla="val 451207"/>
                <a:gd name="f15" fmla="val 552718"/>
                <a:gd name="f16" fmla="val 570885"/>
                <a:gd name="f17" fmla="val 195368"/>
                <a:gd name="f18" fmla="val 467800"/>
                <a:gd name="f19" fmla="val 765758"/>
                <a:gd name="f20" fmla="val 193094"/>
                <a:gd name="f21" fmla="val 1336955"/>
                <a:gd name="f22" fmla="val 73179"/>
                <a:gd name="f23" fmla="val 1934073"/>
                <a:gd name="f24" fmla="val 52850"/>
                <a:gd name="f25" fmla="val 2948304"/>
                <a:gd name="f26" fmla="val 18310"/>
                <a:gd name="f27" fmla="val 3878878"/>
                <a:gd name="f28" fmla="val 245747"/>
                <a:gd name="f29" fmla="val 4771217"/>
                <a:gd name="f30" fmla="val 543645"/>
                <a:gd name="f31" fmla="val 7236913"/>
                <a:gd name="f32" fmla="val 1366709"/>
                <a:gd name="f33" fmla="val 9199689"/>
                <a:gd name="f34" fmla="val 2357774"/>
                <a:gd name="f35" fmla="val 12007222"/>
                <a:gd name="f36" fmla="val 1856729"/>
                <a:gd name="f37" fmla="val 1820900"/>
                <a:gd name="f38" fmla="val 897073"/>
                <a:gd name="f39" fmla="val 12062517"/>
                <a:gd name="f40" fmla="val 950128"/>
                <a:gd name="f41" fmla="val 10950292"/>
                <a:gd name="f42" fmla="val 1376478"/>
                <a:gd name="f43" fmla="val 9595706"/>
                <a:gd name="f44" fmla="val 1466451"/>
                <a:gd name="f45" fmla="val 8435105"/>
                <a:gd name="f46" fmla="val 1266613"/>
                <a:gd name="f47" fmla="val 6618389"/>
                <a:gd name="f48" fmla="val 953715"/>
                <a:gd name="f49" fmla="val 4735222"/>
                <a:gd name="f50" fmla="val 130088"/>
                <a:gd name="f51" fmla="val 2948502"/>
                <a:gd name="f52" fmla="val 20548"/>
                <a:gd name="f53" fmla="*/ f0 1 12192000"/>
                <a:gd name="f54" fmla="*/ f1 1 1992138"/>
                <a:gd name="f55" fmla="+- f4 0 f2"/>
                <a:gd name="f56" fmla="+- f3 0 f2"/>
                <a:gd name="f57" fmla="*/ f56 1 12192000"/>
                <a:gd name="f58" fmla="*/ f55 1 1992138"/>
                <a:gd name="f59" fmla="*/ f2 1 f57"/>
                <a:gd name="f60" fmla="*/ f3 1 f57"/>
                <a:gd name="f61" fmla="*/ f2 1 f58"/>
                <a:gd name="f62" fmla="*/ f4 1 f58"/>
                <a:gd name="f63" fmla="*/ f59 f53 1"/>
                <a:gd name="f64" fmla="*/ f60 f53 1"/>
                <a:gd name="f65" fmla="*/ f62 f54 1"/>
                <a:gd name="f66" fmla="*/ f61 f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3" t="f66" r="f64" b="f65"/>
              <a:pathLst>
                <a:path w="12192000" h="1992138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lose/>
                </a:path>
              </a:pathLst>
            </a:custGeom>
            <a:solidFill>
              <a:srgbClr val="00498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sp>
        <p:nvSpPr>
          <p:cNvPr id="5" name="Google Shape;257;p25">
            <a:extLst>
              <a:ext uri="{FF2B5EF4-FFF2-40B4-BE49-F238E27FC236}">
                <a16:creationId xmlns:a16="http://schemas.microsoft.com/office/drawing/2014/main" id="{2DE5F107-864A-E4B7-F27D-8DB3DADE9DC1}"/>
              </a:ext>
            </a:extLst>
          </p:cNvPr>
          <p:cNvSpPr/>
          <p:nvPr/>
        </p:nvSpPr>
        <p:spPr>
          <a:xfrm>
            <a:off x="902366" y="1517693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6" name="Google Shape;258;p25">
            <a:extLst>
              <a:ext uri="{FF2B5EF4-FFF2-40B4-BE49-F238E27FC236}">
                <a16:creationId xmlns:a16="http://schemas.microsoft.com/office/drawing/2014/main" id="{57D424BD-3913-9F24-3C19-E6FE821210A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219196" y="3429000"/>
            <a:ext cx="5582649" cy="1413561"/>
          </a:xfrm>
        </p:spPr>
        <p:txBody>
          <a:bodyPr/>
          <a:lstStyle>
            <a:lvl1pPr indent="-228600">
              <a:buNone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7" name="Google Shape;259;p25">
            <a:extLst>
              <a:ext uri="{FF2B5EF4-FFF2-40B4-BE49-F238E27FC236}">
                <a16:creationId xmlns:a16="http://schemas.microsoft.com/office/drawing/2014/main" id="{5D91E8FD-F27B-D2CC-5853-517ED33032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19196" y="1887486"/>
            <a:ext cx="5582649" cy="1078260"/>
          </a:xfrm>
        </p:spPr>
        <p:txBody>
          <a:bodyPr/>
          <a:lstStyle>
            <a:lvl1pPr>
              <a:defRPr sz="6000"/>
            </a:lvl1pPr>
          </a:lstStyle>
          <a:p>
            <a:pPr lvl="0"/>
            <a:endParaRPr lang="en-US"/>
          </a:p>
        </p:txBody>
      </p:sp>
      <p:pic>
        <p:nvPicPr>
          <p:cNvPr id="8" name="Google Shape;260;p25">
            <a:extLst>
              <a:ext uri="{FF2B5EF4-FFF2-40B4-BE49-F238E27FC236}">
                <a16:creationId xmlns:a16="http://schemas.microsoft.com/office/drawing/2014/main" id="{C59CFAFA-167A-2303-3278-E3621316C05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902366" y="228371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1144579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868614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63;p26">
            <a:extLst>
              <a:ext uri="{FF2B5EF4-FFF2-40B4-BE49-F238E27FC236}">
                <a16:creationId xmlns:a16="http://schemas.microsoft.com/office/drawing/2014/main" id="{A77C0612-A2A4-C038-C876-EF3C5CA1164C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8CD59AD3-F755-4F92-91A4-183F807B045A}" type="slidenum">
              <a:t>‹#›</a:t>
            </a:fld>
            <a:endParaRPr lang="en-US"/>
          </a:p>
        </p:txBody>
      </p:sp>
      <p:cxnSp>
        <p:nvCxnSpPr>
          <p:cNvPr id="3" name="Google Shape;264;p26">
            <a:extLst>
              <a:ext uri="{FF2B5EF4-FFF2-40B4-BE49-F238E27FC236}">
                <a16:creationId xmlns:a16="http://schemas.microsoft.com/office/drawing/2014/main" id="{0B851B7B-90E7-DF5C-9F3A-1F69F87C46AE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4" name="Google Shape;265;p26">
            <a:extLst>
              <a:ext uri="{FF2B5EF4-FFF2-40B4-BE49-F238E27FC236}">
                <a16:creationId xmlns:a16="http://schemas.microsoft.com/office/drawing/2014/main" id="{A0759437-D362-8EDC-415B-6C3EC028D9A4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266;p26">
            <a:extLst>
              <a:ext uri="{FF2B5EF4-FFF2-40B4-BE49-F238E27FC236}">
                <a16:creationId xmlns:a16="http://schemas.microsoft.com/office/drawing/2014/main" id="{F6F65878-0C3B-69E9-01D9-75A9FD529B7A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6" name="Google Shape;267;p26">
              <a:extLst>
                <a:ext uri="{FF2B5EF4-FFF2-40B4-BE49-F238E27FC236}">
                  <a16:creationId xmlns:a16="http://schemas.microsoft.com/office/drawing/2014/main" id="{C4E1C0EC-AB56-3D39-E8FE-2241D8D4E55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7" name="Google Shape;268;p26">
              <a:extLst>
                <a:ext uri="{FF2B5EF4-FFF2-40B4-BE49-F238E27FC236}">
                  <a16:creationId xmlns:a16="http://schemas.microsoft.com/office/drawing/2014/main" id="{8CBD49D8-1F91-26A3-AC22-35D368885082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8" name="Google Shape;269;p26">
                <a:extLst>
                  <a:ext uri="{FF2B5EF4-FFF2-40B4-BE49-F238E27FC236}">
                    <a16:creationId xmlns:a16="http://schemas.microsoft.com/office/drawing/2014/main" id="{7C89B37D-E876-E6C2-2503-42A2023F1615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9" name="Google Shape;270;p26">
                <a:extLst>
                  <a:ext uri="{FF2B5EF4-FFF2-40B4-BE49-F238E27FC236}">
                    <a16:creationId xmlns:a16="http://schemas.microsoft.com/office/drawing/2014/main" id="{102DB979-F0E8-A843-8E18-738DE9BFF4C9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84916586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72;p27">
            <a:extLst>
              <a:ext uri="{FF2B5EF4-FFF2-40B4-BE49-F238E27FC236}">
                <a16:creationId xmlns:a16="http://schemas.microsoft.com/office/drawing/2014/main" id="{E3932FC7-90FE-F739-20DC-8C289234DF73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273;p27">
            <a:extLst>
              <a:ext uri="{FF2B5EF4-FFF2-40B4-BE49-F238E27FC236}">
                <a16:creationId xmlns:a16="http://schemas.microsoft.com/office/drawing/2014/main" id="{CF703C34-2E68-4A6C-ED64-36CD2E45D20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274;p27">
            <a:extLst>
              <a:ext uri="{FF2B5EF4-FFF2-40B4-BE49-F238E27FC236}">
                <a16:creationId xmlns:a16="http://schemas.microsoft.com/office/drawing/2014/main" id="{924B05A5-052B-9183-3CBF-20BD96EF46B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275;p27">
            <a:extLst>
              <a:ext uri="{FF2B5EF4-FFF2-40B4-BE49-F238E27FC236}">
                <a16:creationId xmlns:a16="http://schemas.microsoft.com/office/drawing/2014/main" id="{17B3C807-227C-7BE5-C0B2-C6DBDBAAB8F2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BB90A92B-63F0-46B6-A4A2-6A61438AFF77}" type="slidenum">
              <a:t>‹#›</a:t>
            </a:fld>
            <a:endParaRPr lang="en-US"/>
          </a:p>
        </p:txBody>
      </p:sp>
      <p:cxnSp>
        <p:nvCxnSpPr>
          <p:cNvPr id="6" name="Google Shape;276;p27">
            <a:extLst>
              <a:ext uri="{FF2B5EF4-FFF2-40B4-BE49-F238E27FC236}">
                <a16:creationId xmlns:a16="http://schemas.microsoft.com/office/drawing/2014/main" id="{AD07017D-5A49-16F2-25A3-C2CD1B6A49CC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277;p27">
            <a:extLst>
              <a:ext uri="{FF2B5EF4-FFF2-40B4-BE49-F238E27FC236}">
                <a16:creationId xmlns:a16="http://schemas.microsoft.com/office/drawing/2014/main" id="{9674ED58-25F8-54AE-C2DC-7A98F212C85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278;p27">
            <a:extLst>
              <a:ext uri="{FF2B5EF4-FFF2-40B4-BE49-F238E27FC236}">
                <a16:creationId xmlns:a16="http://schemas.microsoft.com/office/drawing/2014/main" id="{2CBF174C-51C1-2C74-0065-611DE7A8847A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279;p27">
              <a:extLst>
                <a:ext uri="{FF2B5EF4-FFF2-40B4-BE49-F238E27FC236}">
                  <a16:creationId xmlns:a16="http://schemas.microsoft.com/office/drawing/2014/main" id="{5C69E76F-8A91-C465-03B4-2375F5EE0F9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280;p27">
              <a:extLst>
                <a:ext uri="{FF2B5EF4-FFF2-40B4-BE49-F238E27FC236}">
                  <a16:creationId xmlns:a16="http://schemas.microsoft.com/office/drawing/2014/main" id="{BB23B8CE-5973-328C-7B28-4F6A4EEB8E6E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281;p27">
                <a:extLst>
                  <a:ext uri="{FF2B5EF4-FFF2-40B4-BE49-F238E27FC236}">
                    <a16:creationId xmlns:a16="http://schemas.microsoft.com/office/drawing/2014/main" id="{D68F9D15-C68F-F86A-0A1F-F5926B8E9559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282;p27">
                <a:extLst>
                  <a:ext uri="{FF2B5EF4-FFF2-40B4-BE49-F238E27FC236}">
                    <a16:creationId xmlns:a16="http://schemas.microsoft.com/office/drawing/2014/main" id="{330E6564-DA64-AEC6-70B0-ECEBDACD2056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283;p27" descr="Open quotation mark with solid fill">
            <a:extLst>
              <a:ext uri="{FF2B5EF4-FFF2-40B4-BE49-F238E27FC236}">
                <a16:creationId xmlns:a16="http://schemas.microsoft.com/office/drawing/2014/main" id="{407E4295-CC47-E442-C563-C32FB3693111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317614174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85;p28">
            <a:extLst>
              <a:ext uri="{FF2B5EF4-FFF2-40B4-BE49-F238E27FC236}">
                <a16:creationId xmlns:a16="http://schemas.microsoft.com/office/drawing/2014/main" id="{23605067-ECF9-813D-9EA4-E957B55E8B67}"/>
              </a:ext>
            </a:extLst>
          </p:cNvPr>
          <p:cNvSpPr/>
          <p:nvPr/>
        </p:nvSpPr>
        <p:spPr>
          <a:xfrm>
            <a:off x="902366" y="1294415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286;p28">
            <a:extLst>
              <a:ext uri="{FF2B5EF4-FFF2-40B4-BE49-F238E27FC236}">
                <a16:creationId xmlns:a16="http://schemas.microsoft.com/office/drawing/2014/main" id="{3027D700-2372-80F6-B42E-F089A42443A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1561328"/>
            <a:ext cx="5194432" cy="1826340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287;p28">
            <a:extLst>
              <a:ext uri="{FF2B5EF4-FFF2-40B4-BE49-F238E27FC236}">
                <a16:creationId xmlns:a16="http://schemas.microsoft.com/office/drawing/2014/main" id="{2AC75655-F9D2-9586-5152-62703F29B17C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766861"/>
            <a:ext cx="5194432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289;p28">
            <a:extLst>
              <a:ext uri="{FF2B5EF4-FFF2-40B4-BE49-F238E27FC236}">
                <a16:creationId xmlns:a16="http://schemas.microsoft.com/office/drawing/2014/main" id="{2C44F13E-8EB0-6BBD-3F2A-ABC73FE4ADED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6" name="Google Shape;290;p28">
              <a:extLst>
                <a:ext uri="{FF2B5EF4-FFF2-40B4-BE49-F238E27FC236}">
                  <a16:creationId xmlns:a16="http://schemas.microsoft.com/office/drawing/2014/main" id="{CB734BEE-8F5F-F4B5-11BA-8465B19E5277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7" name="Google Shape;291;p28">
              <a:extLst>
                <a:ext uri="{FF2B5EF4-FFF2-40B4-BE49-F238E27FC236}">
                  <a16:creationId xmlns:a16="http://schemas.microsoft.com/office/drawing/2014/main" id="{F6F3DB1C-635B-F49F-B26B-06376C6DE7FB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8" name="Google Shape;292;p28">
              <a:extLst>
                <a:ext uri="{FF2B5EF4-FFF2-40B4-BE49-F238E27FC236}">
                  <a16:creationId xmlns:a16="http://schemas.microsoft.com/office/drawing/2014/main" id="{40F25A72-35F1-DE5D-7168-1C4D9D902D1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508118648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294;p29">
            <a:extLst>
              <a:ext uri="{FF2B5EF4-FFF2-40B4-BE49-F238E27FC236}">
                <a16:creationId xmlns:a16="http://schemas.microsoft.com/office/drawing/2014/main" id="{09DEE1B8-95AE-917B-D101-D55DBE0C3077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3" name="Google Shape;295;p29">
              <a:extLst>
                <a:ext uri="{FF2B5EF4-FFF2-40B4-BE49-F238E27FC236}">
                  <a16:creationId xmlns:a16="http://schemas.microsoft.com/office/drawing/2014/main" id="{E464F6D9-390E-697F-D985-7E095B31592C}"/>
                </a:ext>
              </a:extLst>
            </p:cNvPr>
            <p:cNvSpPr/>
            <p:nvPr/>
          </p:nvSpPr>
          <p:spPr>
            <a:xfrm>
              <a:off x="0" y="5100267"/>
              <a:ext cx="7111371" cy="175773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111369"/>
                <a:gd name="f4" fmla="val 1757730"/>
                <a:gd name="f5" fmla="val 772954"/>
                <a:gd name="f6" fmla="val 2778"/>
                <a:gd name="f7" fmla="val 1769038"/>
                <a:gd name="f8" fmla="val 30799"/>
                <a:gd name="f9" fmla="val 2696750"/>
                <a:gd name="f10" fmla="val 267531"/>
                <a:gd name="f11" fmla="val 3590934"/>
                <a:gd name="f12" fmla="val 566046"/>
                <a:gd name="f13" fmla="val 4684008"/>
                <a:gd name="f14" fmla="val 930921"/>
                <a:gd name="f15" fmla="val 5690778"/>
                <a:gd name="f16" fmla="val 1324625"/>
                <a:gd name="f17" fmla="val 6700767"/>
                <a:gd name="f18" fmla="val 1636882"/>
                <a:gd name="f19" fmla="val 25690"/>
                <a:gd name="f20" fmla="val 2197"/>
                <a:gd name="f21" fmla="val 25414"/>
                <a:gd name="f22" fmla="val 114653"/>
                <a:gd name="f23" fmla="val 14905"/>
                <a:gd name="f24" fmla="val 227801"/>
                <a:gd name="f25" fmla="val 7857"/>
                <a:gd name="f26" fmla="val 341773"/>
                <a:gd name="f27" fmla="val 3976"/>
                <a:gd name="f28" fmla="val 486963"/>
                <a:gd name="f29" fmla="+- 0 0 968"/>
                <a:gd name="f30" fmla="val 630656"/>
                <a:gd name="f31" fmla="+- 0 0 1224"/>
                <a:gd name="f32" fmla="*/ f0 1 7111369"/>
                <a:gd name="f33" fmla="*/ f1 1 1757730"/>
                <a:gd name="f34" fmla="+- f4 0 f2"/>
                <a:gd name="f35" fmla="+- f3 0 f2"/>
                <a:gd name="f36" fmla="*/ f35 1 7111369"/>
                <a:gd name="f37" fmla="*/ f34 1 1757730"/>
                <a:gd name="f38" fmla="*/ f2 1 f36"/>
                <a:gd name="f39" fmla="*/ f3 1 f36"/>
                <a:gd name="f40" fmla="*/ f2 1 f37"/>
                <a:gd name="f41" fmla="*/ f4 1 f37"/>
                <a:gd name="f42" fmla="*/ f38 f32 1"/>
                <a:gd name="f43" fmla="*/ f39 f32 1"/>
                <a:gd name="f44" fmla="*/ f41 f33 1"/>
                <a:gd name="f45" fmla="*/ f40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2" t="f45" r="f43" b="f44"/>
              <a:pathLst>
                <a:path w="7111369" h="1757730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4"/>
                  </a:lnTo>
                  <a:lnTo>
                    <a:pt x="f2" y="f4"/>
                  </a:lnTo>
                  <a:lnTo>
                    <a:pt x="f2" y="f19"/>
                  </a:lnTo>
                  <a:lnTo>
                    <a:pt x="f20" y="f21"/>
                  </a:ln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5" y="f6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296;p29">
              <a:extLst>
                <a:ext uri="{FF2B5EF4-FFF2-40B4-BE49-F238E27FC236}">
                  <a16:creationId xmlns:a16="http://schemas.microsoft.com/office/drawing/2014/main" id="{C60167FA-84A4-0B2C-4C86-BEDE992126D1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5" name="Google Shape;297;p29">
              <a:extLst>
                <a:ext uri="{FF2B5EF4-FFF2-40B4-BE49-F238E27FC236}">
                  <a16:creationId xmlns:a16="http://schemas.microsoft.com/office/drawing/2014/main" id="{54D36C9F-4DBB-37E9-57DB-687BC3B04042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298;p29">
              <a:extLst>
                <a:ext uri="{FF2B5EF4-FFF2-40B4-BE49-F238E27FC236}">
                  <a16:creationId xmlns:a16="http://schemas.microsoft.com/office/drawing/2014/main" id="{9796425A-E2C8-14AF-1543-3759C58157B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7" name="Google Shape;299;p29">
            <a:extLst>
              <a:ext uri="{FF2B5EF4-FFF2-40B4-BE49-F238E27FC236}">
                <a16:creationId xmlns:a16="http://schemas.microsoft.com/office/drawing/2014/main" id="{DFD6F9EE-512C-4946-31F9-AE2C8741EBF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701747"/>
            <a:ext cx="9365376" cy="2014679"/>
          </a:xfrm>
        </p:spPr>
        <p:txBody>
          <a:bodyPr anchor="b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300;p29">
            <a:extLst>
              <a:ext uri="{FF2B5EF4-FFF2-40B4-BE49-F238E27FC236}">
                <a16:creationId xmlns:a16="http://schemas.microsoft.com/office/drawing/2014/main" id="{1269581F-BFD3-2150-AD8C-8ADF0ACB8D77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081637"/>
            <a:ext cx="9365376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3020024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302;p30">
            <a:extLst>
              <a:ext uri="{FF2B5EF4-FFF2-40B4-BE49-F238E27FC236}">
                <a16:creationId xmlns:a16="http://schemas.microsoft.com/office/drawing/2014/main" id="{73610C69-7233-D73F-08E6-0DF30833534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57200" y="1146255"/>
            <a:ext cx="2350172" cy="2971800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cxnSp>
        <p:nvCxnSpPr>
          <p:cNvPr id="3" name="Google Shape;303;p30">
            <a:extLst>
              <a:ext uri="{FF2B5EF4-FFF2-40B4-BE49-F238E27FC236}">
                <a16:creationId xmlns:a16="http://schemas.microsoft.com/office/drawing/2014/main" id="{CE6C9D99-A401-EB63-A3A5-A6217BD2C027}"/>
              </a:ext>
            </a:extLst>
          </p:cNvPr>
          <p:cNvCxnSpPr/>
          <p:nvPr/>
        </p:nvCxnSpPr>
        <p:spPr>
          <a:xfrm>
            <a:off x="457200" y="947985"/>
            <a:ext cx="2350163" cy="0"/>
          </a:xfrm>
          <a:prstGeom prst="straightConnector1">
            <a:avLst/>
          </a:prstGeom>
          <a:noFill/>
          <a:ln w="31747" cap="flat">
            <a:solidFill>
              <a:srgbClr val="F58366"/>
            </a:solidFill>
            <a:prstDash val="solid"/>
            <a:miter/>
          </a:ln>
        </p:spPr>
      </p:cxnSp>
      <p:grpSp>
        <p:nvGrpSpPr>
          <p:cNvPr id="4" name="Google Shape;304;p30">
            <a:extLst>
              <a:ext uri="{FF2B5EF4-FFF2-40B4-BE49-F238E27FC236}">
                <a16:creationId xmlns:a16="http://schemas.microsoft.com/office/drawing/2014/main" id="{B4C8396C-E90C-B41F-79A5-AB8287117A5E}"/>
              </a:ext>
            </a:extLst>
          </p:cNvPr>
          <p:cNvGrpSpPr/>
          <p:nvPr/>
        </p:nvGrpSpPr>
        <p:grpSpPr>
          <a:xfrm>
            <a:off x="0" y="5379424"/>
            <a:ext cx="2807363" cy="753895"/>
            <a:chOff x="0" y="5379424"/>
            <a:chExt cx="2807363" cy="753895"/>
          </a:xfrm>
        </p:grpSpPr>
        <p:sp>
          <p:nvSpPr>
            <p:cNvPr id="5" name="Google Shape;305;p30">
              <a:extLst>
                <a:ext uri="{FF2B5EF4-FFF2-40B4-BE49-F238E27FC236}">
                  <a16:creationId xmlns:a16="http://schemas.microsoft.com/office/drawing/2014/main" id="{D348A89C-1E5E-000A-2E22-BDA88B4F2E21}"/>
                </a:ext>
              </a:extLst>
            </p:cNvPr>
            <p:cNvSpPr/>
            <p:nvPr/>
          </p:nvSpPr>
          <p:spPr>
            <a:xfrm>
              <a:off x="0" y="5532513"/>
              <a:ext cx="2807363" cy="60080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00807"/>
                <a:gd name="f5" fmla="val 429971"/>
                <a:gd name="f6" fmla="val 123998"/>
                <a:gd name="f7" fmla="val 1184765"/>
                <a:gd name="f8" fmla="val 325331"/>
                <a:gd name="f9" fmla="val 2014184"/>
                <a:gd name="f10" fmla="val 392492"/>
                <a:gd name="f11" fmla="val 2790212"/>
                <a:gd name="f12" fmla="val 235402"/>
                <a:gd name="f13" fmla="val 231522"/>
                <a:gd name="f14" fmla="val 566106"/>
                <a:gd name="f15" fmla="val 2593885"/>
                <a:gd name="f16" fmla="val 587498"/>
                <a:gd name="f17" fmla="val 1673646"/>
                <a:gd name="f18" fmla="val 651184"/>
                <a:gd name="f19" fmla="val 884869"/>
                <a:gd name="f20" fmla="val 479260"/>
                <a:gd name="f21" fmla="val 100844"/>
                <a:gd name="f22" fmla="val 222653"/>
                <a:gd name="f23" fmla="val 188389"/>
                <a:gd name="f24" fmla="*/ f0 1 2807368"/>
                <a:gd name="f25" fmla="*/ f1 1 600807"/>
                <a:gd name="f26" fmla="+- f4 0 f2"/>
                <a:gd name="f27" fmla="+- f3 0 f2"/>
                <a:gd name="f28" fmla="*/ f27 1 2807368"/>
                <a:gd name="f29" fmla="*/ f26 1 600807"/>
                <a:gd name="f30" fmla="*/ f2 1 f28"/>
                <a:gd name="f31" fmla="*/ f3 1 f28"/>
                <a:gd name="f32" fmla="*/ f2 1 f29"/>
                <a:gd name="f33" fmla="*/ f4 1 f29"/>
                <a:gd name="f34" fmla="*/ f30 f24 1"/>
                <a:gd name="f35" fmla="*/ f31 f24 1"/>
                <a:gd name="f36" fmla="*/ f33 f25 1"/>
                <a:gd name="f37" fmla="*/ f32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37" r="f35" b="f36"/>
              <a:pathLst>
                <a:path w="2807368" h="600807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lnTo>
                    <a:pt x="f3" y="f13"/>
                  </a:lnTo>
                  <a:lnTo>
                    <a:pt x="f3" y="f14"/>
                  </a:lnTo>
                  <a:lnTo>
                    <a:pt x="f15" y="f16"/>
                  </a:lnTo>
                  <a:cubicBezTo>
                    <a:pt x="f17" y="f18"/>
                    <a:pt x="f19" y="f20"/>
                    <a:pt x="f21" y="f22"/>
                  </a:cubicBezTo>
                  <a:lnTo>
                    <a:pt x="f2" y="f23"/>
                  </a:ln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6" name="Google Shape;306;p30">
              <a:extLst>
                <a:ext uri="{FF2B5EF4-FFF2-40B4-BE49-F238E27FC236}">
                  <a16:creationId xmlns:a16="http://schemas.microsoft.com/office/drawing/2014/main" id="{B4682253-9F7F-BF0E-1A41-54D51062C4FE}"/>
                </a:ext>
              </a:extLst>
            </p:cNvPr>
            <p:cNvSpPr/>
            <p:nvPr/>
          </p:nvSpPr>
          <p:spPr>
            <a:xfrm>
              <a:off x="0" y="5379424"/>
              <a:ext cx="2807363" cy="64980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49803"/>
                <a:gd name="f5" fmla="val 282676"/>
                <a:gd name="f6" fmla="val 70799"/>
                <a:gd name="f7" fmla="val 435964"/>
                <a:gd name="f8" fmla="val 106085"/>
                <a:gd name="f9" fmla="val 588770"/>
                <a:gd name="f10" fmla="val 137629"/>
                <a:gd name="f11" fmla="val 740881"/>
                <a:gd name="f12" fmla="val 163828"/>
                <a:gd name="f13" fmla="val 1362800"/>
                <a:gd name="f14" fmla="val 270912"/>
                <a:gd name="f15" fmla="val 2067879"/>
                <a:gd name="f16" fmla="val 253759"/>
                <a:gd name="f17" fmla="val 2706471"/>
                <a:gd name="f18" fmla="val 96397"/>
                <a:gd name="f19" fmla="val 67250"/>
                <a:gd name="f20" fmla="val 605551"/>
                <a:gd name="f21" fmla="val 2602685"/>
                <a:gd name="f22" fmla="val 629466"/>
                <a:gd name="f23" fmla="val 1684237"/>
                <a:gd name="f24" fmla="val 708219"/>
                <a:gd name="f25" fmla="val 893252"/>
                <a:gd name="f26" fmla="val 549395"/>
                <a:gd name="f27" fmla="val 105614"/>
                <a:gd name="f28" fmla="val 305882"/>
                <a:gd name="f29" fmla="val 271926"/>
                <a:gd name="f30" fmla="*/ f0 1 2807368"/>
                <a:gd name="f31" fmla="*/ f1 1 649803"/>
                <a:gd name="f32" fmla="+- f4 0 f2"/>
                <a:gd name="f33" fmla="+- f3 0 f2"/>
                <a:gd name="f34" fmla="*/ f33 1 2807368"/>
                <a:gd name="f35" fmla="*/ f32 1 649803"/>
                <a:gd name="f36" fmla="*/ f2 1 f34"/>
                <a:gd name="f37" fmla="*/ f3 1 f34"/>
                <a:gd name="f38" fmla="*/ f2 1 f35"/>
                <a:gd name="f39" fmla="*/ f4 1 f35"/>
                <a:gd name="f40" fmla="*/ f36 f30 1"/>
                <a:gd name="f41" fmla="*/ f37 f30 1"/>
                <a:gd name="f42" fmla="*/ f39 f31 1"/>
                <a:gd name="f43" fmla="*/ f3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2807368" h="649803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19"/>
                  </a:lnTo>
                  <a:lnTo>
                    <a:pt x="f3" y="f20"/>
                  </a:lnTo>
                  <a:lnTo>
                    <a:pt x="f21" y="f22"/>
                  </a:lnTo>
                  <a:cubicBezTo>
                    <a:pt x="f23" y="f24"/>
                    <a:pt x="f25" y="f26"/>
                    <a:pt x="f27" y="f28"/>
                  </a:cubicBezTo>
                  <a:lnTo>
                    <a:pt x="f2" y="f29"/>
                  </a:ln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pic>
        <p:nvPicPr>
          <p:cNvPr id="7" name="Google Shape;308;p30">
            <a:extLst>
              <a:ext uri="{FF2B5EF4-FFF2-40B4-BE49-F238E27FC236}">
                <a16:creationId xmlns:a16="http://schemas.microsoft.com/office/drawing/2014/main" id="{B2B7DB36-8590-9F3D-7EE6-AB1644253FC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513344" y="4385535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584995039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310;p31">
            <a:extLst>
              <a:ext uri="{FF2B5EF4-FFF2-40B4-BE49-F238E27FC236}">
                <a16:creationId xmlns:a16="http://schemas.microsoft.com/office/drawing/2014/main" id="{E78C3144-3187-62D4-A6C7-BD276F3CFE39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311;p31">
            <a:extLst>
              <a:ext uri="{FF2B5EF4-FFF2-40B4-BE49-F238E27FC236}">
                <a16:creationId xmlns:a16="http://schemas.microsoft.com/office/drawing/2014/main" id="{5899BCAB-D15D-1771-0D91-7E367871C2E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312;p31">
            <a:extLst>
              <a:ext uri="{FF2B5EF4-FFF2-40B4-BE49-F238E27FC236}">
                <a16:creationId xmlns:a16="http://schemas.microsoft.com/office/drawing/2014/main" id="{A641A56A-CFCF-783B-618A-A7530D3F665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313;p31">
            <a:extLst>
              <a:ext uri="{FF2B5EF4-FFF2-40B4-BE49-F238E27FC236}">
                <a16:creationId xmlns:a16="http://schemas.microsoft.com/office/drawing/2014/main" id="{A205966B-5DA9-3609-1FE1-75A3366CB3D0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C99135CA-19A0-4111-A216-9066AE778E3C}" type="slidenum">
              <a:t>‹#›</a:t>
            </a:fld>
            <a:endParaRPr lang="en-US"/>
          </a:p>
        </p:txBody>
      </p:sp>
      <p:cxnSp>
        <p:nvCxnSpPr>
          <p:cNvPr id="6" name="Google Shape;314;p31">
            <a:extLst>
              <a:ext uri="{FF2B5EF4-FFF2-40B4-BE49-F238E27FC236}">
                <a16:creationId xmlns:a16="http://schemas.microsoft.com/office/drawing/2014/main" id="{4934C751-AD79-D033-453C-AB325907088D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315;p31">
            <a:extLst>
              <a:ext uri="{FF2B5EF4-FFF2-40B4-BE49-F238E27FC236}">
                <a16:creationId xmlns:a16="http://schemas.microsoft.com/office/drawing/2014/main" id="{EF0140F0-F7D8-A55D-A8CB-4932A1962213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316;p31">
            <a:extLst>
              <a:ext uri="{FF2B5EF4-FFF2-40B4-BE49-F238E27FC236}">
                <a16:creationId xmlns:a16="http://schemas.microsoft.com/office/drawing/2014/main" id="{62DC9450-CC82-7AAD-EDC7-C1088D90F48D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317;p31">
              <a:extLst>
                <a:ext uri="{FF2B5EF4-FFF2-40B4-BE49-F238E27FC236}">
                  <a16:creationId xmlns:a16="http://schemas.microsoft.com/office/drawing/2014/main" id="{C8249F22-2CB0-9DA6-23A4-2567BB490B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318;p31">
              <a:extLst>
                <a:ext uri="{FF2B5EF4-FFF2-40B4-BE49-F238E27FC236}">
                  <a16:creationId xmlns:a16="http://schemas.microsoft.com/office/drawing/2014/main" id="{E1DA1E32-1C3B-BE56-468A-53A1A11C667F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319;p31">
                <a:extLst>
                  <a:ext uri="{FF2B5EF4-FFF2-40B4-BE49-F238E27FC236}">
                    <a16:creationId xmlns:a16="http://schemas.microsoft.com/office/drawing/2014/main" id="{3ACF4927-D66A-979F-75AE-5BFA9E03784E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320;p31">
                <a:extLst>
                  <a:ext uri="{FF2B5EF4-FFF2-40B4-BE49-F238E27FC236}">
                    <a16:creationId xmlns:a16="http://schemas.microsoft.com/office/drawing/2014/main" id="{F7DE6507-660F-4E42-E1B9-47F25A43AA75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321;p31" descr="Open quotation mark with solid fill">
            <a:extLst>
              <a:ext uri="{FF2B5EF4-FFF2-40B4-BE49-F238E27FC236}">
                <a16:creationId xmlns:a16="http://schemas.microsoft.com/office/drawing/2014/main" id="{26E2AAA5-F958-5F42-D55A-C3519562CC4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222076807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310;p31">
            <a:extLst>
              <a:ext uri="{FF2B5EF4-FFF2-40B4-BE49-F238E27FC236}">
                <a16:creationId xmlns:a16="http://schemas.microsoft.com/office/drawing/2014/main" id="{5E478915-B977-647A-E24A-F1D39988C170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311;p31">
            <a:extLst>
              <a:ext uri="{FF2B5EF4-FFF2-40B4-BE49-F238E27FC236}">
                <a16:creationId xmlns:a16="http://schemas.microsoft.com/office/drawing/2014/main" id="{13794AFC-782D-FAFE-582C-CAC718F4029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312;p31">
            <a:extLst>
              <a:ext uri="{FF2B5EF4-FFF2-40B4-BE49-F238E27FC236}">
                <a16:creationId xmlns:a16="http://schemas.microsoft.com/office/drawing/2014/main" id="{A26723A0-7619-1A1B-DDE2-DDB0B01A0EB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313;p31">
            <a:extLst>
              <a:ext uri="{FF2B5EF4-FFF2-40B4-BE49-F238E27FC236}">
                <a16:creationId xmlns:a16="http://schemas.microsoft.com/office/drawing/2014/main" id="{BA38EE67-3889-FF57-1D1B-B626ADC60442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2FCAB611-9475-4A89-B2EE-46D1424D56D6}" type="slidenum">
              <a:t>‹#›</a:t>
            </a:fld>
            <a:endParaRPr lang="en-US"/>
          </a:p>
        </p:txBody>
      </p:sp>
      <p:cxnSp>
        <p:nvCxnSpPr>
          <p:cNvPr id="6" name="Google Shape;314;p31">
            <a:extLst>
              <a:ext uri="{FF2B5EF4-FFF2-40B4-BE49-F238E27FC236}">
                <a16:creationId xmlns:a16="http://schemas.microsoft.com/office/drawing/2014/main" id="{D06745B9-96EF-0CAC-0183-8A3743B07DDA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315;p31">
            <a:extLst>
              <a:ext uri="{FF2B5EF4-FFF2-40B4-BE49-F238E27FC236}">
                <a16:creationId xmlns:a16="http://schemas.microsoft.com/office/drawing/2014/main" id="{DD26BAE6-D0D8-BB80-D671-159387627DC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316;p31">
            <a:extLst>
              <a:ext uri="{FF2B5EF4-FFF2-40B4-BE49-F238E27FC236}">
                <a16:creationId xmlns:a16="http://schemas.microsoft.com/office/drawing/2014/main" id="{7BA230DF-4567-3E89-6220-F2200AAD0C10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317;p31">
              <a:extLst>
                <a:ext uri="{FF2B5EF4-FFF2-40B4-BE49-F238E27FC236}">
                  <a16:creationId xmlns:a16="http://schemas.microsoft.com/office/drawing/2014/main" id="{1DAF8326-8529-9748-49E6-40D8D815802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318;p31">
              <a:extLst>
                <a:ext uri="{FF2B5EF4-FFF2-40B4-BE49-F238E27FC236}">
                  <a16:creationId xmlns:a16="http://schemas.microsoft.com/office/drawing/2014/main" id="{AF78C822-BC23-83E9-2C80-A57920EA8B33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319;p31">
                <a:extLst>
                  <a:ext uri="{FF2B5EF4-FFF2-40B4-BE49-F238E27FC236}">
                    <a16:creationId xmlns:a16="http://schemas.microsoft.com/office/drawing/2014/main" id="{AB63A793-4992-1426-E80F-86AE0509D41F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320;p31">
                <a:extLst>
                  <a:ext uri="{FF2B5EF4-FFF2-40B4-BE49-F238E27FC236}">
                    <a16:creationId xmlns:a16="http://schemas.microsoft.com/office/drawing/2014/main" id="{B3F2E3B8-2740-4258-A318-46E645B6EF2F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321;p31" descr="Open quotation mark with solid fill">
            <a:extLst>
              <a:ext uri="{FF2B5EF4-FFF2-40B4-BE49-F238E27FC236}">
                <a16:creationId xmlns:a16="http://schemas.microsoft.com/office/drawing/2014/main" id="{95D92C54-83F5-E8DB-F3AC-886DA29F0ED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728700015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323;p32">
            <a:extLst>
              <a:ext uri="{FF2B5EF4-FFF2-40B4-BE49-F238E27FC236}">
                <a16:creationId xmlns:a16="http://schemas.microsoft.com/office/drawing/2014/main" id="{9DFE3759-2586-CB0E-355F-1C2A062B8319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3" name="Google Shape;324;p32">
            <a:extLst>
              <a:ext uri="{FF2B5EF4-FFF2-40B4-BE49-F238E27FC236}">
                <a16:creationId xmlns:a16="http://schemas.microsoft.com/office/drawing/2014/main" id="{003A2090-80DC-D6C5-1301-C09B6D9A9B5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grpSp>
        <p:nvGrpSpPr>
          <p:cNvPr id="4" name="Google Shape;325;p32">
            <a:extLst>
              <a:ext uri="{FF2B5EF4-FFF2-40B4-BE49-F238E27FC236}">
                <a16:creationId xmlns:a16="http://schemas.microsoft.com/office/drawing/2014/main" id="{2F36E099-58F9-595B-3B54-55B0C2ADA967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5" name="Google Shape;326;p32">
              <a:extLst>
                <a:ext uri="{FF2B5EF4-FFF2-40B4-BE49-F238E27FC236}">
                  <a16:creationId xmlns:a16="http://schemas.microsoft.com/office/drawing/2014/main" id="{4BCE73D3-0C65-CCD5-819C-A4A69E8994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6" name="Google Shape;327;p32">
              <a:extLst>
                <a:ext uri="{FF2B5EF4-FFF2-40B4-BE49-F238E27FC236}">
                  <a16:creationId xmlns:a16="http://schemas.microsoft.com/office/drawing/2014/main" id="{0964C538-B737-9173-E638-A23D39EEAF82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7" name="Google Shape;328;p32">
                <a:extLst>
                  <a:ext uri="{FF2B5EF4-FFF2-40B4-BE49-F238E27FC236}">
                    <a16:creationId xmlns:a16="http://schemas.microsoft.com/office/drawing/2014/main" id="{EBBE0066-D365-4A75-9759-B59508C6D9FE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8" name="Google Shape;329;p32">
                <a:extLst>
                  <a:ext uri="{FF2B5EF4-FFF2-40B4-BE49-F238E27FC236}">
                    <a16:creationId xmlns:a16="http://schemas.microsoft.com/office/drawing/2014/main" id="{FE289779-DC69-7845-1E29-A4501E2124FC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9" name="Google Shape;330;p32">
            <a:extLst>
              <a:ext uri="{FF2B5EF4-FFF2-40B4-BE49-F238E27FC236}">
                <a16:creationId xmlns:a16="http://schemas.microsoft.com/office/drawing/2014/main" id="{4E2FF42C-F2E3-CF44-51E9-2B404FD1217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Google Shape;331;p32">
            <a:extLst>
              <a:ext uri="{FF2B5EF4-FFF2-40B4-BE49-F238E27FC236}">
                <a16:creationId xmlns:a16="http://schemas.microsoft.com/office/drawing/2014/main" id="{96F5693E-0BAF-F4DB-06EE-9454E0DD680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8839193" y="6356351"/>
            <a:ext cx="2743200" cy="365129"/>
          </a:xfrm>
        </p:spPr>
        <p:txBody>
          <a:bodyPr/>
          <a:lstStyle>
            <a:lvl1pPr>
              <a:defRPr/>
            </a:lvl1pPr>
          </a:lstStyle>
          <a:p>
            <a:pPr lvl="0"/>
            <a:fld id="{AEE996AE-3954-4F48-A720-E67CBC2FE608}" type="slidenum">
              <a:t>‹#›</a:t>
            </a:fld>
            <a:endParaRPr lang="en-US"/>
          </a:p>
        </p:txBody>
      </p:sp>
      <p:cxnSp>
        <p:nvCxnSpPr>
          <p:cNvPr id="11" name="Google Shape;332;p32">
            <a:extLst>
              <a:ext uri="{FF2B5EF4-FFF2-40B4-BE49-F238E27FC236}">
                <a16:creationId xmlns:a16="http://schemas.microsoft.com/office/drawing/2014/main" id="{A1F9FB9B-F5D8-4330-4592-7B131C3597E5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2" name="Google Shape;333;p32">
            <a:extLst>
              <a:ext uri="{FF2B5EF4-FFF2-40B4-BE49-F238E27FC236}">
                <a16:creationId xmlns:a16="http://schemas.microsoft.com/office/drawing/2014/main" id="{FAA9B080-9EBD-85AA-44B2-7AC0070D43B1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272801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335;p33">
            <a:extLst>
              <a:ext uri="{FF2B5EF4-FFF2-40B4-BE49-F238E27FC236}">
                <a16:creationId xmlns:a16="http://schemas.microsoft.com/office/drawing/2014/main" id="{6503096B-D5AC-9B65-F5CA-803649005AFF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336;p33">
              <a:extLst>
                <a:ext uri="{FF2B5EF4-FFF2-40B4-BE49-F238E27FC236}">
                  <a16:creationId xmlns:a16="http://schemas.microsoft.com/office/drawing/2014/main" id="{1EDFB79E-C025-910C-5B99-B9CE7B804CD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337;p33">
              <a:extLst>
                <a:ext uri="{FF2B5EF4-FFF2-40B4-BE49-F238E27FC236}">
                  <a16:creationId xmlns:a16="http://schemas.microsoft.com/office/drawing/2014/main" id="{14BDA073-B9A1-CADA-627E-5B65117E95F7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338;p33">
                <a:extLst>
                  <a:ext uri="{FF2B5EF4-FFF2-40B4-BE49-F238E27FC236}">
                    <a16:creationId xmlns:a16="http://schemas.microsoft.com/office/drawing/2014/main" id="{EA835607-750F-6F7D-9A8E-DB535511755F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339;p33">
                <a:extLst>
                  <a:ext uri="{FF2B5EF4-FFF2-40B4-BE49-F238E27FC236}">
                    <a16:creationId xmlns:a16="http://schemas.microsoft.com/office/drawing/2014/main" id="{D7824FED-C0A3-7BD1-06E2-937509034AF9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340;p33">
            <a:extLst>
              <a:ext uri="{FF2B5EF4-FFF2-40B4-BE49-F238E27FC236}">
                <a16:creationId xmlns:a16="http://schemas.microsoft.com/office/drawing/2014/main" id="{1893527A-41F5-0E8F-10D0-DBCE9826195D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341;p33">
            <a:extLst>
              <a:ext uri="{FF2B5EF4-FFF2-40B4-BE49-F238E27FC236}">
                <a16:creationId xmlns:a16="http://schemas.microsoft.com/office/drawing/2014/main" id="{E8694125-5A94-D8E6-33A1-644D4EB1D23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681160"/>
            <a:ext cx="538797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9" name="Google Shape;342;p33">
            <a:extLst>
              <a:ext uri="{FF2B5EF4-FFF2-40B4-BE49-F238E27FC236}">
                <a16:creationId xmlns:a16="http://schemas.microsoft.com/office/drawing/2014/main" id="{83D7906F-097E-3B11-9CA7-B7C103F8202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2505071"/>
            <a:ext cx="5387973" cy="3684583"/>
          </a:xfrm>
          <a:solidFill>
            <a:srgbClr val="F3F6FB"/>
          </a:solidFill>
        </p:spPr>
        <p:txBody>
          <a:bodyPr lIns="182870" tIns="0" rIns="182870" bIns="0">
            <a:normAutofit/>
          </a:bodyPr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0" name="Google Shape;343;p33">
            <a:extLst>
              <a:ext uri="{FF2B5EF4-FFF2-40B4-BE49-F238E27FC236}">
                <a16:creationId xmlns:a16="http://schemas.microsoft.com/office/drawing/2014/main" id="{67370E49-797A-B6D9-5E90-D79BEEB8D8C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681160"/>
            <a:ext cx="541020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11" name="Google Shape;344;p33">
            <a:extLst>
              <a:ext uri="{FF2B5EF4-FFF2-40B4-BE49-F238E27FC236}">
                <a16:creationId xmlns:a16="http://schemas.microsoft.com/office/drawing/2014/main" id="{D88F395B-51FB-8B06-0FAE-8CDD23D5133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2505071"/>
            <a:ext cx="5410203" cy="3684583"/>
          </a:xfrm>
          <a:solidFill>
            <a:srgbClr val="F3F6FB"/>
          </a:solidFill>
        </p:spPr>
        <p:txBody>
          <a:bodyPr lIns="182870" tIns="0" rIns="182870" bIns="0"/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2" name="Google Shape;345;p33">
            <a:extLst>
              <a:ext uri="{FF2B5EF4-FFF2-40B4-BE49-F238E27FC236}">
                <a16:creationId xmlns:a16="http://schemas.microsoft.com/office/drawing/2014/main" id="{D51F3272-F1AA-B23F-CA3D-688AC594CB5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413720CE-209D-4A90-A7A8-EB55F00A2738}" type="slidenum">
              <a:t>‹#›</a:t>
            </a:fld>
            <a:endParaRPr lang="en-US"/>
          </a:p>
        </p:txBody>
      </p:sp>
      <p:cxnSp>
        <p:nvCxnSpPr>
          <p:cNvPr id="13" name="Google Shape;346;p33">
            <a:extLst>
              <a:ext uri="{FF2B5EF4-FFF2-40B4-BE49-F238E27FC236}">
                <a16:creationId xmlns:a16="http://schemas.microsoft.com/office/drawing/2014/main" id="{F1558662-0773-C910-E422-D6EB5F43C664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4" name="Google Shape;347;p33">
            <a:extLst>
              <a:ext uri="{FF2B5EF4-FFF2-40B4-BE49-F238E27FC236}">
                <a16:creationId xmlns:a16="http://schemas.microsoft.com/office/drawing/2014/main" id="{3EC392C8-FFB2-55F5-3BEF-C4D0B2B015D7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216826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349;p34">
            <a:extLst>
              <a:ext uri="{FF2B5EF4-FFF2-40B4-BE49-F238E27FC236}">
                <a16:creationId xmlns:a16="http://schemas.microsoft.com/office/drawing/2014/main" id="{C660D965-381A-FF3D-8DF8-D9BDD1EE735D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350;p34">
              <a:extLst>
                <a:ext uri="{FF2B5EF4-FFF2-40B4-BE49-F238E27FC236}">
                  <a16:creationId xmlns:a16="http://schemas.microsoft.com/office/drawing/2014/main" id="{C1EF3800-9490-550E-66EB-0C0F6A6CD26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351;p34">
              <a:extLst>
                <a:ext uri="{FF2B5EF4-FFF2-40B4-BE49-F238E27FC236}">
                  <a16:creationId xmlns:a16="http://schemas.microsoft.com/office/drawing/2014/main" id="{818A04D7-C34E-2B91-92D3-7C50A343C9DD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352;p34">
                <a:extLst>
                  <a:ext uri="{FF2B5EF4-FFF2-40B4-BE49-F238E27FC236}">
                    <a16:creationId xmlns:a16="http://schemas.microsoft.com/office/drawing/2014/main" id="{BE831638-98C0-9EAB-CA33-D8B9B206B122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353;p34">
                <a:extLst>
                  <a:ext uri="{FF2B5EF4-FFF2-40B4-BE49-F238E27FC236}">
                    <a16:creationId xmlns:a16="http://schemas.microsoft.com/office/drawing/2014/main" id="{0626BA36-87B2-FF54-A548-53F1D681A073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354;p34">
            <a:extLst>
              <a:ext uri="{FF2B5EF4-FFF2-40B4-BE49-F238E27FC236}">
                <a16:creationId xmlns:a16="http://schemas.microsoft.com/office/drawing/2014/main" id="{9CA85929-160B-A70D-A54C-866B58395388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355;p34">
            <a:extLst>
              <a:ext uri="{FF2B5EF4-FFF2-40B4-BE49-F238E27FC236}">
                <a16:creationId xmlns:a16="http://schemas.microsoft.com/office/drawing/2014/main" id="{591E6069-2F3F-50BF-0A86-21856B5C3B6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6BD0C1FB-3D18-4ACD-8955-6E1AF3FE6C06}" type="slidenum">
              <a:t>‹#›</a:t>
            </a:fld>
            <a:endParaRPr lang="en-US"/>
          </a:p>
        </p:txBody>
      </p:sp>
      <p:cxnSp>
        <p:nvCxnSpPr>
          <p:cNvPr id="9" name="Google Shape;356;p34">
            <a:extLst>
              <a:ext uri="{FF2B5EF4-FFF2-40B4-BE49-F238E27FC236}">
                <a16:creationId xmlns:a16="http://schemas.microsoft.com/office/drawing/2014/main" id="{CE6310DD-0075-D02E-6EA6-94321B6B060F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0" name="Google Shape;357;p34">
            <a:extLst>
              <a:ext uri="{FF2B5EF4-FFF2-40B4-BE49-F238E27FC236}">
                <a16:creationId xmlns:a16="http://schemas.microsoft.com/office/drawing/2014/main" id="{53CF31EF-27B6-A575-54BE-4F278FACF840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305377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39879944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359;p35">
            <a:extLst>
              <a:ext uri="{FF2B5EF4-FFF2-40B4-BE49-F238E27FC236}">
                <a16:creationId xmlns:a16="http://schemas.microsoft.com/office/drawing/2014/main" id="{A986F01F-C49D-C60C-BB10-57907EC03487}"/>
              </a:ext>
            </a:extLst>
          </p:cNvPr>
          <p:cNvGrpSpPr/>
          <p:nvPr/>
        </p:nvGrpSpPr>
        <p:grpSpPr>
          <a:xfrm>
            <a:off x="0" y="0"/>
            <a:ext cx="12191996" cy="2148830"/>
            <a:chOff x="0" y="0"/>
            <a:chExt cx="12191996" cy="2148830"/>
          </a:xfrm>
        </p:grpSpPr>
        <p:sp>
          <p:nvSpPr>
            <p:cNvPr id="3" name="Google Shape;360;p35">
              <a:extLst>
                <a:ext uri="{FF2B5EF4-FFF2-40B4-BE49-F238E27FC236}">
                  <a16:creationId xmlns:a16="http://schemas.microsoft.com/office/drawing/2014/main" id="{17B10ADC-08B1-2638-89CB-20212DB0B598}"/>
                </a:ext>
              </a:extLst>
            </p:cNvPr>
            <p:cNvSpPr/>
            <p:nvPr/>
          </p:nvSpPr>
          <p:spPr>
            <a:xfrm flipH="1">
              <a:off x="0" y="0"/>
              <a:ext cx="12191996" cy="214883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2148830"/>
                <a:gd name="f5" fmla="val 2318293"/>
                <a:gd name="f6" fmla="val 2110341"/>
                <a:gd name="f7" fmla="val 1952334"/>
                <a:gd name="f8" fmla="val 920"/>
                <a:gd name="f9" fmla="val 1343499"/>
                <a:gd name="f10" fmla="val 23864"/>
                <a:gd name="f11" fmla="val 752130"/>
                <a:gd name="f12" fmla="val 152982"/>
                <a:gd name="f13" fmla="val 184205"/>
                <a:gd name="f14" fmla="val 435928"/>
                <a:gd name="f15" fmla="val 536864"/>
                <a:gd name="f16" fmla="val 554713"/>
                <a:gd name="f17" fmla="val 201115"/>
                <a:gd name="f18" fmla="val 452796"/>
                <a:gd name="f19" fmla="val 776357"/>
                <a:gd name="f20" fmla="val 187336"/>
                <a:gd name="f21" fmla="val 1349828"/>
                <a:gd name="f22" fmla="val 76760"/>
                <a:gd name="f23" fmla="val 1947588"/>
                <a:gd name="f24" fmla="val 66249"/>
                <a:gd name="f25" fmla="val 2962940"/>
                <a:gd name="f26" fmla="val 48421"/>
                <a:gd name="f27" fmla="val 3890218"/>
                <a:gd name="f28" fmla="val 291317"/>
                <a:gd name="f29" fmla="val 4778140"/>
                <a:gd name="f30" fmla="val 604018"/>
                <a:gd name="f31" fmla="val 7231510"/>
                <a:gd name="f32" fmla="val 1468126"/>
                <a:gd name="f33" fmla="val 9178927"/>
                <a:gd name="f34" fmla="val 2492024"/>
                <a:gd name="f35" fmla="val 11996242"/>
                <a:gd name="f36" fmla="val 2036894"/>
                <a:gd name="f37" fmla="val 2002266"/>
                <a:gd name="f38" fmla="val 1415250"/>
                <a:gd name="f39" fmla="val 12022971"/>
                <a:gd name="f40" fmla="val 1470801"/>
                <a:gd name="f41" fmla="val 10719696"/>
                <a:gd name="f42" fmla="val 1863939"/>
                <a:gd name="f43" fmla="val 9271154"/>
                <a:gd name="f44" fmla="val 1783804"/>
                <a:gd name="f45" fmla="val 7970940"/>
                <a:gd name="f46" fmla="val 1436986"/>
                <a:gd name="f47" fmla="val 6890984"/>
                <a:gd name="f48" fmla="val 1148958"/>
                <a:gd name="f49" fmla="val 5866930"/>
                <a:gd name="f50" fmla="val 767309"/>
                <a:gd name="f51" fmla="val 4800356"/>
                <a:gd name="f52" fmla="val 456582"/>
                <a:gd name="f53" fmla="val 4068903"/>
                <a:gd name="f54" fmla="val 243471"/>
                <a:gd name="f55" fmla="val 3348204"/>
                <a:gd name="f56" fmla="val 74251"/>
                <a:gd name="f57" fmla="val 2646880"/>
                <a:gd name="f58" fmla="val 17560"/>
                <a:gd name="f59" fmla="*/ f0 1 12192000"/>
                <a:gd name="f60" fmla="*/ f1 1 2148830"/>
                <a:gd name="f61" fmla="+- f4 0 f2"/>
                <a:gd name="f62" fmla="+- f3 0 f2"/>
                <a:gd name="f63" fmla="*/ f62 1 12192000"/>
                <a:gd name="f64" fmla="*/ f61 1 2148830"/>
                <a:gd name="f65" fmla="*/ f2 1 f63"/>
                <a:gd name="f66" fmla="*/ f3 1 f63"/>
                <a:gd name="f67" fmla="*/ f2 1 f64"/>
                <a:gd name="f68" fmla="*/ f4 1 f64"/>
                <a:gd name="f69" fmla="*/ f65 f59 1"/>
                <a:gd name="f70" fmla="*/ f66 f59 1"/>
                <a:gd name="f71" fmla="*/ f68 f60 1"/>
                <a:gd name="f72" fmla="*/ f67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9" t="f72" r="f70" b="f71"/>
              <a:pathLst>
                <a:path w="12192000" h="2148830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361;p35">
              <a:extLst>
                <a:ext uri="{FF2B5EF4-FFF2-40B4-BE49-F238E27FC236}">
                  <a16:creationId xmlns:a16="http://schemas.microsoft.com/office/drawing/2014/main" id="{497BAFB7-DAB5-D132-5C83-6AEDECC653E7}"/>
                </a:ext>
              </a:extLst>
            </p:cNvPr>
            <p:cNvSpPr/>
            <p:nvPr/>
          </p:nvSpPr>
          <p:spPr>
            <a:xfrm flipH="1">
              <a:off x="0" y="0"/>
              <a:ext cx="12191996" cy="19921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992138"/>
                <a:gd name="f5" fmla="val 2724271"/>
                <a:gd name="f6" fmla="val 1788442"/>
                <a:gd name="f7" fmla="val 1635403"/>
                <a:gd name="f8" fmla="val 12925"/>
                <a:gd name="f9" fmla="val 1134241"/>
                <a:gd name="f10" fmla="val 70905"/>
                <a:gd name="f11" fmla="val 647221"/>
                <a:gd name="f12" fmla="val 207817"/>
                <a:gd name="f13" fmla="val 178220"/>
                <a:gd name="f14" fmla="val 451207"/>
                <a:gd name="f15" fmla="val 552718"/>
                <a:gd name="f16" fmla="val 570885"/>
                <a:gd name="f17" fmla="val 195368"/>
                <a:gd name="f18" fmla="val 467800"/>
                <a:gd name="f19" fmla="val 765758"/>
                <a:gd name="f20" fmla="val 193094"/>
                <a:gd name="f21" fmla="val 1336955"/>
                <a:gd name="f22" fmla="val 73179"/>
                <a:gd name="f23" fmla="val 1934073"/>
                <a:gd name="f24" fmla="val 52850"/>
                <a:gd name="f25" fmla="val 2948304"/>
                <a:gd name="f26" fmla="val 18310"/>
                <a:gd name="f27" fmla="val 3878878"/>
                <a:gd name="f28" fmla="val 245747"/>
                <a:gd name="f29" fmla="val 4771217"/>
                <a:gd name="f30" fmla="val 543645"/>
                <a:gd name="f31" fmla="val 7236913"/>
                <a:gd name="f32" fmla="val 1366709"/>
                <a:gd name="f33" fmla="val 9199689"/>
                <a:gd name="f34" fmla="val 2357774"/>
                <a:gd name="f35" fmla="val 12007222"/>
                <a:gd name="f36" fmla="val 1856729"/>
                <a:gd name="f37" fmla="val 1820900"/>
                <a:gd name="f38" fmla="val 897073"/>
                <a:gd name="f39" fmla="val 12062517"/>
                <a:gd name="f40" fmla="val 950128"/>
                <a:gd name="f41" fmla="val 10950292"/>
                <a:gd name="f42" fmla="val 1376478"/>
                <a:gd name="f43" fmla="val 9595706"/>
                <a:gd name="f44" fmla="val 1466451"/>
                <a:gd name="f45" fmla="val 8435105"/>
                <a:gd name="f46" fmla="val 1266613"/>
                <a:gd name="f47" fmla="val 6618389"/>
                <a:gd name="f48" fmla="val 953715"/>
                <a:gd name="f49" fmla="val 4735222"/>
                <a:gd name="f50" fmla="val 130088"/>
                <a:gd name="f51" fmla="val 2948502"/>
                <a:gd name="f52" fmla="val 20548"/>
                <a:gd name="f53" fmla="*/ f0 1 12192000"/>
                <a:gd name="f54" fmla="*/ f1 1 1992138"/>
                <a:gd name="f55" fmla="+- f4 0 f2"/>
                <a:gd name="f56" fmla="+- f3 0 f2"/>
                <a:gd name="f57" fmla="*/ f56 1 12192000"/>
                <a:gd name="f58" fmla="*/ f55 1 1992138"/>
                <a:gd name="f59" fmla="*/ f2 1 f57"/>
                <a:gd name="f60" fmla="*/ f3 1 f57"/>
                <a:gd name="f61" fmla="*/ f2 1 f58"/>
                <a:gd name="f62" fmla="*/ f4 1 f58"/>
                <a:gd name="f63" fmla="*/ f59 f53 1"/>
                <a:gd name="f64" fmla="*/ f60 f53 1"/>
                <a:gd name="f65" fmla="*/ f62 f54 1"/>
                <a:gd name="f66" fmla="*/ f61 f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3" t="f66" r="f64" b="f65"/>
              <a:pathLst>
                <a:path w="12192000" h="1992138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lose/>
                </a:path>
              </a:pathLst>
            </a:custGeom>
            <a:solidFill>
              <a:srgbClr val="00498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sp>
        <p:nvSpPr>
          <p:cNvPr id="5" name="Google Shape;362;p35">
            <a:extLst>
              <a:ext uri="{FF2B5EF4-FFF2-40B4-BE49-F238E27FC236}">
                <a16:creationId xmlns:a16="http://schemas.microsoft.com/office/drawing/2014/main" id="{00182818-D0B0-B5BF-69F3-5E5F65630549}"/>
              </a:ext>
            </a:extLst>
          </p:cNvPr>
          <p:cNvSpPr/>
          <p:nvPr/>
        </p:nvSpPr>
        <p:spPr>
          <a:xfrm>
            <a:off x="902366" y="1517693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6" name="Google Shape;363;p35">
            <a:extLst>
              <a:ext uri="{FF2B5EF4-FFF2-40B4-BE49-F238E27FC236}">
                <a16:creationId xmlns:a16="http://schemas.microsoft.com/office/drawing/2014/main" id="{0AA791C5-6CEA-AEFD-E956-1C447B9B53E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219196" y="3429000"/>
            <a:ext cx="5582649" cy="1413561"/>
          </a:xfrm>
        </p:spPr>
        <p:txBody>
          <a:bodyPr/>
          <a:lstStyle>
            <a:lvl1pPr indent="-228600">
              <a:buNone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7" name="Google Shape;364;p35">
            <a:extLst>
              <a:ext uri="{FF2B5EF4-FFF2-40B4-BE49-F238E27FC236}">
                <a16:creationId xmlns:a16="http://schemas.microsoft.com/office/drawing/2014/main" id="{9BCBB9FB-94E9-F9AA-2304-165C5DB57CA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19196" y="1887486"/>
            <a:ext cx="5582649" cy="1078260"/>
          </a:xfrm>
        </p:spPr>
        <p:txBody>
          <a:bodyPr/>
          <a:lstStyle>
            <a:lvl1pPr>
              <a:defRPr sz="6000"/>
            </a:lvl1pPr>
          </a:lstStyle>
          <a:p>
            <a:pPr lvl="0"/>
            <a:endParaRPr lang="en-US"/>
          </a:p>
        </p:txBody>
      </p:sp>
      <p:pic>
        <p:nvPicPr>
          <p:cNvPr id="8" name="Google Shape;365;p35">
            <a:extLst>
              <a:ext uri="{FF2B5EF4-FFF2-40B4-BE49-F238E27FC236}">
                <a16:creationId xmlns:a16="http://schemas.microsoft.com/office/drawing/2014/main" id="{49DD3570-F9CC-40B4-7B55-F44B6D542E9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902366" y="228371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918167249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368;p36">
            <a:extLst>
              <a:ext uri="{FF2B5EF4-FFF2-40B4-BE49-F238E27FC236}">
                <a16:creationId xmlns:a16="http://schemas.microsoft.com/office/drawing/2014/main" id="{02FE4872-92B9-D638-291B-8F7A771D7211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369;p36">
            <a:extLst>
              <a:ext uri="{FF2B5EF4-FFF2-40B4-BE49-F238E27FC236}">
                <a16:creationId xmlns:a16="http://schemas.microsoft.com/office/drawing/2014/main" id="{02ACCF54-BD54-4241-BEB3-8F1C55D30B1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370;p36">
            <a:extLst>
              <a:ext uri="{FF2B5EF4-FFF2-40B4-BE49-F238E27FC236}">
                <a16:creationId xmlns:a16="http://schemas.microsoft.com/office/drawing/2014/main" id="{E95CFBFE-6D8E-3110-3695-517DB84EDEC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371;p36">
            <a:extLst>
              <a:ext uri="{FF2B5EF4-FFF2-40B4-BE49-F238E27FC236}">
                <a16:creationId xmlns:a16="http://schemas.microsoft.com/office/drawing/2014/main" id="{098FC5D7-F7F4-B966-FFB1-4916ED8F960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93AA875C-DC9F-4E72-A544-2294D898AF9A}" type="slidenum">
              <a:t>‹#›</a:t>
            </a:fld>
            <a:endParaRPr lang="en-US"/>
          </a:p>
        </p:txBody>
      </p:sp>
      <p:cxnSp>
        <p:nvCxnSpPr>
          <p:cNvPr id="6" name="Google Shape;372;p36">
            <a:extLst>
              <a:ext uri="{FF2B5EF4-FFF2-40B4-BE49-F238E27FC236}">
                <a16:creationId xmlns:a16="http://schemas.microsoft.com/office/drawing/2014/main" id="{16DE10EA-13D4-818C-99A3-A465EBFBC0B0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373;p36">
            <a:extLst>
              <a:ext uri="{FF2B5EF4-FFF2-40B4-BE49-F238E27FC236}">
                <a16:creationId xmlns:a16="http://schemas.microsoft.com/office/drawing/2014/main" id="{05139113-62E2-05B6-F4CA-C182BB690584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374;p36">
            <a:extLst>
              <a:ext uri="{FF2B5EF4-FFF2-40B4-BE49-F238E27FC236}">
                <a16:creationId xmlns:a16="http://schemas.microsoft.com/office/drawing/2014/main" id="{7628A984-FE7C-53F1-2AA7-3649FE8B2643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375;p36">
              <a:extLst>
                <a:ext uri="{FF2B5EF4-FFF2-40B4-BE49-F238E27FC236}">
                  <a16:creationId xmlns:a16="http://schemas.microsoft.com/office/drawing/2014/main" id="{14A3E7EC-8865-E464-7F36-8E5E517EAA3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376;p36">
              <a:extLst>
                <a:ext uri="{FF2B5EF4-FFF2-40B4-BE49-F238E27FC236}">
                  <a16:creationId xmlns:a16="http://schemas.microsoft.com/office/drawing/2014/main" id="{F552296A-4DD2-2AD3-5FEF-C0D240BA085F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377;p36">
                <a:extLst>
                  <a:ext uri="{FF2B5EF4-FFF2-40B4-BE49-F238E27FC236}">
                    <a16:creationId xmlns:a16="http://schemas.microsoft.com/office/drawing/2014/main" id="{834517CD-7AB3-B8B4-1FA1-FA6D8341E155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378;p36">
                <a:extLst>
                  <a:ext uri="{FF2B5EF4-FFF2-40B4-BE49-F238E27FC236}">
                    <a16:creationId xmlns:a16="http://schemas.microsoft.com/office/drawing/2014/main" id="{E330C0FC-7035-7E2D-942C-5A82FEBD6200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379;p36" descr="Open quotation mark with solid fill">
            <a:extLst>
              <a:ext uri="{FF2B5EF4-FFF2-40B4-BE49-F238E27FC236}">
                <a16:creationId xmlns:a16="http://schemas.microsoft.com/office/drawing/2014/main" id="{142ED0D5-9E7F-1E65-1316-AB32CE8BFFD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729003132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381;p37">
            <a:extLst>
              <a:ext uri="{FF2B5EF4-FFF2-40B4-BE49-F238E27FC236}">
                <a16:creationId xmlns:a16="http://schemas.microsoft.com/office/drawing/2014/main" id="{C0D54F07-62B8-B2AD-2881-8C1576AC1662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382;p37">
            <a:extLst>
              <a:ext uri="{FF2B5EF4-FFF2-40B4-BE49-F238E27FC236}">
                <a16:creationId xmlns:a16="http://schemas.microsoft.com/office/drawing/2014/main" id="{1E3BD2E5-8841-8650-16D0-1D22A9F3301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383;p37">
            <a:extLst>
              <a:ext uri="{FF2B5EF4-FFF2-40B4-BE49-F238E27FC236}">
                <a16:creationId xmlns:a16="http://schemas.microsoft.com/office/drawing/2014/main" id="{74A1058D-E0F9-6FB2-316C-E1465B89253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384;p37">
            <a:extLst>
              <a:ext uri="{FF2B5EF4-FFF2-40B4-BE49-F238E27FC236}">
                <a16:creationId xmlns:a16="http://schemas.microsoft.com/office/drawing/2014/main" id="{F8E363FF-1C3B-4D32-CF7F-DA3D766BBCA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1CE22847-7F8B-4362-8461-CFB46E8E0326}" type="slidenum">
              <a:t>‹#›</a:t>
            </a:fld>
            <a:endParaRPr lang="en-US"/>
          </a:p>
        </p:txBody>
      </p:sp>
      <p:cxnSp>
        <p:nvCxnSpPr>
          <p:cNvPr id="6" name="Google Shape;385;p37">
            <a:extLst>
              <a:ext uri="{FF2B5EF4-FFF2-40B4-BE49-F238E27FC236}">
                <a16:creationId xmlns:a16="http://schemas.microsoft.com/office/drawing/2014/main" id="{2689AA6C-FC38-97CD-C1EE-EA1566A01D17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386;p37">
            <a:extLst>
              <a:ext uri="{FF2B5EF4-FFF2-40B4-BE49-F238E27FC236}">
                <a16:creationId xmlns:a16="http://schemas.microsoft.com/office/drawing/2014/main" id="{7FDF76E2-AE94-162D-0A0F-6A52D5C12E97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387;p37">
            <a:extLst>
              <a:ext uri="{FF2B5EF4-FFF2-40B4-BE49-F238E27FC236}">
                <a16:creationId xmlns:a16="http://schemas.microsoft.com/office/drawing/2014/main" id="{D3E66B42-A09C-A002-7685-4F16BF09E940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388;p37">
              <a:extLst>
                <a:ext uri="{FF2B5EF4-FFF2-40B4-BE49-F238E27FC236}">
                  <a16:creationId xmlns:a16="http://schemas.microsoft.com/office/drawing/2014/main" id="{B24950AE-E2CF-0FF6-A5C3-8EDAD9CC025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389;p37">
              <a:extLst>
                <a:ext uri="{FF2B5EF4-FFF2-40B4-BE49-F238E27FC236}">
                  <a16:creationId xmlns:a16="http://schemas.microsoft.com/office/drawing/2014/main" id="{AD2B2E97-BAE9-AA94-E9A0-57F4DF60D361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390;p37">
                <a:extLst>
                  <a:ext uri="{FF2B5EF4-FFF2-40B4-BE49-F238E27FC236}">
                    <a16:creationId xmlns:a16="http://schemas.microsoft.com/office/drawing/2014/main" id="{2F35A25A-244F-D3D0-BC3D-4A69C0BBB33C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391;p37">
                <a:extLst>
                  <a:ext uri="{FF2B5EF4-FFF2-40B4-BE49-F238E27FC236}">
                    <a16:creationId xmlns:a16="http://schemas.microsoft.com/office/drawing/2014/main" id="{3E4BE309-3DAC-424F-14EF-BA1C561B2189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392;p37" descr="Open quotation mark with solid fill">
            <a:extLst>
              <a:ext uri="{FF2B5EF4-FFF2-40B4-BE49-F238E27FC236}">
                <a16:creationId xmlns:a16="http://schemas.microsoft.com/office/drawing/2014/main" id="{0B79A56B-5BCB-7AFD-2803-C7ED6CC286FA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885107058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368;p36">
            <a:extLst>
              <a:ext uri="{FF2B5EF4-FFF2-40B4-BE49-F238E27FC236}">
                <a16:creationId xmlns:a16="http://schemas.microsoft.com/office/drawing/2014/main" id="{23DDA7AD-2566-139F-5BFD-2F51346C437B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369;p36">
            <a:extLst>
              <a:ext uri="{FF2B5EF4-FFF2-40B4-BE49-F238E27FC236}">
                <a16:creationId xmlns:a16="http://schemas.microsoft.com/office/drawing/2014/main" id="{799CC933-0F1C-9B71-D3EA-632F2F16C1B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370;p36">
            <a:extLst>
              <a:ext uri="{FF2B5EF4-FFF2-40B4-BE49-F238E27FC236}">
                <a16:creationId xmlns:a16="http://schemas.microsoft.com/office/drawing/2014/main" id="{8E36FB29-9C09-04FD-8C63-48831DF81B3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371;p36">
            <a:extLst>
              <a:ext uri="{FF2B5EF4-FFF2-40B4-BE49-F238E27FC236}">
                <a16:creationId xmlns:a16="http://schemas.microsoft.com/office/drawing/2014/main" id="{27845A2C-8002-73BB-911B-E83A7BBBD6A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E121D2F9-66E0-450E-A93B-E5A866FE5318}" type="slidenum">
              <a:t>‹#›</a:t>
            </a:fld>
            <a:endParaRPr lang="en-US"/>
          </a:p>
        </p:txBody>
      </p:sp>
      <p:cxnSp>
        <p:nvCxnSpPr>
          <p:cNvPr id="6" name="Google Shape;372;p36">
            <a:extLst>
              <a:ext uri="{FF2B5EF4-FFF2-40B4-BE49-F238E27FC236}">
                <a16:creationId xmlns:a16="http://schemas.microsoft.com/office/drawing/2014/main" id="{D099628C-4100-E129-8BF1-DBC838FE7F36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373;p36">
            <a:extLst>
              <a:ext uri="{FF2B5EF4-FFF2-40B4-BE49-F238E27FC236}">
                <a16:creationId xmlns:a16="http://schemas.microsoft.com/office/drawing/2014/main" id="{2F7B8230-BFF8-5DAE-81E8-C83D3BA8740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374;p36">
            <a:extLst>
              <a:ext uri="{FF2B5EF4-FFF2-40B4-BE49-F238E27FC236}">
                <a16:creationId xmlns:a16="http://schemas.microsoft.com/office/drawing/2014/main" id="{34A84C4A-57FD-4512-AAB8-C0C3AA6BFFE2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375;p36">
              <a:extLst>
                <a:ext uri="{FF2B5EF4-FFF2-40B4-BE49-F238E27FC236}">
                  <a16:creationId xmlns:a16="http://schemas.microsoft.com/office/drawing/2014/main" id="{D02E2057-346A-CCB7-7072-345E7C8323E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376;p36">
              <a:extLst>
                <a:ext uri="{FF2B5EF4-FFF2-40B4-BE49-F238E27FC236}">
                  <a16:creationId xmlns:a16="http://schemas.microsoft.com/office/drawing/2014/main" id="{B208D58C-7CBB-C6F7-1A3F-3BD46E9BE3C9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377;p36">
                <a:extLst>
                  <a:ext uri="{FF2B5EF4-FFF2-40B4-BE49-F238E27FC236}">
                    <a16:creationId xmlns:a16="http://schemas.microsoft.com/office/drawing/2014/main" id="{06C49076-E7C7-5B3A-20A8-4DC22BB64AF9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378;p36">
                <a:extLst>
                  <a:ext uri="{FF2B5EF4-FFF2-40B4-BE49-F238E27FC236}">
                    <a16:creationId xmlns:a16="http://schemas.microsoft.com/office/drawing/2014/main" id="{9CFD16D4-08D9-28B1-78C8-67BF10B4CE7F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379;p36" descr="Open quotation mark with solid fill">
            <a:extLst>
              <a:ext uri="{FF2B5EF4-FFF2-40B4-BE49-F238E27FC236}">
                <a16:creationId xmlns:a16="http://schemas.microsoft.com/office/drawing/2014/main" id="{941CB90D-FBDB-D734-6E11-F2FBDFE867A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597001895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381;p37">
            <a:extLst>
              <a:ext uri="{FF2B5EF4-FFF2-40B4-BE49-F238E27FC236}">
                <a16:creationId xmlns:a16="http://schemas.microsoft.com/office/drawing/2014/main" id="{C57F51C2-C79B-3ED9-26AE-7CB2F3D518EC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382;p37">
            <a:extLst>
              <a:ext uri="{FF2B5EF4-FFF2-40B4-BE49-F238E27FC236}">
                <a16:creationId xmlns:a16="http://schemas.microsoft.com/office/drawing/2014/main" id="{0CB92D71-A8A9-BD86-74E4-E39B15476A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383;p37">
            <a:extLst>
              <a:ext uri="{FF2B5EF4-FFF2-40B4-BE49-F238E27FC236}">
                <a16:creationId xmlns:a16="http://schemas.microsoft.com/office/drawing/2014/main" id="{3B75A68B-D929-3FA8-3EE7-59C2A2E303E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384;p37">
            <a:extLst>
              <a:ext uri="{FF2B5EF4-FFF2-40B4-BE49-F238E27FC236}">
                <a16:creationId xmlns:a16="http://schemas.microsoft.com/office/drawing/2014/main" id="{5DA04AA2-380D-6CF6-202D-547002FF055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2B511D1A-1AEB-4102-8A09-A47E8073DEB7}" type="slidenum">
              <a:t>‹#›</a:t>
            </a:fld>
            <a:endParaRPr lang="en-US"/>
          </a:p>
        </p:txBody>
      </p:sp>
      <p:cxnSp>
        <p:nvCxnSpPr>
          <p:cNvPr id="6" name="Google Shape;385;p37">
            <a:extLst>
              <a:ext uri="{FF2B5EF4-FFF2-40B4-BE49-F238E27FC236}">
                <a16:creationId xmlns:a16="http://schemas.microsoft.com/office/drawing/2014/main" id="{764D5279-0A2E-8536-E06F-FAD18D34A918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386;p37">
            <a:extLst>
              <a:ext uri="{FF2B5EF4-FFF2-40B4-BE49-F238E27FC236}">
                <a16:creationId xmlns:a16="http://schemas.microsoft.com/office/drawing/2014/main" id="{A9D9ECE3-6872-5D5D-72E5-BCD311D2BCA6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387;p37">
            <a:extLst>
              <a:ext uri="{FF2B5EF4-FFF2-40B4-BE49-F238E27FC236}">
                <a16:creationId xmlns:a16="http://schemas.microsoft.com/office/drawing/2014/main" id="{483B814E-EE94-0217-FF40-EA1835187973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388;p37">
              <a:extLst>
                <a:ext uri="{FF2B5EF4-FFF2-40B4-BE49-F238E27FC236}">
                  <a16:creationId xmlns:a16="http://schemas.microsoft.com/office/drawing/2014/main" id="{18B71205-1AA7-6AB6-BDCA-27A5251A773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389;p37">
              <a:extLst>
                <a:ext uri="{FF2B5EF4-FFF2-40B4-BE49-F238E27FC236}">
                  <a16:creationId xmlns:a16="http://schemas.microsoft.com/office/drawing/2014/main" id="{9A6B2929-73A4-B86A-3055-4306EF0480F0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390;p37">
                <a:extLst>
                  <a:ext uri="{FF2B5EF4-FFF2-40B4-BE49-F238E27FC236}">
                    <a16:creationId xmlns:a16="http://schemas.microsoft.com/office/drawing/2014/main" id="{B429AB8D-C163-2683-CE89-DB8392CC75F9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391;p37">
                <a:extLst>
                  <a:ext uri="{FF2B5EF4-FFF2-40B4-BE49-F238E27FC236}">
                    <a16:creationId xmlns:a16="http://schemas.microsoft.com/office/drawing/2014/main" id="{8743DF2A-7100-552F-92B5-BAA7FEEBED74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392;p37" descr="Open quotation mark with solid fill">
            <a:extLst>
              <a:ext uri="{FF2B5EF4-FFF2-40B4-BE49-F238E27FC236}">
                <a16:creationId xmlns:a16="http://schemas.microsoft.com/office/drawing/2014/main" id="{BC1EF0CE-B6C8-B1AD-5873-F38C0BEDF50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734157450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394;p38">
            <a:extLst>
              <a:ext uri="{FF2B5EF4-FFF2-40B4-BE49-F238E27FC236}">
                <a16:creationId xmlns:a16="http://schemas.microsoft.com/office/drawing/2014/main" id="{F05C6E79-C80D-948F-F880-4EA34413EF98}"/>
              </a:ext>
            </a:extLst>
          </p:cNvPr>
          <p:cNvSpPr/>
          <p:nvPr/>
        </p:nvSpPr>
        <p:spPr>
          <a:xfrm>
            <a:off x="902366" y="1294415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395;p38">
            <a:extLst>
              <a:ext uri="{FF2B5EF4-FFF2-40B4-BE49-F238E27FC236}">
                <a16:creationId xmlns:a16="http://schemas.microsoft.com/office/drawing/2014/main" id="{058D81BB-102E-5EE7-89FE-F440A07FBE6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1561328"/>
            <a:ext cx="5194432" cy="1826340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396;p38">
            <a:extLst>
              <a:ext uri="{FF2B5EF4-FFF2-40B4-BE49-F238E27FC236}">
                <a16:creationId xmlns:a16="http://schemas.microsoft.com/office/drawing/2014/main" id="{88AF66D5-F125-17B3-7170-2BA09B556F9D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766861"/>
            <a:ext cx="5194432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398;p38">
            <a:extLst>
              <a:ext uri="{FF2B5EF4-FFF2-40B4-BE49-F238E27FC236}">
                <a16:creationId xmlns:a16="http://schemas.microsoft.com/office/drawing/2014/main" id="{05CE67BD-6226-B4A1-5248-4C689E2176BE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6" name="Google Shape;399;p38">
              <a:extLst>
                <a:ext uri="{FF2B5EF4-FFF2-40B4-BE49-F238E27FC236}">
                  <a16:creationId xmlns:a16="http://schemas.microsoft.com/office/drawing/2014/main" id="{EE64A2F6-2F65-1600-7383-1A4D5055B785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7" name="Google Shape;400;p38">
              <a:extLst>
                <a:ext uri="{FF2B5EF4-FFF2-40B4-BE49-F238E27FC236}">
                  <a16:creationId xmlns:a16="http://schemas.microsoft.com/office/drawing/2014/main" id="{8032B2A3-DD2E-4D82-3A69-55CA07B1EFE2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8" name="Google Shape;401;p38">
              <a:extLst>
                <a:ext uri="{FF2B5EF4-FFF2-40B4-BE49-F238E27FC236}">
                  <a16:creationId xmlns:a16="http://schemas.microsoft.com/office/drawing/2014/main" id="{F9DA175F-DE55-DE3F-BC6B-4821E978BEC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814200708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403;p39">
            <a:extLst>
              <a:ext uri="{FF2B5EF4-FFF2-40B4-BE49-F238E27FC236}">
                <a16:creationId xmlns:a16="http://schemas.microsoft.com/office/drawing/2014/main" id="{ACD7DB65-4475-2751-2F7D-EB6407AACAB1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3" name="Google Shape;404;p39">
              <a:extLst>
                <a:ext uri="{FF2B5EF4-FFF2-40B4-BE49-F238E27FC236}">
                  <a16:creationId xmlns:a16="http://schemas.microsoft.com/office/drawing/2014/main" id="{EB368A88-9896-1065-052E-F3E0B152CBFD}"/>
                </a:ext>
              </a:extLst>
            </p:cNvPr>
            <p:cNvSpPr/>
            <p:nvPr/>
          </p:nvSpPr>
          <p:spPr>
            <a:xfrm>
              <a:off x="0" y="5100267"/>
              <a:ext cx="7111371" cy="175773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111369"/>
                <a:gd name="f4" fmla="val 1757730"/>
                <a:gd name="f5" fmla="val 772954"/>
                <a:gd name="f6" fmla="val 2778"/>
                <a:gd name="f7" fmla="val 1769038"/>
                <a:gd name="f8" fmla="val 30799"/>
                <a:gd name="f9" fmla="val 2696750"/>
                <a:gd name="f10" fmla="val 267531"/>
                <a:gd name="f11" fmla="val 3590934"/>
                <a:gd name="f12" fmla="val 566046"/>
                <a:gd name="f13" fmla="val 4684008"/>
                <a:gd name="f14" fmla="val 930921"/>
                <a:gd name="f15" fmla="val 5690778"/>
                <a:gd name="f16" fmla="val 1324625"/>
                <a:gd name="f17" fmla="val 6700767"/>
                <a:gd name="f18" fmla="val 1636882"/>
                <a:gd name="f19" fmla="val 25690"/>
                <a:gd name="f20" fmla="val 2197"/>
                <a:gd name="f21" fmla="val 25414"/>
                <a:gd name="f22" fmla="val 114653"/>
                <a:gd name="f23" fmla="val 14905"/>
                <a:gd name="f24" fmla="val 227801"/>
                <a:gd name="f25" fmla="val 7857"/>
                <a:gd name="f26" fmla="val 341773"/>
                <a:gd name="f27" fmla="val 3976"/>
                <a:gd name="f28" fmla="val 486963"/>
                <a:gd name="f29" fmla="+- 0 0 968"/>
                <a:gd name="f30" fmla="val 630656"/>
                <a:gd name="f31" fmla="+- 0 0 1224"/>
                <a:gd name="f32" fmla="*/ f0 1 7111369"/>
                <a:gd name="f33" fmla="*/ f1 1 1757730"/>
                <a:gd name="f34" fmla="+- f4 0 f2"/>
                <a:gd name="f35" fmla="+- f3 0 f2"/>
                <a:gd name="f36" fmla="*/ f35 1 7111369"/>
                <a:gd name="f37" fmla="*/ f34 1 1757730"/>
                <a:gd name="f38" fmla="*/ f2 1 f36"/>
                <a:gd name="f39" fmla="*/ f3 1 f36"/>
                <a:gd name="f40" fmla="*/ f2 1 f37"/>
                <a:gd name="f41" fmla="*/ f4 1 f37"/>
                <a:gd name="f42" fmla="*/ f38 f32 1"/>
                <a:gd name="f43" fmla="*/ f39 f32 1"/>
                <a:gd name="f44" fmla="*/ f41 f33 1"/>
                <a:gd name="f45" fmla="*/ f40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2" t="f45" r="f43" b="f44"/>
              <a:pathLst>
                <a:path w="7111369" h="1757730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4"/>
                  </a:lnTo>
                  <a:lnTo>
                    <a:pt x="f2" y="f4"/>
                  </a:lnTo>
                  <a:lnTo>
                    <a:pt x="f2" y="f19"/>
                  </a:lnTo>
                  <a:lnTo>
                    <a:pt x="f20" y="f21"/>
                  </a:ln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5" y="f6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405;p39">
              <a:extLst>
                <a:ext uri="{FF2B5EF4-FFF2-40B4-BE49-F238E27FC236}">
                  <a16:creationId xmlns:a16="http://schemas.microsoft.com/office/drawing/2014/main" id="{13498D6A-E717-45F6-0D88-6C89AAC36AB4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5" name="Google Shape;406;p39">
              <a:extLst>
                <a:ext uri="{FF2B5EF4-FFF2-40B4-BE49-F238E27FC236}">
                  <a16:creationId xmlns:a16="http://schemas.microsoft.com/office/drawing/2014/main" id="{9B53DDD9-1E71-FD6A-08D5-618E17D6B923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407;p39">
              <a:extLst>
                <a:ext uri="{FF2B5EF4-FFF2-40B4-BE49-F238E27FC236}">
                  <a16:creationId xmlns:a16="http://schemas.microsoft.com/office/drawing/2014/main" id="{4791C3AC-371C-C996-8610-732EA5A463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7" name="Google Shape;408;p39">
            <a:extLst>
              <a:ext uri="{FF2B5EF4-FFF2-40B4-BE49-F238E27FC236}">
                <a16:creationId xmlns:a16="http://schemas.microsoft.com/office/drawing/2014/main" id="{795193CA-B486-73D0-8187-A2673BBC58A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701747"/>
            <a:ext cx="9365376" cy="2014679"/>
          </a:xfrm>
        </p:spPr>
        <p:txBody>
          <a:bodyPr anchor="b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409;p39">
            <a:extLst>
              <a:ext uri="{FF2B5EF4-FFF2-40B4-BE49-F238E27FC236}">
                <a16:creationId xmlns:a16="http://schemas.microsoft.com/office/drawing/2014/main" id="{8A70A31C-0901-1AA7-A647-3F8E6B0C97D4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081637"/>
            <a:ext cx="9365376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842920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11;p40">
            <a:extLst>
              <a:ext uri="{FF2B5EF4-FFF2-40B4-BE49-F238E27FC236}">
                <a16:creationId xmlns:a16="http://schemas.microsoft.com/office/drawing/2014/main" id="{1B6C7469-0D57-039E-B8A7-527A39C40D1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57200" y="1146255"/>
            <a:ext cx="2350172" cy="2971800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cxnSp>
        <p:nvCxnSpPr>
          <p:cNvPr id="3" name="Google Shape;412;p40">
            <a:extLst>
              <a:ext uri="{FF2B5EF4-FFF2-40B4-BE49-F238E27FC236}">
                <a16:creationId xmlns:a16="http://schemas.microsoft.com/office/drawing/2014/main" id="{2FD2F3A5-55F0-8277-CCBE-8D59AD6BE2B0}"/>
              </a:ext>
            </a:extLst>
          </p:cNvPr>
          <p:cNvCxnSpPr/>
          <p:nvPr/>
        </p:nvCxnSpPr>
        <p:spPr>
          <a:xfrm>
            <a:off x="457200" y="947985"/>
            <a:ext cx="2350163" cy="0"/>
          </a:xfrm>
          <a:prstGeom prst="straightConnector1">
            <a:avLst/>
          </a:prstGeom>
          <a:noFill/>
          <a:ln w="31747" cap="flat">
            <a:solidFill>
              <a:srgbClr val="F58366"/>
            </a:solidFill>
            <a:prstDash val="solid"/>
            <a:miter/>
          </a:ln>
        </p:spPr>
      </p:cxnSp>
      <p:grpSp>
        <p:nvGrpSpPr>
          <p:cNvPr id="4" name="Google Shape;413;p40">
            <a:extLst>
              <a:ext uri="{FF2B5EF4-FFF2-40B4-BE49-F238E27FC236}">
                <a16:creationId xmlns:a16="http://schemas.microsoft.com/office/drawing/2014/main" id="{5E2C0E18-3975-5A4C-D2FB-210796A16CA8}"/>
              </a:ext>
            </a:extLst>
          </p:cNvPr>
          <p:cNvGrpSpPr/>
          <p:nvPr/>
        </p:nvGrpSpPr>
        <p:grpSpPr>
          <a:xfrm>
            <a:off x="0" y="5379424"/>
            <a:ext cx="2807363" cy="753895"/>
            <a:chOff x="0" y="5379424"/>
            <a:chExt cx="2807363" cy="753895"/>
          </a:xfrm>
        </p:grpSpPr>
        <p:sp>
          <p:nvSpPr>
            <p:cNvPr id="5" name="Google Shape;414;p40">
              <a:extLst>
                <a:ext uri="{FF2B5EF4-FFF2-40B4-BE49-F238E27FC236}">
                  <a16:creationId xmlns:a16="http://schemas.microsoft.com/office/drawing/2014/main" id="{5F7644F1-9F61-9562-0EA1-ADF66B62DCCF}"/>
                </a:ext>
              </a:extLst>
            </p:cNvPr>
            <p:cNvSpPr/>
            <p:nvPr/>
          </p:nvSpPr>
          <p:spPr>
            <a:xfrm>
              <a:off x="0" y="5532513"/>
              <a:ext cx="2807363" cy="60080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00807"/>
                <a:gd name="f5" fmla="val 429971"/>
                <a:gd name="f6" fmla="val 123998"/>
                <a:gd name="f7" fmla="val 1184765"/>
                <a:gd name="f8" fmla="val 325331"/>
                <a:gd name="f9" fmla="val 2014184"/>
                <a:gd name="f10" fmla="val 392492"/>
                <a:gd name="f11" fmla="val 2790212"/>
                <a:gd name="f12" fmla="val 235402"/>
                <a:gd name="f13" fmla="val 231522"/>
                <a:gd name="f14" fmla="val 566106"/>
                <a:gd name="f15" fmla="val 2593885"/>
                <a:gd name="f16" fmla="val 587498"/>
                <a:gd name="f17" fmla="val 1673646"/>
                <a:gd name="f18" fmla="val 651184"/>
                <a:gd name="f19" fmla="val 884869"/>
                <a:gd name="f20" fmla="val 479260"/>
                <a:gd name="f21" fmla="val 100844"/>
                <a:gd name="f22" fmla="val 222653"/>
                <a:gd name="f23" fmla="val 188389"/>
                <a:gd name="f24" fmla="*/ f0 1 2807368"/>
                <a:gd name="f25" fmla="*/ f1 1 600807"/>
                <a:gd name="f26" fmla="+- f4 0 f2"/>
                <a:gd name="f27" fmla="+- f3 0 f2"/>
                <a:gd name="f28" fmla="*/ f27 1 2807368"/>
                <a:gd name="f29" fmla="*/ f26 1 600807"/>
                <a:gd name="f30" fmla="*/ f2 1 f28"/>
                <a:gd name="f31" fmla="*/ f3 1 f28"/>
                <a:gd name="f32" fmla="*/ f2 1 f29"/>
                <a:gd name="f33" fmla="*/ f4 1 f29"/>
                <a:gd name="f34" fmla="*/ f30 f24 1"/>
                <a:gd name="f35" fmla="*/ f31 f24 1"/>
                <a:gd name="f36" fmla="*/ f33 f25 1"/>
                <a:gd name="f37" fmla="*/ f32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37" r="f35" b="f36"/>
              <a:pathLst>
                <a:path w="2807368" h="600807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lnTo>
                    <a:pt x="f3" y="f13"/>
                  </a:lnTo>
                  <a:lnTo>
                    <a:pt x="f3" y="f14"/>
                  </a:lnTo>
                  <a:lnTo>
                    <a:pt x="f15" y="f16"/>
                  </a:lnTo>
                  <a:cubicBezTo>
                    <a:pt x="f17" y="f18"/>
                    <a:pt x="f19" y="f20"/>
                    <a:pt x="f21" y="f22"/>
                  </a:cubicBezTo>
                  <a:lnTo>
                    <a:pt x="f2" y="f23"/>
                  </a:ln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6" name="Google Shape;415;p40">
              <a:extLst>
                <a:ext uri="{FF2B5EF4-FFF2-40B4-BE49-F238E27FC236}">
                  <a16:creationId xmlns:a16="http://schemas.microsoft.com/office/drawing/2014/main" id="{69398107-6100-431B-DCB4-D45D771272ED}"/>
                </a:ext>
              </a:extLst>
            </p:cNvPr>
            <p:cNvSpPr/>
            <p:nvPr/>
          </p:nvSpPr>
          <p:spPr>
            <a:xfrm>
              <a:off x="0" y="5379424"/>
              <a:ext cx="2807363" cy="64980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49803"/>
                <a:gd name="f5" fmla="val 282676"/>
                <a:gd name="f6" fmla="val 70799"/>
                <a:gd name="f7" fmla="val 435964"/>
                <a:gd name="f8" fmla="val 106085"/>
                <a:gd name="f9" fmla="val 588770"/>
                <a:gd name="f10" fmla="val 137629"/>
                <a:gd name="f11" fmla="val 740881"/>
                <a:gd name="f12" fmla="val 163828"/>
                <a:gd name="f13" fmla="val 1362800"/>
                <a:gd name="f14" fmla="val 270912"/>
                <a:gd name="f15" fmla="val 2067879"/>
                <a:gd name="f16" fmla="val 253759"/>
                <a:gd name="f17" fmla="val 2706471"/>
                <a:gd name="f18" fmla="val 96397"/>
                <a:gd name="f19" fmla="val 67250"/>
                <a:gd name="f20" fmla="val 605551"/>
                <a:gd name="f21" fmla="val 2602685"/>
                <a:gd name="f22" fmla="val 629466"/>
                <a:gd name="f23" fmla="val 1684237"/>
                <a:gd name="f24" fmla="val 708219"/>
                <a:gd name="f25" fmla="val 893252"/>
                <a:gd name="f26" fmla="val 549395"/>
                <a:gd name="f27" fmla="val 105614"/>
                <a:gd name="f28" fmla="val 305882"/>
                <a:gd name="f29" fmla="val 271926"/>
                <a:gd name="f30" fmla="*/ f0 1 2807368"/>
                <a:gd name="f31" fmla="*/ f1 1 649803"/>
                <a:gd name="f32" fmla="+- f4 0 f2"/>
                <a:gd name="f33" fmla="+- f3 0 f2"/>
                <a:gd name="f34" fmla="*/ f33 1 2807368"/>
                <a:gd name="f35" fmla="*/ f32 1 649803"/>
                <a:gd name="f36" fmla="*/ f2 1 f34"/>
                <a:gd name="f37" fmla="*/ f3 1 f34"/>
                <a:gd name="f38" fmla="*/ f2 1 f35"/>
                <a:gd name="f39" fmla="*/ f4 1 f35"/>
                <a:gd name="f40" fmla="*/ f36 f30 1"/>
                <a:gd name="f41" fmla="*/ f37 f30 1"/>
                <a:gd name="f42" fmla="*/ f39 f31 1"/>
                <a:gd name="f43" fmla="*/ f3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2807368" h="649803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19"/>
                  </a:lnTo>
                  <a:lnTo>
                    <a:pt x="f3" y="f20"/>
                  </a:lnTo>
                  <a:lnTo>
                    <a:pt x="f21" y="f22"/>
                  </a:lnTo>
                  <a:cubicBezTo>
                    <a:pt x="f23" y="f24"/>
                    <a:pt x="f25" y="f26"/>
                    <a:pt x="f27" y="f28"/>
                  </a:cubicBezTo>
                  <a:lnTo>
                    <a:pt x="f2" y="f29"/>
                  </a:ln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pic>
        <p:nvPicPr>
          <p:cNvPr id="7" name="Google Shape;417;p40">
            <a:extLst>
              <a:ext uri="{FF2B5EF4-FFF2-40B4-BE49-F238E27FC236}">
                <a16:creationId xmlns:a16="http://schemas.microsoft.com/office/drawing/2014/main" id="{08503185-3C01-8129-23D7-634AD6D2A0F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513344" y="4385535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403265548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19;p41">
            <a:extLst>
              <a:ext uri="{FF2B5EF4-FFF2-40B4-BE49-F238E27FC236}">
                <a16:creationId xmlns:a16="http://schemas.microsoft.com/office/drawing/2014/main" id="{C72C1194-626C-9EAF-211B-B15DFA2DE2DA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420;p41">
            <a:extLst>
              <a:ext uri="{FF2B5EF4-FFF2-40B4-BE49-F238E27FC236}">
                <a16:creationId xmlns:a16="http://schemas.microsoft.com/office/drawing/2014/main" id="{EF9AF695-DCBD-92C7-EBBD-6388E77ABD9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421;p41">
            <a:extLst>
              <a:ext uri="{FF2B5EF4-FFF2-40B4-BE49-F238E27FC236}">
                <a16:creationId xmlns:a16="http://schemas.microsoft.com/office/drawing/2014/main" id="{D970EA0D-A886-DE40-79AC-14EFC455B53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422;p41">
            <a:extLst>
              <a:ext uri="{FF2B5EF4-FFF2-40B4-BE49-F238E27FC236}">
                <a16:creationId xmlns:a16="http://schemas.microsoft.com/office/drawing/2014/main" id="{D842E7AF-E473-1BA1-E9B9-5A0D7AFE7E47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10B11C1C-A786-407A-8123-9A57E5CF9220}" type="slidenum">
              <a:t>‹#›</a:t>
            </a:fld>
            <a:endParaRPr lang="en-US"/>
          </a:p>
        </p:txBody>
      </p:sp>
      <p:cxnSp>
        <p:nvCxnSpPr>
          <p:cNvPr id="6" name="Google Shape;423;p41">
            <a:extLst>
              <a:ext uri="{FF2B5EF4-FFF2-40B4-BE49-F238E27FC236}">
                <a16:creationId xmlns:a16="http://schemas.microsoft.com/office/drawing/2014/main" id="{915B5B24-E4E0-E08C-BDFE-F5C5C507291C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424;p41">
            <a:extLst>
              <a:ext uri="{FF2B5EF4-FFF2-40B4-BE49-F238E27FC236}">
                <a16:creationId xmlns:a16="http://schemas.microsoft.com/office/drawing/2014/main" id="{4525883E-0184-7776-A517-F8916FCFE20C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425;p41">
            <a:extLst>
              <a:ext uri="{FF2B5EF4-FFF2-40B4-BE49-F238E27FC236}">
                <a16:creationId xmlns:a16="http://schemas.microsoft.com/office/drawing/2014/main" id="{0B54C32F-078F-D3DA-FCEC-288A4CC61C2E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426;p41">
              <a:extLst>
                <a:ext uri="{FF2B5EF4-FFF2-40B4-BE49-F238E27FC236}">
                  <a16:creationId xmlns:a16="http://schemas.microsoft.com/office/drawing/2014/main" id="{FE814E41-9A73-336E-5C37-7FB03A8971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427;p41">
              <a:extLst>
                <a:ext uri="{FF2B5EF4-FFF2-40B4-BE49-F238E27FC236}">
                  <a16:creationId xmlns:a16="http://schemas.microsoft.com/office/drawing/2014/main" id="{7BC0176E-ABF2-F460-DDDB-DBFC583767C5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428;p41">
                <a:extLst>
                  <a:ext uri="{FF2B5EF4-FFF2-40B4-BE49-F238E27FC236}">
                    <a16:creationId xmlns:a16="http://schemas.microsoft.com/office/drawing/2014/main" id="{BBA25621-5599-DA9A-40BB-EF38E624D9A2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429;p41">
                <a:extLst>
                  <a:ext uri="{FF2B5EF4-FFF2-40B4-BE49-F238E27FC236}">
                    <a16:creationId xmlns:a16="http://schemas.microsoft.com/office/drawing/2014/main" id="{D120CA78-06F2-220D-247C-181E00F34C60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430;p41" descr="Open quotation mark with solid fill">
            <a:extLst>
              <a:ext uri="{FF2B5EF4-FFF2-40B4-BE49-F238E27FC236}">
                <a16:creationId xmlns:a16="http://schemas.microsoft.com/office/drawing/2014/main" id="{F7C285B4-3D09-EAE6-6951-986A107A7DE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465611083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a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19;p41">
            <a:extLst>
              <a:ext uri="{FF2B5EF4-FFF2-40B4-BE49-F238E27FC236}">
                <a16:creationId xmlns:a16="http://schemas.microsoft.com/office/drawing/2014/main" id="{81893315-31EB-E3E2-1F2C-35D751B996DA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420;p41">
            <a:extLst>
              <a:ext uri="{FF2B5EF4-FFF2-40B4-BE49-F238E27FC236}">
                <a16:creationId xmlns:a16="http://schemas.microsoft.com/office/drawing/2014/main" id="{0C040224-0424-3A94-43E9-8534F08C1A4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421;p41">
            <a:extLst>
              <a:ext uri="{FF2B5EF4-FFF2-40B4-BE49-F238E27FC236}">
                <a16:creationId xmlns:a16="http://schemas.microsoft.com/office/drawing/2014/main" id="{54D174E1-0086-23A1-F3EA-79A88F43E60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422;p41">
            <a:extLst>
              <a:ext uri="{FF2B5EF4-FFF2-40B4-BE49-F238E27FC236}">
                <a16:creationId xmlns:a16="http://schemas.microsoft.com/office/drawing/2014/main" id="{B6C25B2F-076E-83EE-A8A8-10DEA1FCD4C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125AC078-166D-4373-8827-AD4BD99A3FFF}" type="slidenum">
              <a:t>‹#›</a:t>
            </a:fld>
            <a:endParaRPr lang="en-US"/>
          </a:p>
        </p:txBody>
      </p:sp>
      <p:cxnSp>
        <p:nvCxnSpPr>
          <p:cNvPr id="6" name="Google Shape;423;p41">
            <a:extLst>
              <a:ext uri="{FF2B5EF4-FFF2-40B4-BE49-F238E27FC236}">
                <a16:creationId xmlns:a16="http://schemas.microsoft.com/office/drawing/2014/main" id="{EA125C86-4836-0C29-8D8A-505472A43319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424;p41">
            <a:extLst>
              <a:ext uri="{FF2B5EF4-FFF2-40B4-BE49-F238E27FC236}">
                <a16:creationId xmlns:a16="http://schemas.microsoft.com/office/drawing/2014/main" id="{865038AE-E425-80AE-F18A-7F3D10DC507A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425;p41">
            <a:extLst>
              <a:ext uri="{FF2B5EF4-FFF2-40B4-BE49-F238E27FC236}">
                <a16:creationId xmlns:a16="http://schemas.microsoft.com/office/drawing/2014/main" id="{F8988C19-F54B-4979-402B-2AD8A4821F8E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426;p41">
              <a:extLst>
                <a:ext uri="{FF2B5EF4-FFF2-40B4-BE49-F238E27FC236}">
                  <a16:creationId xmlns:a16="http://schemas.microsoft.com/office/drawing/2014/main" id="{A1C2CA02-2157-2E4A-3206-9B464AABB48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427;p41">
              <a:extLst>
                <a:ext uri="{FF2B5EF4-FFF2-40B4-BE49-F238E27FC236}">
                  <a16:creationId xmlns:a16="http://schemas.microsoft.com/office/drawing/2014/main" id="{FAC69C40-C9A5-A88D-E7A0-4F66F8B3A68F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428;p41">
                <a:extLst>
                  <a:ext uri="{FF2B5EF4-FFF2-40B4-BE49-F238E27FC236}">
                    <a16:creationId xmlns:a16="http://schemas.microsoft.com/office/drawing/2014/main" id="{0FA68043-A0EE-DD4B-1C54-6862E5973CE3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429;p41">
                <a:extLst>
                  <a:ext uri="{FF2B5EF4-FFF2-40B4-BE49-F238E27FC236}">
                    <a16:creationId xmlns:a16="http://schemas.microsoft.com/office/drawing/2014/main" id="{874FA871-11CD-5CB6-D05E-4EBCF206F4C7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430;p41" descr="Open quotation mark with solid fill">
            <a:extLst>
              <a:ext uri="{FF2B5EF4-FFF2-40B4-BE49-F238E27FC236}">
                <a16:creationId xmlns:a16="http://schemas.microsoft.com/office/drawing/2014/main" id="{6D915DBE-3217-C348-052C-07B8E902D974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34409257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39576393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432;p42">
            <a:extLst>
              <a:ext uri="{FF2B5EF4-FFF2-40B4-BE49-F238E27FC236}">
                <a16:creationId xmlns:a16="http://schemas.microsoft.com/office/drawing/2014/main" id="{8E2C7BC3-82A7-1A9E-DA95-43E53D982709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433;p42">
              <a:extLst>
                <a:ext uri="{FF2B5EF4-FFF2-40B4-BE49-F238E27FC236}">
                  <a16:creationId xmlns:a16="http://schemas.microsoft.com/office/drawing/2014/main" id="{B9DB4C80-ABEE-D14F-1021-527036513D4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434;p42">
              <a:extLst>
                <a:ext uri="{FF2B5EF4-FFF2-40B4-BE49-F238E27FC236}">
                  <a16:creationId xmlns:a16="http://schemas.microsoft.com/office/drawing/2014/main" id="{4861B080-D5BF-5A67-0798-41F448C3C9DE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435;p42">
                <a:extLst>
                  <a:ext uri="{FF2B5EF4-FFF2-40B4-BE49-F238E27FC236}">
                    <a16:creationId xmlns:a16="http://schemas.microsoft.com/office/drawing/2014/main" id="{ACDB28E7-B81A-7669-901D-686B5FB0542F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436;p42">
                <a:extLst>
                  <a:ext uri="{FF2B5EF4-FFF2-40B4-BE49-F238E27FC236}">
                    <a16:creationId xmlns:a16="http://schemas.microsoft.com/office/drawing/2014/main" id="{F9DD75B4-1C1C-FF9C-0003-9D0ED023ECE7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437;p42">
            <a:extLst>
              <a:ext uri="{FF2B5EF4-FFF2-40B4-BE49-F238E27FC236}">
                <a16:creationId xmlns:a16="http://schemas.microsoft.com/office/drawing/2014/main" id="{4E36D2F7-2DE2-5B94-1649-E6CBF40942FC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438;p42">
            <a:extLst>
              <a:ext uri="{FF2B5EF4-FFF2-40B4-BE49-F238E27FC236}">
                <a16:creationId xmlns:a16="http://schemas.microsoft.com/office/drawing/2014/main" id="{1848BB90-ADB7-4D25-E689-70DA62DC83C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681160"/>
            <a:ext cx="538797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9" name="Google Shape;439;p42">
            <a:extLst>
              <a:ext uri="{FF2B5EF4-FFF2-40B4-BE49-F238E27FC236}">
                <a16:creationId xmlns:a16="http://schemas.microsoft.com/office/drawing/2014/main" id="{6E0DAE83-97D6-6A8D-7845-4CDEAB89E1D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2505071"/>
            <a:ext cx="5387973" cy="3684583"/>
          </a:xfrm>
          <a:solidFill>
            <a:srgbClr val="F3F6FB"/>
          </a:solidFill>
        </p:spPr>
        <p:txBody>
          <a:bodyPr lIns="182870" tIns="0" rIns="182870" bIns="0">
            <a:normAutofit/>
          </a:bodyPr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0" name="Google Shape;440;p42">
            <a:extLst>
              <a:ext uri="{FF2B5EF4-FFF2-40B4-BE49-F238E27FC236}">
                <a16:creationId xmlns:a16="http://schemas.microsoft.com/office/drawing/2014/main" id="{581A8A96-1B61-6134-DA09-7D5B1A6E79B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681160"/>
            <a:ext cx="541020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11" name="Google Shape;441;p42">
            <a:extLst>
              <a:ext uri="{FF2B5EF4-FFF2-40B4-BE49-F238E27FC236}">
                <a16:creationId xmlns:a16="http://schemas.microsoft.com/office/drawing/2014/main" id="{19AC2249-E287-3108-B07B-5AC9403231D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2505071"/>
            <a:ext cx="5410203" cy="3684583"/>
          </a:xfrm>
          <a:solidFill>
            <a:srgbClr val="F3F6FB"/>
          </a:solidFill>
        </p:spPr>
        <p:txBody>
          <a:bodyPr lIns="182870" tIns="0" rIns="182870" bIns="0"/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2" name="Google Shape;442;p42">
            <a:extLst>
              <a:ext uri="{FF2B5EF4-FFF2-40B4-BE49-F238E27FC236}">
                <a16:creationId xmlns:a16="http://schemas.microsoft.com/office/drawing/2014/main" id="{E5D56F99-DF21-1529-4434-3ED6C44567A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915CBB42-CA98-4C57-86AC-D83EA16616AC}" type="slidenum">
              <a:t>‹#›</a:t>
            </a:fld>
            <a:endParaRPr lang="en-US"/>
          </a:p>
        </p:txBody>
      </p:sp>
      <p:cxnSp>
        <p:nvCxnSpPr>
          <p:cNvPr id="13" name="Google Shape;443;p42">
            <a:extLst>
              <a:ext uri="{FF2B5EF4-FFF2-40B4-BE49-F238E27FC236}">
                <a16:creationId xmlns:a16="http://schemas.microsoft.com/office/drawing/2014/main" id="{560761F4-79BC-28EC-84BC-9F34D13AB69F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4" name="Google Shape;444;p42">
            <a:extLst>
              <a:ext uri="{FF2B5EF4-FFF2-40B4-BE49-F238E27FC236}">
                <a16:creationId xmlns:a16="http://schemas.microsoft.com/office/drawing/2014/main" id="{666A56D7-0214-2DF6-8902-E2E46E56AE15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911368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446;p43">
            <a:extLst>
              <a:ext uri="{FF2B5EF4-FFF2-40B4-BE49-F238E27FC236}">
                <a16:creationId xmlns:a16="http://schemas.microsoft.com/office/drawing/2014/main" id="{E5599CBE-8FD6-527D-A706-DDE7BBACAB50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447;p43">
              <a:extLst>
                <a:ext uri="{FF2B5EF4-FFF2-40B4-BE49-F238E27FC236}">
                  <a16:creationId xmlns:a16="http://schemas.microsoft.com/office/drawing/2014/main" id="{FD094947-C55D-952C-1044-A9515DD6E6C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448;p43">
              <a:extLst>
                <a:ext uri="{FF2B5EF4-FFF2-40B4-BE49-F238E27FC236}">
                  <a16:creationId xmlns:a16="http://schemas.microsoft.com/office/drawing/2014/main" id="{067D2AAE-A949-3C10-5B36-783C6B83934E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449;p43">
                <a:extLst>
                  <a:ext uri="{FF2B5EF4-FFF2-40B4-BE49-F238E27FC236}">
                    <a16:creationId xmlns:a16="http://schemas.microsoft.com/office/drawing/2014/main" id="{703A069E-E698-79D9-B410-3B565147F57A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450;p43">
                <a:extLst>
                  <a:ext uri="{FF2B5EF4-FFF2-40B4-BE49-F238E27FC236}">
                    <a16:creationId xmlns:a16="http://schemas.microsoft.com/office/drawing/2014/main" id="{4C58920D-E545-8E07-39B9-81A28590C0EA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451;p43">
            <a:extLst>
              <a:ext uri="{FF2B5EF4-FFF2-40B4-BE49-F238E27FC236}">
                <a16:creationId xmlns:a16="http://schemas.microsoft.com/office/drawing/2014/main" id="{32FC3EB4-0364-10CC-8FF8-CBA753D19FD4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452;p43">
            <a:extLst>
              <a:ext uri="{FF2B5EF4-FFF2-40B4-BE49-F238E27FC236}">
                <a16:creationId xmlns:a16="http://schemas.microsoft.com/office/drawing/2014/main" id="{159C7C0C-AEDD-0917-857E-77B2AD7C075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5F667F58-8845-4D08-8360-5C8A110039E5}" type="slidenum">
              <a:t>‹#›</a:t>
            </a:fld>
            <a:endParaRPr lang="en-US"/>
          </a:p>
        </p:txBody>
      </p:sp>
      <p:cxnSp>
        <p:nvCxnSpPr>
          <p:cNvPr id="9" name="Google Shape;453;p43">
            <a:extLst>
              <a:ext uri="{FF2B5EF4-FFF2-40B4-BE49-F238E27FC236}">
                <a16:creationId xmlns:a16="http://schemas.microsoft.com/office/drawing/2014/main" id="{490FA53E-747B-4352-1BC3-263730731EE4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0" name="Google Shape;454;p43">
            <a:extLst>
              <a:ext uri="{FF2B5EF4-FFF2-40B4-BE49-F238E27FC236}">
                <a16:creationId xmlns:a16="http://schemas.microsoft.com/office/drawing/2014/main" id="{8275DA51-2D71-B09A-1AAE-0FFB3F6A10D8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493489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56;p44">
            <a:extLst>
              <a:ext uri="{FF2B5EF4-FFF2-40B4-BE49-F238E27FC236}">
                <a16:creationId xmlns:a16="http://schemas.microsoft.com/office/drawing/2014/main" id="{599397B2-A4AA-6323-A912-3CB93E8C9767}"/>
              </a:ext>
            </a:extLst>
          </p:cNvPr>
          <p:cNvSpPr/>
          <p:nvPr/>
        </p:nvSpPr>
        <p:spPr>
          <a:xfrm>
            <a:off x="902366" y="1294415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457;p44">
            <a:extLst>
              <a:ext uri="{FF2B5EF4-FFF2-40B4-BE49-F238E27FC236}">
                <a16:creationId xmlns:a16="http://schemas.microsoft.com/office/drawing/2014/main" id="{AC754131-1026-5E31-D832-B4F8494A71F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1561328"/>
            <a:ext cx="5194432" cy="1826340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458;p44">
            <a:extLst>
              <a:ext uri="{FF2B5EF4-FFF2-40B4-BE49-F238E27FC236}">
                <a16:creationId xmlns:a16="http://schemas.microsoft.com/office/drawing/2014/main" id="{AB4DFA15-97DF-2A64-E0AA-F53D91F70BA9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766861"/>
            <a:ext cx="5194432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460;p44">
            <a:extLst>
              <a:ext uri="{FF2B5EF4-FFF2-40B4-BE49-F238E27FC236}">
                <a16:creationId xmlns:a16="http://schemas.microsoft.com/office/drawing/2014/main" id="{1CD0133F-D496-5247-95AF-76EEC4FEF597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6" name="Google Shape;461;p44">
              <a:extLst>
                <a:ext uri="{FF2B5EF4-FFF2-40B4-BE49-F238E27FC236}">
                  <a16:creationId xmlns:a16="http://schemas.microsoft.com/office/drawing/2014/main" id="{5C1585C3-04D0-C497-9C41-CA79B09FAB26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7" name="Google Shape;462;p44">
              <a:extLst>
                <a:ext uri="{FF2B5EF4-FFF2-40B4-BE49-F238E27FC236}">
                  <a16:creationId xmlns:a16="http://schemas.microsoft.com/office/drawing/2014/main" id="{49E7EDDE-E723-20C0-C000-39D24DDFA84B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8" name="Google Shape;463;p44">
              <a:extLst>
                <a:ext uri="{FF2B5EF4-FFF2-40B4-BE49-F238E27FC236}">
                  <a16:creationId xmlns:a16="http://schemas.microsoft.com/office/drawing/2014/main" id="{980347F6-F745-3C06-6BFA-90B32822D1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936868876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465;p45">
            <a:extLst>
              <a:ext uri="{FF2B5EF4-FFF2-40B4-BE49-F238E27FC236}">
                <a16:creationId xmlns:a16="http://schemas.microsoft.com/office/drawing/2014/main" id="{CF36F252-F732-102D-0E19-18A16BB329B9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3" name="Google Shape;466;p45">
              <a:extLst>
                <a:ext uri="{FF2B5EF4-FFF2-40B4-BE49-F238E27FC236}">
                  <a16:creationId xmlns:a16="http://schemas.microsoft.com/office/drawing/2014/main" id="{B225968C-04FA-8BB0-52B7-5DD1B613A996}"/>
                </a:ext>
              </a:extLst>
            </p:cNvPr>
            <p:cNvSpPr/>
            <p:nvPr/>
          </p:nvSpPr>
          <p:spPr>
            <a:xfrm>
              <a:off x="0" y="5100267"/>
              <a:ext cx="7111371" cy="175773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111369"/>
                <a:gd name="f4" fmla="val 1757730"/>
                <a:gd name="f5" fmla="val 772954"/>
                <a:gd name="f6" fmla="val 2778"/>
                <a:gd name="f7" fmla="val 1769038"/>
                <a:gd name="f8" fmla="val 30799"/>
                <a:gd name="f9" fmla="val 2696750"/>
                <a:gd name="f10" fmla="val 267531"/>
                <a:gd name="f11" fmla="val 3590934"/>
                <a:gd name="f12" fmla="val 566046"/>
                <a:gd name="f13" fmla="val 4684008"/>
                <a:gd name="f14" fmla="val 930921"/>
                <a:gd name="f15" fmla="val 5690778"/>
                <a:gd name="f16" fmla="val 1324625"/>
                <a:gd name="f17" fmla="val 6700767"/>
                <a:gd name="f18" fmla="val 1636882"/>
                <a:gd name="f19" fmla="val 25690"/>
                <a:gd name="f20" fmla="val 2197"/>
                <a:gd name="f21" fmla="val 25414"/>
                <a:gd name="f22" fmla="val 114653"/>
                <a:gd name="f23" fmla="val 14905"/>
                <a:gd name="f24" fmla="val 227801"/>
                <a:gd name="f25" fmla="val 7857"/>
                <a:gd name="f26" fmla="val 341773"/>
                <a:gd name="f27" fmla="val 3976"/>
                <a:gd name="f28" fmla="val 486963"/>
                <a:gd name="f29" fmla="+- 0 0 968"/>
                <a:gd name="f30" fmla="val 630656"/>
                <a:gd name="f31" fmla="+- 0 0 1224"/>
                <a:gd name="f32" fmla="*/ f0 1 7111369"/>
                <a:gd name="f33" fmla="*/ f1 1 1757730"/>
                <a:gd name="f34" fmla="+- f4 0 f2"/>
                <a:gd name="f35" fmla="+- f3 0 f2"/>
                <a:gd name="f36" fmla="*/ f35 1 7111369"/>
                <a:gd name="f37" fmla="*/ f34 1 1757730"/>
                <a:gd name="f38" fmla="*/ f2 1 f36"/>
                <a:gd name="f39" fmla="*/ f3 1 f36"/>
                <a:gd name="f40" fmla="*/ f2 1 f37"/>
                <a:gd name="f41" fmla="*/ f4 1 f37"/>
                <a:gd name="f42" fmla="*/ f38 f32 1"/>
                <a:gd name="f43" fmla="*/ f39 f32 1"/>
                <a:gd name="f44" fmla="*/ f41 f33 1"/>
                <a:gd name="f45" fmla="*/ f40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2" t="f45" r="f43" b="f44"/>
              <a:pathLst>
                <a:path w="7111369" h="1757730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4"/>
                  </a:lnTo>
                  <a:lnTo>
                    <a:pt x="f2" y="f4"/>
                  </a:lnTo>
                  <a:lnTo>
                    <a:pt x="f2" y="f19"/>
                  </a:lnTo>
                  <a:lnTo>
                    <a:pt x="f20" y="f21"/>
                  </a:ln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5" y="f6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467;p45">
              <a:extLst>
                <a:ext uri="{FF2B5EF4-FFF2-40B4-BE49-F238E27FC236}">
                  <a16:creationId xmlns:a16="http://schemas.microsoft.com/office/drawing/2014/main" id="{736FB568-7452-3ED5-F6AD-5323CC93FE9A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5" name="Google Shape;468;p45">
              <a:extLst>
                <a:ext uri="{FF2B5EF4-FFF2-40B4-BE49-F238E27FC236}">
                  <a16:creationId xmlns:a16="http://schemas.microsoft.com/office/drawing/2014/main" id="{041335FF-9DE6-53B9-9ECD-A92AF98F4ABA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469;p45">
              <a:extLst>
                <a:ext uri="{FF2B5EF4-FFF2-40B4-BE49-F238E27FC236}">
                  <a16:creationId xmlns:a16="http://schemas.microsoft.com/office/drawing/2014/main" id="{5DA0F163-B9CE-0AB9-08CA-BDF84FDBA1C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7" name="Google Shape;470;p45">
            <a:extLst>
              <a:ext uri="{FF2B5EF4-FFF2-40B4-BE49-F238E27FC236}">
                <a16:creationId xmlns:a16="http://schemas.microsoft.com/office/drawing/2014/main" id="{1360D7BC-3DFF-D8B6-F75A-B6149011FDC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701747"/>
            <a:ext cx="9365376" cy="2014679"/>
          </a:xfrm>
        </p:spPr>
        <p:txBody>
          <a:bodyPr anchor="b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471;p45">
            <a:extLst>
              <a:ext uri="{FF2B5EF4-FFF2-40B4-BE49-F238E27FC236}">
                <a16:creationId xmlns:a16="http://schemas.microsoft.com/office/drawing/2014/main" id="{2B8B8969-2974-564F-3AF9-9EEFC77DAB24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081637"/>
            <a:ext cx="9365376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225636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73;p46">
            <a:extLst>
              <a:ext uri="{FF2B5EF4-FFF2-40B4-BE49-F238E27FC236}">
                <a16:creationId xmlns:a16="http://schemas.microsoft.com/office/drawing/2014/main" id="{8E93EDEB-8787-8453-9850-ADA5C56DA8E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57200" y="1146255"/>
            <a:ext cx="2350172" cy="2971800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cxnSp>
        <p:nvCxnSpPr>
          <p:cNvPr id="3" name="Google Shape;474;p46">
            <a:extLst>
              <a:ext uri="{FF2B5EF4-FFF2-40B4-BE49-F238E27FC236}">
                <a16:creationId xmlns:a16="http://schemas.microsoft.com/office/drawing/2014/main" id="{86229423-EF09-9A2A-3C77-522EDC1889B8}"/>
              </a:ext>
            </a:extLst>
          </p:cNvPr>
          <p:cNvCxnSpPr/>
          <p:nvPr/>
        </p:nvCxnSpPr>
        <p:spPr>
          <a:xfrm>
            <a:off x="457200" y="947985"/>
            <a:ext cx="2350163" cy="0"/>
          </a:xfrm>
          <a:prstGeom prst="straightConnector1">
            <a:avLst/>
          </a:prstGeom>
          <a:noFill/>
          <a:ln w="31747" cap="flat">
            <a:solidFill>
              <a:srgbClr val="F58366"/>
            </a:solidFill>
            <a:prstDash val="solid"/>
            <a:miter/>
          </a:ln>
        </p:spPr>
      </p:cxnSp>
      <p:grpSp>
        <p:nvGrpSpPr>
          <p:cNvPr id="4" name="Google Shape;475;p46">
            <a:extLst>
              <a:ext uri="{FF2B5EF4-FFF2-40B4-BE49-F238E27FC236}">
                <a16:creationId xmlns:a16="http://schemas.microsoft.com/office/drawing/2014/main" id="{A778E583-9F0F-AEFF-88BC-FDDBCDD8DD86}"/>
              </a:ext>
            </a:extLst>
          </p:cNvPr>
          <p:cNvGrpSpPr/>
          <p:nvPr/>
        </p:nvGrpSpPr>
        <p:grpSpPr>
          <a:xfrm>
            <a:off x="0" y="5379424"/>
            <a:ext cx="2807363" cy="753895"/>
            <a:chOff x="0" y="5379424"/>
            <a:chExt cx="2807363" cy="753895"/>
          </a:xfrm>
        </p:grpSpPr>
        <p:sp>
          <p:nvSpPr>
            <p:cNvPr id="5" name="Google Shape;476;p46">
              <a:extLst>
                <a:ext uri="{FF2B5EF4-FFF2-40B4-BE49-F238E27FC236}">
                  <a16:creationId xmlns:a16="http://schemas.microsoft.com/office/drawing/2014/main" id="{143AEEA2-93C8-AE21-F5B2-D9D7579C7DCE}"/>
                </a:ext>
              </a:extLst>
            </p:cNvPr>
            <p:cNvSpPr/>
            <p:nvPr/>
          </p:nvSpPr>
          <p:spPr>
            <a:xfrm>
              <a:off x="0" y="5532513"/>
              <a:ext cx="2807363" cy="60080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00807"/>
                <a:gd name="f5" fmla="val 429971"/>
                <a:gd name="f6" fmla="val 123998"/>
                <a:gd name="f7" fmla="val 1184765"/>
                <a:gd name="f8" fmla="val 325331"/>
                <a:gd name="f9" fmla="val 2014184"/>
                <a:gd name="f10" fmla="val 392492"/>
                <a:gd name="f11" fmla="val 2790212"/>
                <a:gd name="f12" fmla="val 235402"/>
                <a:gd name="f13" fmla="val 231522"/>
                <a:gd name="f14" fmla="val 566106"/>
                <a:gd name="f15" fmla="val 2593885"/>
                <a:gd name="f16" fmla="val 587498"/>
                <a:gd name="f17" fmla="val 1673646"/>
                <a:gd name="f18" fmla="val 651184"/>
                <a:gd name="f19" fmla="val 884869"/>
                <a:gd name="f20" fmla="val 479260"/>
                <a:gd name="f21" fmla="val 100844"/>
                <a:gd name="f22" fmla="val 222653"/>
                <a:gd name="f23" fmla="val 188389"/>
                <a:gd name="f24" fmla="*/ f0 1 2807368"/>
                <a:gd name="f25" fmla="*/ f1 1 600807"/>
                <a:gd name="f26" fmla="+- f4 0 f2"/>
                <a:gd name="f27" fmla="+- f3 0 f2"/>
                <a:gd name="f28" fmla="*/ f27 1 2807368"/>
                <a:gd name="f29" fmla="*/ f26 1 600807"/>
                <a:gd name="f30" fmla="*/ f2 1 f28"/>
                <a:gd name="f31" fmla="*/ f3 1 f28"/>
                <a:gd name="f32" fmla="*/ f2 1 f29"/>
                <a:gd name="f33" fmla="*/ f4 1 f29"/>
                <a:gd name="f34" fmla="*/ f30 f24 1"/>
                <a:gd name="f35" fmla="*/ f31 f24 1"/>
                <a:gd name="f36" fmla="*/ f33 f25 1"/>
                <a:gd name="f37" fmla="*/ f32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37" r="f35" b="f36"/>
              <a:pathLst>
                <a:path w="2807368" h="600807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lnTo>
                    <a:pt x="f3" y="f13"/>
                  </a:lnTo>
                  <a:lnTo>
                    <a:pt x="f3" y="f14"/>
                  </a:lnTo>
                  <a:lnTo>
                    <a:pt x="f15" y="f16"/>
                  </a:lnTo>
                  <a:cubicBezTo>
                    <a:pt x="f17" y="f18"/>
                    <a:pt x="f19" y="f20"/>
                    <a:pt x="f21" y="f22"/>
                  </a:cubicBezTo>
                  <a:lnTo>
                    <a:pt x="f2" y="f23"/>
                  </a:ln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6" name="Google Shape;477;p46">
              <a:extLst>
                <a:ext uri="{FF2B5EF4-FFF2-40B4-BE49-F238E27FC236}">
                  <a16:creationId xmlns:a16="http://schemas.microsoft.com/office/drawing/2014/main" id="{B80E03F2-7754-9C6F-9897-9F4EC4FCCF75}"/>
                </a:ext>
              </a:extLst>
            </p:cNvPr>
            <p:cNvSpPr/>
            <p:nvPr/>
          </p:nvSpPr>
          <p:spPr>
            <a:xfrm>
              <a:off x="0" y="5379424"/>
              <a:ext cx="2807363" cy="64980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49803"/>
                <a:gd name="f5" fmla="val 282676"/>
                <a:gd name="f6" fmla="val 70799"/>
                <a:gd name="f7" fmla="val 435964"/>
                <a:gd name="f8" fmla="val 106085"/>
                <a:gd name="f9" fmla="val 588770"/>
                <a:gd name="f10" fmla="val 137629"/>
                <a:gd name="f11" fmla="val 740881"/>
                <a:gd name="f12" fmla="val 163828"/>
                <a:gd name="f13" fmla="val 1362800"/>
                <a:gd name="f14" fmla="val 270912"/>
                <a:gd name="f15" fmla="val 2067879"/>
                <a:gd name="f16" fmla="val 253759"/>
                <a:gd name="f17" fmla="val 2706471"/>
                <a:gd name="f18" fmla="val 96397"/>
                <a:gd name="f19" fmla="val 67250"/>
                <a:gd name="f20" fmla="val 605551"/>
                <a:gd name="f21" fmla="val 2602685"/>
                <a:gd name="f22" fmla="val 629466"/>
                <a:gd name="f23" fmla="val 1684237"/>
                <a:gd name="f24" fmla="val 708219"/>
                <a:gd name="f25" fmla="val 893252"/>
                <a:gd name="f26" fmla="val 549395"/>
                <a:gd name="f27" fmla="val 105614"/>
                <a:gd name="f28" fmla="val 305882"/>
                <a:gd name="f29" fmla="val 271926"/>
                <a:gd name="f30" fmla="*/ f0 1 2807368"/>
                <a:gd name="f31" fmla="*/ f1 1 649803"/>
                <a:gd name="f32" fmla="+- f4 0 f2"/>
                <a:gd name="f33" fmla="+- f3 0 f2"/>
                <a:gd name="f34" fmla="*/ f33 1 2807368"/>
                <a:gd name="f35" fmla="*/ f32 1 649803"/>
                <a:gd name="f36" fmla="*/ f2 1 f34"/>
                <a:gd name="f37" fmla="*/ f3 1 f34"/>
                <a:gd name="f38" fmla="*/ f2 1 f35"/>
                <a:gd name="f39" fmla="*/ f4 1 f35"/>
                <a:gd name="f40" fmla="*/ f36 f30 1"/>
                <a:gd name="f41" fmla="*/ f37 f30 1"/>
                <a:gd name="f42" fmla="*/ f39 f31 1"/>
                <a:gd name="f43" fmla="*/ f3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2807368" h="649803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19"/>
                  </a:lnTo>
                  <a:lnTo>
                    <a:pt x="f3" y="f20"/>
                  </a:lnTo>
                  <a:lnTo>
                    <a:pt x="f21" y="f22"/>
                  </a:lnTo>
                  <a:cubicBezTo>
                    <a:pt x="f23" y="f24"/>
                    <a:pt x="f25" y="f26"/>
                    <a:pt x="f27" y="f28"/>
                  </a:cubicBezTo>
                  <a:lnTo>
                    <a:pt x="f2" y="f29"/>
                  </a:ln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pic>
        <p:nvPicPr>
          <p:cNvPr id="7" name="Google Shape;479;p46">
            <a:extLst>
              <a:ext uri="{FF2B5EF4-FFF2-40B4-BE49-F238E27FC236}">
                <a16:creationId xmlns:a16="http://schemas.microsoft.com/office/drawing/2014/main" id="{25783D60-158A-26FD-E2B5-A117354BE95F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513344" y="4385535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813268439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81;p47">
            <a:extLst>
              <a:ext uri="{FF2B5EF4-FFF2-40B4-BE49-F238E27FC236}">
                <a16:creationId xmlns:a16="http://schemas.microsoft.com/office/drawing/2014/main" id="{949DA62B-6923-0C58-7733-E976846E8838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482;p47">
            <a:extLst>
              <a:ext uri="{FF2B5EF4-FFF2-40B4-BE49-F238E27FC236}">
                <a16:creationId xmlns:a16="http://schemas.microsoft.com/office/drawing/2014/main" id="{A4BC01A3-06F5-9BDF-C45B-52D8A06E81C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483;p47">
            <a:extLst>
              <a:ext uri="{FF2B5EF4-FFF2-40B4-BE49-F238E27FC236}">
                <a16:creationId xmlns:a16="http://schemas.microsoft.com/office/drawing/2014/main" id="{0762F826-14EA-2F62-0A7B-72F9DBE3B4F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484;p47">
            <a:extLst>
              <a:ext uri="{FF2B5EF4-FFF2-40B4-BE49-F238E27FC236}">
                <a16:creationId xmlns:a16="http://schemas.microsoft.com/office/drawing/2014/main" id="{E53029DE-EA85-822A-F136-62E29CBEE8AA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324F81E4-C5FF-4B31-AD75-174CE7F062FA}" type="slidenum">
              <a:t>‹#›</a:t>
            </a:fld>
            <a:endParaRPr lang="en-US"/>
          </a:p>
        </p:txBody>
      </p:sp>
      <p:cxnSp>
        <p:nvCxnSpPr>
          <p:cNvPr id="6" name="Google Shape;485;p47">
            <a:extLst>
              <a:ext uri="{FF2B5EF4-FFF2-40B4-BE49-F238E27FC236}">
                <a16:creationId xmlns:a16="http://schemas.microsoft.com/office/drawing/2014/main" id="{BEC5AE1D-5509-194E-82C5-F2D69D6C3005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486;p47">
            <a:extLst>
              <a:ext uri="{FF2B5EF4-FFF2-40B4-BE49-F238E27FC236}">
                <a16:creationId xmlns:a16="http://schemas.microsoft.com/office/drawing/2014/main" id="{6D322215-1D2B-D866-AA14-8FA9F6FC359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487;p47">
            <a:extLst>
              <a:ext uri="{FF2B5EF4-FFF2-40B4-BE49-F238E27FC236}">
                <a16:creationId xmlns:a16="http://schemas.microsoft.com/office/drawing/2014/main" id="{28597602-D0ED-44EE-57CA-9959B2E6743C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488;p47">
              <a:extLst>
                <a:ext uri="{FF2B5EF4-FFF2-40B4-BE49-F238E27FC236}">
                  <a16:creationId xmlns:a16="http://schemas.microsoft.com/office/drawing/2014/main" id="{0A3E515A-BED0-0909-F4CB-F8594A9743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489;p47">
              <a:extLst>
                <a:ext uri="{FF2B5EF4-FFF2-40B4-BE49-F238E27FC236}">
                  <a16:creationId xmlns:a16="http://schemas.microsoft.com/office/drawing/2014/main" id="{887A796B-1216-F9DD-9567-D5C47ABBBD11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490;p47">
                <a:extLst>
                  <a:ext uri="{FF2B5EF4-FFF2-40B4-BE49-F238E27FC236}">
                    <a16:creationId xmlns:a16="http://schemas.microsoft.com/office/drawing/2014/main" id="{21C05160-B108-6340-F6B8-7ACF8E9700ED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491;p47">
                <a:extLst>
                  <a:ext uri="{FF2B5EF4-FFF2-40B4-BE49-F238E27FC236}">
                    <a16:creationId xmlns:a16="http://schemas.microsoft.com/office/drawing/2014/main" id="{E6D422BC-0726-BC1B-7E7B-C6B318DDD606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492;p47" descr="Open quotation mark with solid fill">
            <a:extLst>
              <a:ext uri="{FF2B5EF4-FFF2-40B4-BE49-F238E27FC236}">
                <a16:creationId xmlns:a16="http://schemas.microsoft.com/office/drawing/2014/main" id="{828EAA01-D95B-6C8F-C5DF-A08017D5C59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70831676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94;p48">
            <a:extLst>
              <a:ext uri="{FF2B5EF4-FFF2-40B4-BE49-F238E27FC236}">
                <a16:creationId xmlns:a16="http://schemas.microsoft.com/office/drawing/2014/main" id="{FB5F0ADA-CBCF-F4EA-3887-9CBD596BB1E4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495;p48">
            <a:extLst>
              <a:ext uri="{FF2B5EF4-FFF2-40B4-BE49-F238E27FC236}">
                <a16:creationId xmlns:a16="http://schemas.microsoft.com/office/drawing/2014/main" id="{1C17E877-BED9-9FE7-5927-EBB1CC71A1F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496;p48">
            <a:extLst>
              <a:ext uri="{FF2B5EF4-FFF2-40B4-BE49-F238E27FC236}">
                <a16:creationId xmlns:a16="http://schemas.microsoft.com/office/drawing/2014/main" id="{DD839336-F1ED-F15D-5E94-E3A4508C9DB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497;p48">
            <a:extLst>
              <a:ext uri="{FF2B5EF4-FFF2-40B4-BE49-F238E27FC236}">
                <a16:creationId xmlns:a16="http://schemas.microsoft.com/office/drawing/2014/main" id="{8EAF66C2-3BEB-3F7A-A3D0-440DC4FA8E60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01CE3A5C-C4A7-4B6E-A1CC-6F6E9B351F16}" type="slidenum">
              <a:t>‹#›</a:t>
            </a:fld>
            <a:endParaRPr lang="en-US"/>
          </a:p>
        </p:txBody>
      </p:sp>
      <p:cxnSp>
        <p:nvCxnSpPr>
          <p:cNvPr id="6" name="Google Shape;498;p48">
            <a:extLst>
              <a:ext uri="{FF2B5EF4-FFF2-40B4-BE49-F238E27FC236}">
                <a16:creationId xmlns:a16="http://schemas.microsoft.com/office/drawing/2014/main" id="{507CCE2D-C3C5-7B0C-4D5B-28350AA67E40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499;p48">
            <a:extLst>
              <a:ext uri="{FF2B5EF4-FFF2-40B4-BE49-F238E27FC236}">
                <a16:creationId xmlns:a16="http://schemas.microsoft.com/office/drawing/2014/main" id="{569191E9-92AD-8313-E746-5C7D5A2248D0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500;p48">
            <a:extLst>
              <a:ext uri="{FF2B5EF4-FFF2-40B4-BE49-F238E27FC236}">
                <a16:creationId xmlns:a16="http://schemas.microsoft.com/office/drawing/2014/main" id="{43E29C7D-CC62-DB70-C55F-7CC85D57EF6C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501;p48">
              <a:extLst>
                <a:ext uri="{FF2B5EF4-FFF2-40B4-BE49-F238E27FC236}">
                  <a16:creationId xmlns:a16="http://schemas.microsoft.com/office/drawing/2014/main" id="{0BA1F44D-91F2-F3F5-18D6-144BA7B3A3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502;p48">
              <a:extLst>
                <a:ext uri="{FF2B5EF4-FFF2-40B4-BE49-F238E27FC236}">
                  <a16:creationId xmlns:a16="http://schemas.microsoft.com/office/drawing/2014/main" id="{8C73C069-F834-7A97-A687-81B18FD056F7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503;p48">
                <a:extLst>
                  <a:ext uri="{FF2B5EF4-FFF2-40B4-BE49-F238E27FC236}">
                    <a16:creationId xmlns:a16="http://schemas.microsoft.com/office/drawing/2014/main" id="{B63F25C0-FA17-EC8B-5270-64373DC58EB3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504;p48">
                <a:extLst>
                  <a:ext uri="{FF2B5EF4-FFF2-40B4-BE49-F238E27FC236}">
                    <a16:creationId xmlns:a16="http://schemas.microsoft.com/office/drawing/2014/main" id="{78372546-9D71-C0A9-39F0-BDE1FA2D1F36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505;p48" descr="Open quotation mark with solid fill">
            <a:extLst>
              <a:ext uri="{FF2B5EF4-FFF2-40B4-BE49-F238E27FC236}">
                <a16:creationId xmlns:a16="http://schemas.microsoft.com/office/drawing/2014/main" id="{E8FFE3BF-5D11-9265-5D0A-A783C1EF619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224076499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507;p49">
            <a:extLst>
              <a:ext uri="{FF2B5EF4-FFF2-40B4-BE49-F238E27FC236}">
                <a16:creationId xmlns:a16="http://schemas.microsoft.com/office/drawing/2014/main" id="{01F81901-FB64-0760-5EFC-68E434DC2BD7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3" name="Google Shape;508;p49">
            <a:extLst>
              <a:ext uri="{FF2B5EF4-FFF2-40B4-BE49-F238E27FC236}">
                <a16:creationId xmlns:a16="http://schemas.microsoft.com/office/drawing/2014/main" id="{78C030D9-F13B-F381-8901-1D255973E25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grpSp>
        <p:nvGrpSpPr>
          <p:cNvPr id="4" name="Google Shape;509;p49">
            <a:extLst>
              <a:ext uri="{FF2B5EF4-FFF2-40B4-BE49-F238E27FC236}">
                <a16:creationId xmlns:a16="http://schemas.microsoft.com/office/drawing/2014/main" id="{0D81C863-BF4B-79C1-A461-53C91B2B1292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5" name="Google Shape;510;p49">
              <a:extLst>
                <a:ext uri="{FF2B5EF4-FFF2-40B4-BE49-F238E27FC236}">
                  <a16:creationId xmlns:a16="http://schemas.microsoft.com/office/drawing/2014/main" id="{00C5582D-4EB1-2B46-EC18-948C49E0F0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6" name="Google Shape;511;p49">
              <a:extLst>
                <a:ext uri="{FF2B5EF4-FFF2-40B4-BE49-F238E27FC236}">
                  <a16:creationId xmlns:a16="http://schemas.microsoft.com/office/drawing/2014/main" id="{F806C743-BBD4-2F67-4F5E-5BBA2828891F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7" name="Google Shape;512;p49">
                <a:extLst>
                  <a:ext uri="{FF2B5EF4-FFF2-40B4-BE49-F238E27FC236}">
                    <a16:creationId xmlns:a16="http://schemas.microsoft.com/office/drawing/2014/main" id="{72B8E3B8-C0BD-C18C-8E77-717FDD9F2221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8" name="Google Shape;513;p49">
                <a:extLst>
                  <a:ext uri="{FF2B5EF4-FFF2-40B4-BE49-F238E27FC236}">
                    <a16:creationId xmlns:a16="http://schemas.microsoft.com/office/drawing/2014/main" id="{E92EABBD-59F2-BB50-5950-93ACA60EE6D1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9" name="Google Shape;514;p49">
            <a:extLst>
              <a:ext uri="{FF2B5EF4-FFF2-40B4-BE49-F238E27FC236}">
                <a16:creationId xmlns:a16="http://schemas.microsoft.com/office/drawing/2014/main" id="{5771C0C4-C5BE-9004-D0CE-406845A60F8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Google Shape;515;p49">
            <a:extLst>
              <a:ext uri="{FF2B5EF4-FFF2-40B4-BE49-F238E27FC236}">
                <a16:creationId xmlns:a16="http://schemas.microsoft.com/office/drawing/2014/main" id="{18B0DE4B-1E7C-F6ED-186B-256A8F0572B4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8839193" y="6356351"/>
            <a:ext cx="2743200" cy="365129"/>
          </a:xfrm>
        </p:spPr>
        <p:txBody>
          <a:bodyPr/>
          <a:lstStyle>
            <a:lvl1pPr>
              <a:defRPr/>
            </a:lvl1pPr>
          </a:lstStyle>
          <a:p>
            <a:pPr lvl="0"/>
            <a:fld id="{DD2375C8-3B5D-4181-B751-6AAB4135175A}" type="slidenum">
              <a:t>‹#›</a:t>
            </a:fld>
            <a:endParaRPr lang="en-US"/>
          </a:p>
        </p:txBody>
      </p:sp>
      <p:cxnSp>
        <p:nvCxnSpPr>
          <p:cNvPr id="11" name="Google Shape;516;p49">
            <a:extLst>
              <a:ext uri="{FF2B5EF4-FFF2-40B4-BE49-F238E27FC236}">
                <a16:creationId xmlns:a16="http://schemas.microsoft.com/office/drawing/2014/main" id="{E88E84FD-CAFA-FD9D-4DB9-EAA5020E2689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2" name="Google Shape;517;p49">
            <a:extLst>
              <a:ext uri="{FF2B5EF4-FFF2-40B4-BE49-F238E27FC236}">
                <a16:creationId xmlns:a16="http://schemas.microsoft.com/office/drawing/2014/main" id="{34263820-5099-BFDD-0463-7C431160A610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7172312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519;p50">
            <a:extLst>
              <a:ext uri="{FF2B5EF4-FFF2-40B4-BE49-F238E27FC236}">
                <a16:creationId xmlns:a16="http://schemas.microsoft.com/office/drawing/2014/main" id="{2541F701-C9EA-6DAA-EDF5-E322D1D7E4C2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520;p50">
              <a:extLst>
                <a:ext uri="{FF2B5EF4-FFF2-40B4-BE49-F238E27FC236}">
                  <a16:creationId xmlns:a16="http://schemas.microsoft.com/office/drawing/2014/main" id="{E6DE3375-5A22-38D7-5AE5-7D9616BE702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521;p50">
              <a:extLst>
                <a:ext uri="{FF2B5EF4-FFF2-40B4-BE49-F238E27FC236}">
                  <a16:creationId xmlns:a16="http://schemas.microsoft.com/office/drawing/2014/main" id="{6303AB87-0651-41D2-0C36-C6CFC89A14A2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522;p50">
                <a:extLst>
                  <a:ext uri="{FF2B5EF4-FFF2-40B4-BE49-F238E27FC236}">
                    <a16:creationId xmlns:a16="http://schemas.microsoft.com/office/drawing/2014/main" id="{A6B26B15-2C5D-4067-40EB-B556B46FB2E6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523;p50">
                <a:extLst>
                  <a:ext uri="{FF2B5EF4-FFF2-40B4-BE49-F238E27FC236}">
                    <a16:creationId xmlns:a16="http://schemas.microsoft.com/office/drawing/2014/main" id="{0D921AA3-8BAB-AA8A-C0EA-CC2193BA3858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524;p50">
            <a:extLst>
              <a:ext uri="{FF2B5EF4-FFF2-40B4-BE49-F238E27FC236}">
                <a16:creationId xmlns:a16="http://schemas.microsoft.com/office/drawing/2014/main" id="{F527197B-1EFE-A439-10BF-EB7557AEC593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525;p50">
            <a:extLst>
              <a:ext uri="{FF2B5EF4-FFF2-40B4-BE49-F238E27FC236}">
                <a16:creationId xmlns:a16="http://schemas.microsoft.com/office/drawing/2014/main" id="{41EBA18D-B3EB-32BA-FA5A-948A139FD61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681160"/>
            <a:ext cx="538797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9" name="Google Shape;526;p50">
            <a:extLst>
              <a:ext uri="{FF2B5EF4-FFF2-40B4-BE49-F238E27FC236}">
                <a16:creationId xmlns:a16="http://schemas.microsoft.com/office/drawing/2014/main" id="{3B23D98F-D80D-974B-2C78-4AB11CDA257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2505071"/>
            <a:ext cx="5387973" cy="3684583"/>
          </a:xfrm>
          <a:solidFill>
            <a:srgbClr val="F3F6FB"/>
          </a:solidFill>
        </p:spPr>
        <p:txBody>
          <a:bodyPr lIns="182870" tIns="0" rIns="182870" bIns="0">
            <a:normAutofit/>
          </a:bodyPr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0" name="Google Shape;527;p50">
            <a:extLst>
              <a:ext uri="{FF2B5EF4-FFF2-40B4-BE49-F238E27FC236}">
                <a16:creationId xmlns:a16="http://schemas.microsoft.com/office/drawing/2014/main" id="{9AE28A80-BB4E-7B22-6AAF-8A32AFF9EA4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681160"/>
            <a:ext cx="541020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11" name="Google Shape;528;p50">
            <a:extLst>
              <a:ext uri="{FF2B5EF4-FFF2-40B4-BE49-F238E27FC236}">
                <a16:creationId xmlns:a16="http://schemas.microsoft.com/office/drawing/2014/main" id="{8C08B51D-46C3-D21D-F596-BA304645EA3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2505071"/>
            <a:ext cx="5410203" cy="3684583"/>
          </a:xfrm>
          <a:solidFill>
            <a:srgbClr val="F3F6FB"/>
          </a:solidFill>
        </p:spPr>
        <p:txBody>
          <a:bodyPr lIns="182870" tIns="0" rIns="182870" bIns="0"/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2" name="Google Shape;529;p50">
            <a:extLst>
              <a:ext uri="{FF2B5EF4-FFF2-40B4-BE49-F238E27FC236}">
                <a16:creationId xmlns:a16="http://schemas.microsoft.com/office/drawing/2014/main" id="{6C681E94-DD74-8E56-98D1-659219EEBE2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2461E00E-7DE3-471A-84E2-0D16D85F102A}" type="slidenum">
              <a:t>‹#›</a:t>
            </a:fld>
            <a:endParaRPr lang="en-US"/>
          </a:p>
        </p:txBody>
      </p:sp>
      <p:cxnSp>
        <p:nvCxnSpPr>
          <p:cNvPr id="13" name="Google Shape;530;p50">
            <a:extLst>
              <a:ext uri="{FF2B5EF4-FFF2-40B4-BE49-F238E27FC236}">
                <a16:creationId xmlns:a16="http://schemas.microsoft.com/office/drawing/2014/main" id="{D294195F-1DFF-DD62-87C1-FB689AD7ABE3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4" name="Google Shape;531;p50">
            <a:extLst>
              <a:ext uri="{FF2B5EF4-FFF2-40B4-BE49-F238E27FC236}">
                <a16:creationId xmlns:a16="http://schemas.microsoft.com/office/drawing/2014/main" id="{A5A9ABB9-652B-2471-8F4D-90DDDABE328C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396155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533;p51">
            <a:extLst>
              <a:ext uri="{FF2B5EF4-FFF2-40B4-BE49-F238E27FC236}">
                <a16:creationId xmlns:a16="http://schemas.microsoft.com/office/drawing/2014/main" id="{84B748D5-5FC2-4FDE-A463-40A3FBD75B91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534;p51">
              <a:extLst>
                <a:ext uri="{FF2B5EF4-FFF2-40B4-BE49-F238E27FC236}">
                  <a16:creationId xmlns:a16="http://schemas.microsoft.com/office/drawing/2014/main" id="{D735842C-F6A9-6659-F955-7A083C43FEC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535;p51">
              <a:extLst>
                <a:ext uri="{FF2B5EF4-FFF2-40B4-BE49-F238E27FC236}">
                  <a16:creationId xmlns:a16="http://schemas.microsoft.com/office/drawing/2014/main" id="{D9135540-865C-6DEA-274A-2FF50353E3A3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536;p51">
                <a:extLst>
                  <a:ext uri="{FF2B5EF4-FFF2-40B4-BE49-F238E27FC236}">
                    <a16:creationId xmlns:a16="http://schemas.microsoft.com/office/drawing/2014/main" id="{26A67563-C49D-8B41-6C83-7309BC528C41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537;p51">
                <a:extLst>
                  <a:ext uri="{FF2B5EF4-FFF2-40B4-BE49-F238E27FC236}">
                    <a16:creationId xmlns:a16="http://schemas.microsoft.com/office/drawing/2014/main" id="{731E96E3-CF3C-415E-6DCA-C1BD2E7E6D0C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538;p51">
            <a:extLst>
              <a:ext uri="{FF2B5EF4-FFF2-40B4-BE49-F238E27FC236}">
                <a16:creationId xmlns:a16="http://schemas.microsoft.com/office/drawing/2014/main" id="{716E0BBC-2516-DF51-892B-2834C877D6E9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539;p51">
            <a:extLst>
              <a:ext uri="{FF2B5EF4-FFF2-40B4-BE49-F238E27FC236}">
                <a16:creationId xmlns:a16="http://schemas.microsoft.com/office/drawing/2014/main" id="{06A841FB-698E-80EA-62F1-6BBBCFCDC68D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E1201B27-6DF8-4784-9412-53B720BF9FBD}" type="slidenum">
              <a:t>‹#›</a:t>
            </a:fld>
            <a:endParaRPr lang="en-US"/>
          </a:p>
        </p:txBody>
      </p:sp>
      <p:cxnSp>
        <p:nvCxnSpPr>
          <p:cNvPr id="9" name="Google Shape;540;p51">
            <a:extLst>
              <a:ext uri="{FF2B5EF4-FFF2-40B4-BE49-F238E27FC236}">
                <a16:creationId xmlns:a16="http://schemas.microsoft.com/office/drawing/2014/main" id="{47E673CB-80B4-0890-B023-125445B8319C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0" name="Google Shape;541;p51">
            <a:extLst>
              <a:ext uri="{FF2B5EF4-FFF2-40B4-BE49-F238E27FC236}">
                <a16:creationId xmlns:a16="http://schemas.microsoft.com/office/drawing/2014/main" id="{7A5E3A4A-2A6B-068B-B394-CB0DA25A0F94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76661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16976834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543;p52">
            <a:extLst>
              <a:ext uri="{FF2B5EF4-FFF2-40B4-BE49-F238E27FC236}">
                <a16:creationId xmlns:a16="http://schemas.microsoft.com/office/drawing/2014/main" id="{D3D44C31-8C2D-2F8A-7389-76E186A36A62}"/>
              </a:ext>
            </a:extLst>
          </p:cNvPr>
          <p:cNvGrpSpPr/>
          <p:nvPr/>
        </p:nvGrpSpPr>
        <p:grpSpPr>
          <a:xfrm>
            <a:off x="0" y="0"/>
            <a:ext cx="12191996" cy="2148830"/>
            <a:chOff x="0" y="0"/>
            <a:chExt cx="12191996" cy="2148830"/>
          </a:xfrm>
        </p:grpSpPr>
        <p:sp>
          <p:nvSpPr>
            <p:cNvPr id="3" name="Google Shape;544;p52">
              <a:extLst>
                <a:ext uri="{FF2B5EF4-FFF2-40B4-BE49-F238E27FC236}">
                  <a16:creationId xmlns:a16="http://schemas.microsoft.com/office/drawing/2014/main" id="{A954A991-B6C8-EEA2-715B-CD09B410295C}"/>
                </a:ext>
              </a:extLst>
            </p:cNvPr>
            <p:cNvSpPr/>
            <p:nvPr/>
          </p:nvSpPr>
          <p:spPr>
            <a:xfrm flipH="1">
              <a:off x="0" y="0"/>
              <a:ext cx="12191996" cy="214883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2148830"/>
                <a:gd name="f5" fmla="val 2318293"/>
                <a:gd name="f6" fmla="val 2110341"/>
                <a:gd name="f7" fmla="val 1952334"/>
                <a:gd name="f8" fmla="val 920"/>
                <a:gd name="f9" fmla="val 1343499"/>
                <a:gd name="f10" fmla="val 23864"/>
                <a:gd name="f11" fmla="val 752130"/>
                <a:gd name="f12" fmla="val 152982"/>
                <a:gd name="f13" fmla="val 184205"/>
                <a:gd name="f14" fmla="val 435928"/>
                <a:gd name="f15" fmla="val 536864"/>
                <a:gd name="f16" fmla="val 554713"/>
                <a:gd name="f17" fmla="val 201115"/>
                <a:gd name="f18" fmla="val 452796"/>
                <a:gd name="f19" fmla="val 776357"/>
                <a:gd name="f20" fmla="val 187336"/>
                <a:gd name="f21" fmla="val 1349828"/>
                <a:gd name="f22" fmla="val 76760"/>
                <a:gd name="f23" fmla="val 1947588"/>
                <a:gd name="f24" fmla="val 66249"/>
                <a:gd name="f25" fmla="val 2962940"/>
                <a:gd name="f26" fmla="val 48421"/>
                <a:gd name="f27" fmla="val 3890218"/>
                <a:gd name="f28" fmla="val 291317"/>
                <a:gd name="f29" fmla="val 4778140"/>
                <a:gd name="f30" fmla="val 604018"/>
                <a:gd name="f31" fmla="val 7231510"/>
                <a:gd name="f32" fmla="val 1468126"/>
                <a:gd name="f33" fmla="val 9178927"/>
                <a:gd name="f34" fmla="val 2492024"/>
                <a:gd name="f35" fmla="val 11996242"/>
                <a:gd name="f36" fmla="val 2036894"/>
                <a:gd name="f37" fmla="val 2002266"/>
                <a:gd name="f38" fmla="val 1415250"/>
                <a:gd name="f39" fmla="val 12022971"/>
                <a:gd name="f40" fmla="val 1470801"/>
                <a:gd name="f41" fmla="val 10719696"/>
                <a:gd name="f42" fmla="val 1863939"/>
                <a:gd name="f43" fmla="val 9271154"/>
                <a:gd name="f44" fmla="val 1783804"/>
                <a:gd name="f45" fmla="val 7970940"/>
                <a:gd name="f46" fmla="val 1436986"/>
                <a:gd name="f47" fmla="val 6890984"/>
                <a:gd name="f48" fmla="val 1148958"/>
                <a:gd name="f49" fmla="val 5866930"/>
                <a:gd name="f50" fmla="val 767309"/>
                <a:gd name="f51" fmla="val 4800356"/>
                <a:gd name="f52" fmla="val 456582"/>
                <a:gd name="f53" fmla="val 4068903"/>
                <a:gd name="f54" fmla="val 243471"/>
                <a:gd name="f55" fmla="val 3348204"/>
                <a:gd name="f56" fmla="val 74251"/>
                <a:gd name="f57" fmla="val 2646880"/>
                <a:gd name="f58" fmla="val 17560"/>
                <a:gd name="f59" fmla="*/ f0 1 12192000"/>
                <a:gd name="f60" fmla="*/ f1 1 2148830"/>
                <a:gd name="f61" fmla="+- f4 0 f2"/>
                <a:gd name="f62" fmla="+- f3 0 f2"/>
                <a:gd name="f63" fmla="*/ f62 1 12192000"/>
                <a:gd name="f64" fmla="*/ f61 1 2148830"/>
                <a:gd name="f65" fmla="*/ f2 1 f63"/>
                <a:gd name="f66" fmla="*/ f3 1 f63"/>
                <a:gd name="f67" fmla="*/ f2 1 f64"/>
                <a:gd name="f68" fmla="*/ f4 1 f64"/>
                <a:gd name="f69" fmla="*/ f65 f59 1"/>
                <a:gd name="f70" fmla="*/ f66 f59 1"/>
                <a:gd name="f71" fmla="*/ f68 f60 1"/>
                <a:gd name="f72" fmla="*/ f67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9" t="f72" r="f70" b="f71"/>
              <a:pathLst>
                <a:path w="12192000" h="2148830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545;p52">
              <a:extLst>
                <a:ext uri="{FF2B5EF4-FFF2-40B4-BE49-F238E27FC236}">
                  <a16:creationId xmlns:a16="http://schemas.microsoft.com/office/drawing/2014/main" id="{32D3E5F7-3A2B-B5B4-BA9F-557674764F1A}"/>
                </a:ext>
              </a:extLst>
            </p:cNvPr>
            <p:cNvSpPr/>
            <p:nvPr/>
          </p:nvSpPr>
          <p:spPr>
            <a:xfrm flipH="1">
              <a:off x="0" y="0"/>
              <a:ext cx="12191996" cy="19921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992138"/>
                <a:gd name="f5" fmla="val 2724271"/>
                <a:gd name="f6" fmla="val 1788442"/>
                <a:gd name="f7" fmla="val 1635403"/>
                <a:gd name="f8" fmla="val 12925"/>
                <a:gd name="f9" fmla="val 1134241"/>
                <a:gd name="f10" fmla="val 70905"/>
                <a:gd name="f11" fmla="val 647221"/>
                <a:gd name="f12" fmla="val 207817"/>
                <a:gd name="f13" fmla="val 178220"/>
                <a:gd name="f14" fmla="val 451207"/>
                <a:gd name="f15" fmla="val 552718"/>
                <a:gd name="f16" fmla="val 570885"/>
                <a:gd name="f17" fmla="val 195368"/>
                <a:gd name="f18" fmla="val 467800"/>
                <a:gd name="f19" fmla="val 765758"/>
                <a:gd name="f20" fmla="val 193094"/>
                <a:gd name="f21" fmla="val 1336955"/>
                <a:gd name="f22" fmla="val 73179"/>
                <a:gd name="f23" fmla="val 1934073"/>
                <a:gd name="f24" fmla="val 52850"/>
                <a:gd name="f25" fmla="val 2948304"/>
                <a:gd name="f26" fmla="val 18310"/>
                <a:gd name="f27" fmla="val 3878878"/>
                <a:gd name="f28" fmla="val 245747"/>
                <a:gd name="f29" fmla="val 4771217"/>
                <a:gd name="f30" fmla="val 543645"/>
                <a:gd name="f31" fmla="val 7236913"/>
                <a:gd name="f32" fmla="val 1366709"/>
                <a:gd name="f33" fmla="val 9199689"/>
                <a:gd name="f34" fmla="val 2357774"/>
                <a:gd name="f35" fmla="val 12007222"/>
                <a:gd name="f36" fmla="val 1856729"/>
                <a:gd name="f37" fmla="val 1820900"/>
                <a:gd name="f38" fmla="val 897073"/>
                <a:gd name="f39" fmla="val 12062517"/>
                <a:gd name="f40" fmla="val 950128"/>
                <a:gd name="f41" fmla="val 10950292"/>
                <a:gd name="f42" fmla="val 1376478"/>
                <a:gd name="f43" fmla="val 9595706"/>
                <a:gd name="f44" fmla="val 1466451"/>
                <a:gd name="f45" fmla="val 8435105"/>
                <a:gd name="f46" fmla="val 1266613"/>
                <a:gd name="f47" fmla="val 6618389"/>
                <a:gd name="f48" fmla="val 953715"/>
                <a:gd name="f49" fmla="val 4735222"/>
                <a:gd name="f50" fmla="val 130088"/>
                <a:gd name="f51" fmla="val 2948502"/>
                <a:gd name="f52" fmla="val 20548"/>
                <a:gd name="f53" fmla="*/ f0 1 12192000"/>
                <a:gd name="f54" fmla="*/ f1 1 1992138"/>
                <a:gd name="f55" fmla="+- f4 0 f2"/>
                <a:gd name="f56" fmla="+- f3 0 f2"/>
                <a:gd name="f57" fmla="*/ f56 1 12192000"/>
                <a:gd name="f58" fmla="*/ f55 1 1992138"/>
                <a:gd name="f59" fmla="*/ f2 1 f57"/>
                <a:gd name="f60" fmla="*/ f3 1 f57"/>
                <a:gd name="f61" fmla="*/ f2 1 f58"/>
                <a:gd name="f62" fmla="*/ f4 1 f58"/>
                <a:gd name="f63" fmla="*/ f59 f53 1"/>
                <a:gd name="f64" fmla="*/ f60 f53 1"/>
                <a:gd name="f65" fmla="*/ f62 f54 1"/>
                <a:gd name="f66" fmla="*/ f61 f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3" t="f66" r="f64" b="f65"/>
              <a:pathLst>
                <a:path w="12192000" h="1992138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lose/>
                </a:path>
              </a:pathLst>
            </a:custGeom>
            <a:solidFill>
              <a:srgbClr val="00498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sp>
        <p:nvSpPr>
          <p:cNvPr id="5" name="Google Shape;546;p52">
            <a:extLst>
              <a:ext uri="{FF2B5EF4-FFF2-40B4-BE49-F238E27FC236}">
                <a16:creationId xmlns:a16="http://schemas.microsoft.com/office/drawing/2014/main" id="{9D6DA510-855A-3F88-F3F4-4ACB0D68BF8B}"/>
              </a:ext>
            </a:extLst>
          </p:cNvPr>
          <p:cNvSpPr/>
          <p:nvPr/>
        </p:nvSpPr>
        <p:spPr>
          <a:xfrm>
            <a:off x="902366" y="1517693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6" name="Google Shape;547;p52">
            <a:extLst>
              <a:ext uri="{FF2B5EF4-FFF2-40B4-BE49-F238E27FC236}">
                <a16:creationId xmlns:a16="http://schemas.microsoft.com/office/drawing/2014/main" id="{E7B16B0F-BBD4-446A-AFFC-FEFA9925DFF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219196" y="3429000"/>
            <a:ext cx="5582649" cy="1413561"/>
          </a:xfrm>
        </p:spPr>
        <p:txBody>
          <a:bodyPr/>
          <a:lstStyle>
            <a:lvl1pPr indent="-228600">
              <a:buNone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7" name="Google Shape;548;p52">
            <a:extLst>
              <a:ext uri="{FF2B5EF4-FFF2-40B4-BE49-F238E27FC236}">
                <a16:creationId xmlns:a16="http://schemas.microsoft.com/office/drawing/2014/main" id="{BAEB5D36-9DD0-2BC3-254A-B63A8C607BC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19196" y="1887486"/>
            <a:ext cx="5582649" cy="1078260"/>
          </a:xfrm>
        </p:spPr>
        <p:txBody>
          <a:bodyPr/>
          <a:lstStyle>
            <a:lvl1pPr>
              <a:defRPr sz="6000"/>
            </a:lvl1pPr>
          </a:lstStyle>
          <a:p>
            <a:pPr lvl="0"/>
            <a:endParaRPr lang="en-US"/>
          </a:p>
        </p:txBody>
      </p:sp>
      <p:pic>
        <p:nvPicPr>
          <p:cNvPr id="8" name="Google Shape;549;p52">
            <a:extLst>
              <a:ext uri="{FF2B5EF4-FFF2-40B4-BE49-F238E27FC236}">
                <a16:creationId xmlns:a16="http://schemas.microsoft.com/office/drawing/2014/main" id="{F366EC2C-579A-2400-5DCB-9BDF3FB6BD5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902366" y="228371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837723148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552;p53">
            <a:extLst>
              <a:ext uri="{FF2B5EF4-FFF2-40B4-BE49-F238E27FC236}">
                <a16:creationId xmlns:a16="http://schemas.microsoft.com/office/drawing/2014/main" id="{CDE6A52C-489F-6330-B1E0-B948E4E997F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BFA2EC6C-8506-4593-B733-315D498E036A}" type="slidenum">
              <a:t>‹#›</a:t>
            </a:fld>
            <a:endParaRPr lang="en-US"/>
          </a:p>
        </p:txBody>
      </p:sp>
      <p:cxnSp>
        <p:nvCxnSpPr>
          <p:cNvPr id="3" name="Google Shape;553;p53">
            <a:extLst>
              <a:ext uri="{FF2B5EF4-FFF2-40B4-BE49-F238E27FC236}">
                <a16:creationId xmlns:a16="http://schemas.microsoft.com/office/drawing/2014/main" id="{51CDF043-3EE0-2D1B-4C8E-854194B94DC5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4" name="Google Shape;554;p53">
            <a:extLst>
              <a:ext uri="{FF2B5EF4-FFF2-40B4-BE49-F238E27FC236}">
                <a16:creationId xmlns:a16="http://schemas.microsoft.com/office/drawing/2014/main" id="{2CFE93AC-3376-E81F-3CCA-E7537A17C98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555;p53">
            <a:extLst>
              <a:ext uri="{FF2B5EF4-FFF2-40B4-BE49-F238E27FC236}">
                <a16:creationId xmlns:a16="http://schemas.microsoft.com/office/drawing/2014/main" id="{2789755E-33FB-44E4-2D67-2A9D0C1D9527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6" name="Google Shape;556;p53">
              <a:extLst>
                <a:ext uri="{FF2B5EF4-FFF2-40B4-BE49-F238E27FC236}">
                  <a16:creationId xmlns:a16="http://schemas.microsoft.com/office/drawing/2014/main" id="{F9B90B75-BCBC-C25A-3D9F-7F5F9E8BC11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7" name="Google Shape;557;p53">
              <a:extLst>
                <a:ext uri="{FF2B5EF4-FFF2-40B4-BE49-F238E27FC236}">
                  <a16:creationId xmlns:a16="http://schemas.microsoft.com/office/drawing/2014/main" id="{61770D19-0ADB-D1D6-BF27-C8360CA37230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8" name="Google Shape;558;p53">
                <a:extLst>
                  <a:ext uri="{FF2B5EF4-FFF2-40B4-BE49-F238E27FC236}">
                    <a16:creationId xmlns:a16="http://schemas.microsoft.com/office/drawing/2014/main" id="{5BE133AC-B2DF-111F-88D8-D418D38FEE35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9" name="Google Shape;559;p53">
                <a:extLst>
                  <a:ext uri="{FF2B5EF4-FFF2-40B4-BE49-F238E27FC236}">
                    <a16:creationId xmlns:a16="http://schemas.microsoft.com/office/drawing/2014/main" id="{C963FC55-C7A5-6770-26C1-F2411A972582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71762152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561;p54">
            <a:extLst>
              <a:ext uri="{FF2B5EF4-FFF2-40B4-BE49-F238E27FC236}">
                <a16:creationId xmlns:a16="http://schemas.microsoft.com/office/drawing/2014/main" id="{113DDFC7-7A3D-80CC-B096-5517C193DE8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3344" y="2633536"/>
            <a:ext cx="5194432" cy="2387598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562;p54">
            <a:extLst>
              <a:ext uri="{FF2B5EF4-FFF2-40B4-BE49-F238E27FC236}">
                <a16:creationId xmlns:a16="http://schemas.microsoft.com/office/drawing/2014/main" id="{552BD2CD-99E8-D6D7-6A9A-69D2A6564AE1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513344" y="5400327"/>
            <a:ext cx="5194432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  <p:grpSp>
        <p:nvGrpSpPr>
          <p:cNvPr id="4" name="Google Shape;563;p54">
            <a:extLst>
              <a:ext uri="{FF2B5EF4-FFF2-40B4-BE49-F238E27FC236}">
                <a16:creationId xmlns:a16="http://schemas.microsoft.com/office/drawing/2014/main" id="{E26A5DFA-E350-1697-A4AC-8AFE4CA1AE1C}"/>
              </a:ext>
            </a:extLst>
          </p:cNvPr>
          <p:cNvGrpSpPr/>
          <p:nvPr/>
        </p:nvGrpSpPr>
        <p:grpSpPr>
          <a:xfrm>
            <a:off x="0" y="0"/>
            <a:ext cx="6418722" cy="1509820"/>
            <a:chOff x="0" y="0"/>
            <a:chExt cx="6418722" cy="1509820"/>
          </a:xfrm>
        </p:grpSpPr>
        <p:sp>
          <p:nvSpPr>
            <p:cNvPr id="5" name="Google Shape;564;p54">
              <a:extLst>
                <a:ext uri="{FF2B5EF4-FFF2-40B4-BE49-F238E27FC236}">
                  <a16:creationId xmlns:a16="http://schemas.microsoft.com/office/drawing/2014/main" id="{2C050344-A120-E7B4-E6E5-AB8BA8A9A3D7}"/>
                </a:ext>
              </a:extLst>
            </p:cNvPr>
            <p:cNvSpPr/>
            <p:nvPr/>
          </p:nvSpPr>
          <p:spPr>
            <a:xfrm flipH="1">
              <a:off x="0" y="0"/>
              <a:ext cx="6418722" cy="150982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669459"/>
                <a:gd name="f4" fmla="val 1098357"/>
                <a:gd name="f5" fmla="val 393099"/>
                <a:gd name="f6" fmla="val 485580"/>
                <a:gd name="f7" fmla="val 28411"/>
                <a:gd name="f8" fmla="val 1068094"/>
                <a:gd name="f9" fmla="val 214503"/>
                <a:gd name="f10" fmla="val 1643165"/>
                <a:gd name="f11" fmla="val 412971"/>
                <a:gd name="f12" fmla="val 2241464"/>
                <a:gd name="f13" fmla="val 572540"/>
                <a:gd name="f14" fmla="val 3009808"/>
                <a:gd name="f15" fmla="val 777487"/>
                <a:gd name="f16" fmla="val 3848273"/>
                <a:gd name="f17" fmla="val 856360"/>
                <a:gd name="f18" fmla="val 4645823"/>
                <a:gd name="f19" fmla="val 731027"/>
                <a:gd name="f20" fmla="val 726784"/>
                <a:gd name="f21" fmla="val 1079503"/>
                <a:gd name="f22" fmla="val 4627787"/>
                <a:gd name="f23" fmla="val 1083679"/>
                <a:gd name="f24" fmla="val 3105555"/>
                <a:gd name="f25" fmla="val 1189027"/>
                <a:gd name="f26" fmla="val 1909512"/>
                <a:gd name="f27" fmla="val 709765"/>
                <a:gd name="f28" fmla="val 568062"/>
                <a:gd name="f29" fmla="val 207626"/>
                <a:gd name="f30" fmla="*/ f0 1 4669459"/>
                <a:gd name="f31" fmla="*/ f1 1 1098357"/>
                <a:gd name="f32" fmla="+- f4 0 f2"/>
                <a:gd name="f33" fmla="+- f3 0 f2"/>
                <a:gd name="f34" fmla="*/ f33 1 4669459"/>
                <a:gd name="f35" fmla="*/ f32 1 1098357"/>
                <a:gd name="f36" fmla="*/ f2 1 f34"/>
                <a:gd name="f37" fmla="*/ f3 1 f34"/>
                <a:gd name="f38" fmla="*/ f2 1 f35"/>
                <a:gd name="f39" fmla="*/ f4 1 f35"/>
                <a:gd name="f40" fmla="*/ f36 f30 1"/>
                <a:gd name="f41" fmla="*/ f37 f30 1"/>
                <a:gd name="f42" fmla="*/ f39 f31 1"/>
                <a:gd name="f43" fmla="*/ f3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4669459" h="1098357">
                  <a:moveTo>
                    <a:pt x="f2" y="f2"/>
                  </a:moveTo>
                  <a:lnTo>
                    <a:pt x="f5" y="f2"/>
                  </a:lnTo>
                  <a:lnTo>
                    <a:pt x="f6" y="f7"/>
                  </a:lnTo>
                  <a:cubicBezTo>
                    <a:pt x="f8" y="f9"/>
                    <a:pt x="f10" y="f11"/>
                    <a:pt x="f12" y="f13"/>
                  </a:cubicBezTo>
                  <a:cubicBezTo>
                    <a:pt x="f14" y="f15"/>
                    <a:pt x="f16" y="f17"/>
                    <a:pt x="f18" y="f19"/>
                  </a:cubicBezTo>
                  <a:lnTo>
                    <a:pt x="f3" y="f20"/>
                  </a:lnTo>
                  <a:lnTo>
                    <a:pt x="f3" y="f21"/>
                  </a:lnTo>
                  <a:lnTo>
                    <a:pt x="f22" y="f23"/>
                  </a:lnTo>
                  <a:cubicBezTo>
                    <a:pt x="f24" y="f25"/>
                    <a:pt x="f26" y="f27"/>
                    <a:pt x="f28" y="f29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6" name="Google Shape;565;p54">
              <a:extLst>
                <a:ext uri="{FF2B5EF4-FFF2-40B4-BE49-F238E27FC236}">
                  <a16:creationId xmlns:a16="http://schemas.microsoft.com/office/drawing/2014/main" id="{513A1DFC-AA9B-9DB2-7618-4FDA9EFD123A}"/>
                </a:ext>
              </a:extLst>
            </p:cNvPr>
            <p:cNvSpPr/>
            <p:nvPr/>
          </p:nvSpPr>
          <p:spPr>
            <a:xfrm flipH="1">
              <a:off x="0" y="0"/>
              <a:ext cx="6244227" cy="135202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542519"/>
                <a:gd name="f4" fmla="val 983565"/>
                <a:gd name="f5" fmla="val 957397"/>
                <a:gd name="f6" fmla="val 4542518"/>
                <a:gd name="f7" fmla="val 957403"/>
                <a:gd name="f8" fmla="val 4510552"/>
                <a:gd name="f9" fmla="val 961138"/>
                <a:gd name="f10" fmla="val 2991282"/>
                <a:gd name="f11" fmla="val 1091409"/>
                <a:gd name="f12" fmla="val 1788278"/>
                <a:gd name="f13" fmla="val 632191"/>
                <a:gd name="f14" fmla="val 439600"/>
                <a:gd name="f15" fmla="val 152515"/>
                <a:gd name="f16" fmla="*/ f0 1 4542519"/>
                <a:gd name="f17" fmla="*/ f1 1 983565"/>
                <a:gd name="f18" fmla="+- f4 0 f2"/>
                <a:gd name="f19" fmla="+- f3 0 f2"/>
                <a:gd name="f20" fmla="*/ f19 1 4542519"/>
                <a:gd name="f21" fmla="*/ f18 1 983565"/>
                <a:gd name="f22" fmla="*/ f2 1 f20"/>
                <a:gd name="f23" fmla="*/ f3 1 f20"/>
                <a:gd name="f24" fmla="*/ f2 1 f21"/>
                <a:gd name="f25" fmla="*/ f4 1 f21"/>
                <a:gd name="f26" fmla="*/ f22 f16 1"/>
                <a:gd name="f27" fmla="*/ f23 f16 1"/>
                <a:gd name="f28" fmla="*/ f25 f17 1"/>
                <a:gd name="f29" fmla="*/ f24 f1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29" r="f27" b="f28"/>
              <a:pathLst>
                <a:path w="4542519" h="983565">
                  <a:moveTo>
                    <a:pt x="f2" y="f2"/>
                  </a:moveTo>
                  <a:lnTo>
                    <a:pt x="f3" y="f2"/>
                  </a:lnTo>
                  <a:lnTo>
                    <a:pt x="f3" y="f5"/>
                  </a:lnTo>
                  <a:lnTo>
                    <a:pt x="f6" y="f7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14" y="f15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pic>
        <p:nvPicPr>
          <p:cNvPr id="7" name="Google Shape;566;p54">
            <a:extLst>
              <a:ext uri="{FF2B5EF4-FFF2-40B4-BE49-F238E27FC236}">
                <a16:creationId xmlns:a16="http://schemas.microsoft.com/office/drawing/2014/main" id="{3064ADB3-9DD4-546F-E659-451067766736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513344" y="136529"/>
            <a:ext cx="1945203" cy="879972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292708465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56;p44">
            <a:extLst>
              <a:ext uri="{FF2B5EF4-FFF2-40B4-BE49-F238E27FC236}">
                <a16:creationId xmlns:a16="http://schemas.microsoft.com/office/drawing/2014/main" id="{6257F9D7-0399-C450-ADE2-B98165AB9CCD}"/>
              </a:ext>
            </a:extLst>
          </p:cNvPr>
          <p:cNvSpPr/>
          <p:nvPr/>
        </p:nvSpPr>
        <p:spPr>
          <a:xfrm>
            <a:off x="902366" y="1294415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457;p44">
            <a:extLst>
              <a:ext uri="{FF2B5EF4-FFF2-40B4-BE49-F238E27FC236}">
                <a16:creationId xmlns:a16="http://schemas.microsoft.com/office/drawing/2014/main" id="{172D27C7-C832-A336-7134-A2F9C7C800D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1561328"/>
            <a:ext cx="5194432" cy="1826340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458;p44">
            <a:extLst>
              <a:ext uri="{FF2B5EF4-FFF2-40B4-BE49-F238E27FC236}">
                <a16:creationId xmlns:a16="http://schemas.microsoft.com/office/drawing/2014/main" id="{50B35128-F94C-A8FE-79A6-64068067ED66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766861"/>
            <a:ext cx="5194432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460;p44">
            <a:extLst>
              <a:ext uri="{FF2B5EF4-FFF2-40B4-BE49-F238E27FC236}">
                <a16:creationId xmlns:a16="http://schemas.microsoft.com/office/drawing/2014/main" id="{15B1579E-5332-9B56-2744-CC3906AA4BB9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6" name="Google Shape;461;p44">
              <a:extLst>
                <a:ext uri="{FF2B5EF4-FFF2-40B4-BE49-F238E27FC236}">
                  <a16:creationId xmlns:a16="http://schemas.microsoft.com/office/drawing/2014/main" id="{D40DA7DD-FB93-A071-C138-0D05DDFE6072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7" name="Google Shape;462;p44">
              <a:extLst>
                <a:ext uri="{FF2B5EF4-FFF2-40B4-BE49-F238E27FC236}">
                  <a16:creationId xmlns:a16="http://schemas.microsoft.com/office/drawing/2014/main" id="{CF2237D6-7928-EE42-FA59-E960FC75EDED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8" name="Google Shape;463;p44">
              <a:extLst>
                <a:ext uri="{FF2B5EF4-FFF2-40B4-BE49-F238E27FC236}">
                  <a16:creationId xmlns:a16="http://schemas.microsoft.com/office/drawing/2014/main" id="{8EA13F40-F809-2FE4-61D0-1563BDD2B33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697003837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465;p45">
            <a:extLst>
              <a:ext uri="{FF2B5EF4-FFF2-40B4-BE49-F238E27FC236}">
                <a16:creationId xmlns:a16="http://schemas.microsoft.com/office/drawing/2014/main" id="{C9E9C31C-3D1F-7B66-5A7F-A6331EE2F230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3" name="Google Shape;466;p45">
              <a:extLst>
                <a:ext uri="{FF2B5EF4-FFF2-40B4-BE49-F238E27FC236}">
                  <a16:creationId xmlns:a16="http://schemas.microsoft.com/office/drawing/2014/main" id="{A5DFA366-3A98-7F4C-AD93-C05B0CEF6108}"/>
                </a:ext>
              </a:extLst>
            </p:cNvPr>
            <p:cNvSpPr/>
            <p:nvPr/>
          </p:nvSpPr>
          <p:spPr>
            <a:xfrm>
              <a:off x="0" y="5100267"/>
              <a:ext cx="7111371" cy="175773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111369"/>
                <a:gd name="f4" fmla="val 1757730"/>
                <a:gd name="f5" fmla="val 772954"/>
                <a:gd name="f6" fmla="val 2778"/>
                <a:gd name="f7" fmla="val 1769038"/>
                <a:gd name="f8" fmla="val 30799"/>
                <a:gd name="f9" fmla="val 2696750"/>
                <a:gd name="f10" fmla="val 267531"/>
                <a:gd name="f11" fmla="val 3590934"/>
                <a:gd name="f12" fmla="val 566046"/>
                <a:gd name="f13" fmla="val 4684008"/>
                <a:gd name="f14" fmla="val 930921"/>
                <a:gd name="f15" fmla="val 5690778"/>
                <a:gd name="f16" fmla="val 1324625"/>
                <a:gd name="f17" fmla="val 6700767"/>
                <a:gd name="f18" fmla="val 1636882"/>
                <a:gd name="f19" fmla="val 25690"/>
                <a:gd name="f20" fmla="val 2197"/>
                <a:gd name="f21" fmla="val 25414"/>
                <a:gd name="f22" fmla="val 114653"/>
                <a:gd name="f23" fmla="val 14905"/>
                <a:gd name="f24" fmla="val 227801"/>
                <a:gd name="f25" fmla="val 7857"/>
                <a:gd name="f26" fmla="val 341773"/>
                <a:gd name="f27" fmla="val 3976"/>
                <a:gd name="f28" fmla="val 486963"/>
                <a:gd name="f29" fmla="+- 0 0 968"/>
                <a:gd name="f30" fmla="val 630656"/>
                <a:gd name="f31" fmla="+- 0 0 1224"/>
                <a:gd name="f32" fmla="*/ f0 1 7111369"/>
                <a:gd name="f33" fmla="*/ f1 1 1757730"/>
                <a:gd name="f34" fmla="+- f4 0 f2"/>
                <a:gd name="f35" fmla="+- f3 0 f2"/>
                <a:gd name="f36" fmla="*/ f35 1 7111369"/>
                <a:gd name="f37" fmla="*/ f34 1 1757730"/>
                <a:gd name="f38" fmla="*/ f2 1 f36"/>
                <a:gd name="f39" fmla="*/ f3 1 f36"/>
                <a:gd name="f40" fmla="*/ f2 1 f37"/>
                <a:gd name="f41" fmla="*/ f4 1 f37"/>
                <a:gd name="f42" fmla="*/ f38 f32 1"/>
                <a:gd name="f43" fmla="*/ f39 f32 1"/>
                <a:gd name="f44" fmla="*/ f41 f33 1"/>
                <a:gd name="f45" fmla="*/ f40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2" t="f45" r="f43" b="f44"/>
              <a:pathLst>
                <a:path w="7111369" h="1757730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4"/>
                  </a:lnTo>
                  <a:lnTo>
                    <a:pt x="f2" y="f4"/>
                  </a:lnTo>
                  <a:lnTo>
                    <a:pt x="f2" y="f19"/>
                  </a:lnTo>
                  <a:lnTo>
                    <a:pt x="f20" y="f21"/>
                  </a:ln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5" y="f6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467;p45">
              <a:extLst>
                <a:ext uri="{FF2B5EF4-FFF2-40B4-BE49-F238E27FC236}">
                  <a16:creationId xmlns:a16="http://schemas.microsoft.com/office/drawing/2014/main" id="{8C8BFEED-4429-A5A5-83BF-BE8246FC5B4C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5" name="Google Shape;468;p45">
              <a:extLst>
                <a:ext uri="{FF2B5EF4-FFF2-40B4-BE49-F238E27FC236}">
                  <a16:creationId xmlns:a16="http://schemas.microsoft.com/office/drawing/2014/main" id="{4681053B-8F0F-5573-F70A-09EBEAA798A1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469;p45">
              <a:extLst>
                <a:ext uri="{FF2B5EF4-FFF2-40B4-BE49-F238E27FC236}">
                  <a16:creationId xmlns:a16="http://schemas.microsoft.com/office/drawing/2014/main" id="{7BE8301C-402B-89BB-6D7D-958EC79F8BE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7" name="Google Shape;470;p45">
            <a:extLst>
              <a:ext uri="{FF2B5EF4-FFF2-40B4-BE49-F238E27FC236}">
                <a16:creationId xmlns:a16="http://schemas.microsoft.com/office/drawing/2014/main" id="{8EA05E84-2D8B-5403-FD0B-CE952725275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701747"/>
            <a:ext cx="9365376" cy="2014679"/>
          </a:xfrm>
        </p:spPr>
        <p:txBody>
          <a:bodyPr anchor="b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471;p45">
            <a:extLst>
              <a:ext uri="{FF2B5EF4-FFF2-40B4-BE49-F238E27FC236}">
                <a16:creationId xmlns:a16="http://schemas.microsoft.com/office/drawing/2014/main" id="{E46F4A71-2E4F-64D9-BC6D-E3262D356334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081637"/>
            <a:ext cx="9365376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915786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73;p46">
            <a:extLst>
              <a:ext uri="{FF2B5EF4-FFF2-40B4-BE49-F238E27FC236}">
                <a16:creationId xmlns:a16="http://schemas.microsoft.com/office/drawing/2014/main" id="{58A22D3D-82FF-22CD-4987-D5898DBCF3B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57200" y="1146255"/>
            <a:ext cx="2350172" cy="2971800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cxnSp>
        <p:nvCxnSpPr>
          <p:cNvPr id="3" name="Google Shape;474;p46">
            <a:extLst>
              <a:ext uri="{FF2B5EF4-FFF2-40B4-BE49-F238E27FC236}">
                <a16:creationId xmlns:a16="http://schemas.microsoft.com/office/drawing/2014/main" id="{DEEDDA87-5EFE-85AD-4E53-AABB38334C1C}"/>
              </a:ext>
            </a:extLst>
          </p:cNvPr>
          <p:cNvCxnSpPr/>
          <p:nvPr/>
        </p:nvCxnSpPr>
        <p:spPr>
          <a:xfrm>
            <a:off x="457200" y="947985"/>
            <a:ext cx="2350163" cy="0"/>
          </a:xfrm>
          <a:prstGeom prst="straightConnector1">
            <a:avLst/>
          </a:prstGeom>
          <a:noFill/>
          <a:ln w="31747" cap="flat">
            <a:solidFill>
              <a:srgbClr val="F58366"/>
            </a:solidFill>
            <a:prstDash val="solid"/>
            <a:miter/>
          </a:ln>
        </p:spPr>
      </p:cxnSp>
      <p:grpSp>
        <p:nvGrpSpPr>
          <p:cNvPr id="4" name="Google Shape;475;p46">
            <a:extLst>
              <a:ext uri="{FF2B5EF4-FFF2-40B4-BE49-F238E27FC236}">
                <a16:creationId xmlns:a16="http://schemas.microsoft.com/office/drawing/2014/main" id="{775B2098-0119-2B56-942C-40A1A37C999F}"/>
              </a:ext>
            </a:extLst>
          </p:cNvPr>
          <p:cNvGrpSpPr/>
          <p:nvPr/>
        </p:nvGrpSpPr>
        <p:grpSpPr>
          <a:xfrm>
            <a:off x="0" y="5379424"/>
            <a:ext cx="2807363" cy="753895"/>
            <a:chOff x="0" y="5379424"/>
            <a:chExt cx="2807363" cy="753895"/>
          </a:xfrm>
        </p:grpSpPr>
        <p:sp>
          <p:nvSpPr>
            <p:cNvPr id="5" name="Google Shape;476;p46">
              <a:extLst>
                <a:ext uri="{FF2B5EF4-FFF2-40B4-BE49-F238E27FC236}">
                  <a16:creationId xmlns:a16="http://schemas.microsoft.com/office/drawing/2014/main" id="{74D1592A-8417-1429-513D-389406C561E8}"/>
                </a:ext>
              </a:extLst>
            </p:cNvPr>
            <p:cNvSpPr/>
            <p:nvPr/>
          </p:nvSpPr>
          <p:spPr>
            <a:xfrm>
              <a:off x="0" y="5532513"/>
              <a:ext cx="2807363" cy="60080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00807"/>
                <a:gd name="f5" fmla="val 429971"/>
                <a:gd name="f6" fmla="val 123998"/>
                <a:gd name="f7" fmla="val 1184765"/>
                <a:gd name="f8" fmla="val 325331"/>
                <a:gd name="f9" fmla="val 2014184"/>
                <a:gd name="f10" fmla="val 392492"/>
                <a:gd name="f11" fmla="val 2790212"/>
                <a:gd name="f12" fmla="val 235402"/>
                <a:gd name="f13" fmla="val 231522"/>
                <a:gd name="f14" fmla="val 566106"/>
                <a:gd name="f15" fmla="val 2593885"/>
                <a:gd name="f16" fmla="val 587498"/>
                <a:gd name="f17" fmla="val 1673646"/>
                <a:gd name="f18" fmla="val 651184"/>
                <a:gd name="f19" fmla="val 884869"/>
                <a:gd name="f20" fmla="val 479260"/>
                <a:gd name="f21" fmla="val 100844"/>
                <a:gd name="f22" fmla="val 222653"/>
                <a:gd name="f23" fmla="val 188389"/>
                <a:gd name="f24" fmla="*/ f0 1 2807368"/>
                <a:gd name="f25" fmla="*/ f1 1 600807"/>
                <a:gd name="f26" fmla="+- f4 0 f2"/>
                <a:gd name="f27" fmla="+- f3 0 f2"/>
                <a:gd name="f28" fmla="*/ f27 1 2807368"/>
                <a:gd name="f29" fmla="*/ f26 1 600807"/>
                <a:gd name="f30" fmla="*/ f2 1 f28"/>
                <a:gd name="f31" fmla="*/ f3 1 f28"/>
                <a:gd name="f32" fmla="*/ f2 1 f29"/>
                <a:gd name="f33" fmla="*/ f4 1 f29"/>
                <a:gd name="f34" fmla="*/ f30 f24 1"/>
                <a:gd name="f35" fmla="*/ f31 f24 1"/>
                <a:gd name="f36" fmla="*/ f33 f25 1"/>
                <a:gd name="f37" fmla="*/ f32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37" r="f35" b="f36"/>
              <a:pathLst>
                <a:path w="2807368" h="600807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lnTo>
                    <a:pt x="f3" y="f13"/>
                  </a:lnTo>
                  <a:lnTo>
                    <a:pt x="f3" y="f14"/>
                  </a:lnTo>
                  <a:lnTo>
                    <a:pt x="f15" y="f16"/>
                  </a:lnTo>
                  <a:cubicBezTo>
                    <a:pt x="f17" y="f18"/>
                    <a:pt x="f19" y="f20"/>
                    <a:pt x="f21" y="f22"/>
                  </a:cubicBezTo>
                  <a:lnTo>
                    <a:pt x="f2" y="f23"/>
                  </a:ln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6" name="Google Shape;477;p46">
              <a:extLst>
                <a:ext uri="{FF2B5EF4-FFF2-40B4-BE49-F238E27FC236}">
                  <a16:creationId xmlns:a16="http://schemas.microsoft.com/office/drawing/2014/main" id="{E4251717-F039-BA17-E295-D59C4F9CC3AB}"/>
                </a:ext>
              </a:extLst>
            </p:cNvPr>
            <p:cNvSpPr/>
            <p:nvPr/>
          </p:nvSpPr>
          <p:spPr>
            <a:xfrm>
              <a:off x="0" y="5379424"/>
              <a:ext cx="2807363" cy="64980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49803"/>
                <a:gd name="f5" fmla="val 282676"/>
                <a:gd name="f6" fmla="val 70799"/>
                <a:gd name="f7" fmla="val 435964"/>
                <a:gd name="f8" fmla="val 106085"/>
                <a:gd name="f9" fmla="val 588770"/>
                <a:gd name="f10" fmla="val 137629"/>
                <a:gd name="f11" fmla="val 740881"/>
                <a:gd name="f12" fmla="val 163828"/>
                <a:gd name="f13" fmla="val 1362800"/>
                <a:gd name="f14" fmla="val 270912"/>
                <a:gd name="f15" fmla="val 2067879"/>
                <a:gd name="f16" fmla="val 253759"/>
                <a:gd name="f17" fmla="val 2706471"/>
                <a:gd name="f18" fmla="val 96397"/>
                <a:gd name="f19" fmla="val 67250"/>
                <a:gd name="f20" fmla="val 605551"/>
                <a:gd name="f21" fmla="val 2602685"/>
                <a:gd name="f22" fmla="val 629466"/>
                <a:gd name="f23" fmla="val 1684237"/>
                <a:gd name="f24" fmla="val 708219"/>
                <a:gd name="f25" fmla="val 893252"/>
                <a:gd name="f26" fmla="val 549395"/>
                <a:gd name="f27" fmla="val 105614"/>
                <a:gd name="f28" fmla="val 305882"/>
                <a:gd name="f29" fmla="val 271926"/>
                <a:gd name="f30" fmla="*/ f0 1 2807368"/>
                <a:gd name="f31" fmla="*/ f1 1 649803"/>
                <a:gd name="f32" fmla="+- f4 0 f2"/>
                <a:gd name="f33" fmla="+- f3 0 f2"/>
                <a:gd name="f34" fmla="*/ f33 1 2807368"/>
                <a:gd name="f35" fmla="*/ f32 1 649803"/>
                <a:gd name="f36" fmla="*/ f2 1 f34"/>
                <a:gd name="f37" fmla="*/ f3 1 f34"/>
                <a:gd name="f38" fmla="*/ f2 1 f35"/>
                <a:gd name="f39" fmla="*/ f4 1 f35"/>
                <a:gd name="f40" fmla="*/ f36 f30 1"/>
                <a:gd name="f41" fmla="*/ f37 f30 1"/>
                <a:gd name="f42" fmla="*/ f39 f31 1"/>
                <a:gd name="f43" fmla="*/ f3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2807368" h="649803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19"/>
                  </a:lnTo>
                  <a:lnTo>
                    <a:pt x="f3" y="f20"/>
                  </a:lnTo>
                  <a:lnTo>
                    <a:pt x="f21" y="f22"/>
                  </a:lnTo>
                  <a:cubicBezTo>
                    <a:pt x="f23" y="f24"/>
                    <a:pt x="f25" y="f26"/>
                    <a:pt x="f27" y="f28"/>
                  </a:cubicBezTo>
                  <a:lnTo>
                    <a:pt x="f2" y="f29"/>
                  </a:ln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pic>
        <p:nvPicPr>
          <p:cNvPr id="7" name="Google Shape;479;p46">
            <a:extLst>
              <a:ext uri="{FF2B5EF4-FFF2-40B4-BE49-F238E27FC236}">
                <a16:creationId xmlns:a16="http://schemas.microsoft.com/office/drawing/2014/main" id="{ED5240B3-5252-AC85-C520-6F6696F2A73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513344" y="4385535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378370030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a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81;p47">
            <a:extLst>
              <a:ext uri="{FF2B5EF4-FFF2-40B4-BE49-F238E27FC236}">
                <a16:creationId xmlns:a16="http://schemas.microsoft.com/office/drawing/2014/main" id="{4BEEA44E-D4DB-1AA1-61BA-6FBAD6E714A4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482;p47">
            <a:extLst>
              <a:ext uri="{FF2B5EF4-FFF2-40B4-BE49-F238E27FC236}">
                <a16:creationId xmlns:a16="http://schemas.microsoft.com/office/drawing/2014/main" id="{D61D1EEA-7B92-4F71-CB7B-8F6AAB7D31B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483;p47">
            <a:extLst>
              <a:ext uri="{FF2B5EF4-FFF2-40B4-BE49-F238E27FC236}">
                <a16:creationId xmlns:a16="http://schemas.microsoft.com/office/drawing/2014/main" id="{10F33FE1-8920-B98F-6B32-B41B8593C2E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484;p47">
            <a:extLst>
              <a:ext uri="{FF2B5EF4-FFF2-40B4-BE49-F238E27FC236}">
                <a16:creationId xmlns:a16="http://schemas.microsoft.com/office/drawing/2014/main" id="{4183A918-7319-130C-04D7-1B0DB9D2A58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BAB098B8-D7DA-43C1-9F6C-8F16DE5C5CF1}" type="slidenum">
              <a:t>‹#›</a:t>
            </a:fld>
            <a:endParaRPr lang="en-US"/>
          </a:p>
        </p:txBody>
      </p:sp>
      <p:cxnSp>
        <p:nvCxnSpPr>
          <p:cNvPr id="6" name="Google Shape;485;p47">
            <a:extLst>
              <a:ext uri="{FF2B5EF4-FFF2-40B4-BE49-F238E27FC236}">
                <a16:creationId xmlns:a16="http://schemas.microsoft.com/office/drawing/2014/main" id="{AD281216-6645-21BD-5691-5BF95E4F62F0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486;p47">
            <a:extLst>
              <a:ext uri="{FF2B5EF4-FFF2-40B4-BE49-F238E27FC236}">
                <a16:creationId xmlns:a16="http://schemas.microsoft.com/office/drawing/2014/main" id="{5F3FC906-0324-4B61-71DC-65608D81CFFA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487;p47">
            <a:extLst>
              <a:ext uri="{FF2B5EF4-FFF2-40B4-BE49-F238E27FC236}">
                <a16:creationId xmlns:a16="http://schemas.microsoft.com/office/drawing/2014/main" id="{F1604765-3128-8AFA-325C-B450D1501000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488;p47">
              <a:extLst>
                <a:ext uri="{FF2B5EF4-FFF2-40B4-BE49-F238E27FC236}">
                  <a16:creationId xmlns:a16="http://schemas.microsoft.com/office/drawing/2014/main" id="{F8BA6302-A513-0CD5-2E95-37BA636221E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489;p47">
              <a:extLst>
                <a:ext uri="{FF2B5EF4-FFF2-40B4-BE49-F238E27FC236}">
                  <a16:creationId xmlns:a16="http://schemas.microsoft.com/office/drawing/2014/main" id="{614F1703-35B5-964F-5D29-B55A68067693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490;p47">
                <a:extLst>
                  <a:ext uri="{FF2B5EF4-FFF2-40B4-BE49-F238E27FC236}">
                    <a16:creationId xmlns:a16="http://schemas.microsoft.com/office/drawing/2014/main" id="{3F49220C-AD4A-7B27-D0BA-4D986AD4102F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491;p47">
                <a:extLst>
                  <a:ext uri="{FF2B5EF4-FFF2-40B4-BE49-F238E27FC236}">
                    <a16:creationId xmlns:a16="http://schemas.microsoft.com/office/drawing/2014/main" id="{340BA4DB-31CA-4498-F2D4-97F6FEDB5B4A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492;p47" descr="Open quotation mark with solid fill">
            <a:extLst>
              <a:ext uri="{FF2B5EF4-FFF2-40B4-BE49-F238E27FC236}">
                <a16:creationId xmlns:a16="http://schemas.microsoft.com/office/drawing/2014/main" id="{D5546C2C-C548-3D4C-3936-8764025329D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884426282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a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94;p48">
            <a:extLst>
              <a:ext uri="{FF2B5EF4-FFF2-40B4-BE49-F238E27FC236}">
                <a16:creationId xmlns:a16="http://schemas.microsoft.com/office/drawing/2014/main" id="{BFAF3DE5-26E5-3EBC-8A2E-493B073F0639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495;p48">
            <a:extLst>
              <a:ext uri="{FF2B5EF4-FFF2-40B4-BE49-F238E27FC236}">
                <a16:creationId xmlns:a16="http://schemas.microsoft.com/office/drawing/2014/main" id="{6766848C-819F-6996-D043-5B4359F4701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496;p48">
            <a:extLst>
              <a:ext uri="{FF2B5EF4-FFF2-40B4-BE49-F238E27FC236}">
                <a16:creationId xmlns:a16="http://schemas.microsoft.com/office/drawing/2014/main" id="{1A2C98AB-65B9-8348-D9DB-737D8FBE2F6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497;p48">
            <a:extLst>
              <a:ext uri="{FF2B5EF4-FFF2-40B4-BE49-F238E27FC236}">
                <a16:creationId xmlns:a16="http://schemas.microsoft.com/office/drawing/2014/main" id="{2271917C-DCEF-1567-70F9-525571A6393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720DEAAB-5418-47ED-9436-4D39233D98C7}" type="slidenum">
              <a:t>‹#›</a:t>
            </a:fld>
            <a:endParaRPr lang="en-US"/>
          </a:p>
        </p:txBody>
      </p:sp>
      <p:cxnSp>
        <p:nvCxnSpPr>
          <p:cNvPr id="6" name="Google Shape;498;p48">
            <a:extLst>
              <a:ext uri="{FF2B5EF4-FFF2-40B4-BE49-F238E27FC236}">
                <a16:creationId xmlns:a16="http://schemas.microsoft.com/office/drawing/2014/main" id="{F2E14A88-434D-58F4-C3B0-FA5BB163D2C4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499;p48">
            <a:extLst>
              <a:ext uri="{FF2B5EF4-FFF2-40B4-BE49-F238E27FC236}">
                <a16:creationId xmlns:a16="http://schemas.microsoft.com/office/drawing/2014/main" id="{C48C10F3-5F85-DC6C-1DB2-243115AC3F7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500;p48">
            <a:extLst>
              <a:ext uri="{FF2B5EF4-FFF2-40B4-BE49-F238E27FC236}">
                <a16:creationId xmlns:a16="http://schemas.microsoft.com/office/drawing/2014/main" id="{B7B54800-7A4B-92F1-610F-9DDBA9D14496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501;p48">
              <a:extLst>
                <a:ext uri="{FF2B5EF4-FFF2-40B4-BE49-F238E27FC236}">
                  <a16:creationId xmlns:a16="http://schemas.microsoft.com/office/drawing/2014/main" id="{19B90B3F-567C-A285-3473-86F6B9B39C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502;p48">
              <a:extLst>
                <a:ext uri="{FF2B5EF4-FFF2-40B4-BE49-F238E27FC236}">
                  <a16:creationId xmlns:a16="http://schemas.microsoft.com/office/drawing/2014/main" id="{681FFD90-5C49-C1A2-FE00-5BCD2A3CC4DD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503;p48">
                <a:extLst>
                  <a:ext uri="{FF2B5EF4-FFF2-40B4-BE49-F238E27FC236}">
                    <a16:creationId xmlns:a16="http://schemas.microsoft.com/office/drawing/2014/main" id="{F400B65A-40A8-DF30-02CA-C3E4F3B782C5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504;p48">
                <a:extLst>
                  <a:ext uri="{FF2B5EF4-FFF2-40B4-BE49-F238E27FC236}">
                    <a16:creationId xmlns:a16="http://schemas.microsoft.com/office/drawing/2014/main" id="{C77CDB6A-CAC5-00DD-28E0-E57C3AD893C5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505;p48" descr="Open quotation mark with solid fill">
            <a:extLst>
              <a:ext uri="{FF2B5EF4-FFF2-40B4-BE49-F238E27FC236}">
                <a16:creationId xmlns:a16="http://schemas.microsoft.com/office/drawing/2014/main" id="{60E74326-37A8-1288-AB4D-AA76B3D40E0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841292704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507;p49">
            <a:extLst>
              <a:ext uri="{FF2B5EF4-FFF2-40B4-BE49-F238E27FC236}">
                <a16:creationId xmlns:a16="http://schemas.microsoft.com/office/drawing/2014/main" id="{00E7F500-7AB8-9F0B-6ADD-22B4239CFE87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3" name="Google Shape;508;p49">
            <a:extLst>
              <a:ext uri="{FF2B5EF4-FFF2-40B4-BE49-F238E27FC236}">
                <a16:creationId xmlns:a16="http://schemas.microsoft.com/office/drawing/2014/main" id="{BCD2EB41-B544-D6F5-240D-E838B75E0CA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grpSp>
        <p:nvGrpSpPr>
          <p:cNvPr id="4" name="Google Shape;509;p49">
            <a:extLst>
              <a:ext uri="{FF2B5EF4-FFF2-40B4-BE49-F238E27FC236}">
                <a16:creationId xmlns:a16="http://schemas.microsoft.com/office/drawing/2014/main" id="{759DB776-FE6D-96A9-F45E-BECF1D054C9A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5" name="Google Shape;510;p49">
              <a:extLst>
                <a:ext uri="{FF2B5EF4-FFF2-40B4-BE49-F238E27FC236}">
                  <a16:creationId xmlns:a16="http://schemas.microsoft.com/office/drawing/2014/main" id="{7D0F6A1A-B229-DD75-1DC6-B760C564B18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6" name="Google Shape;511;p49">
              <a:extLst>
                <a:ext uri="{FF2B5EF4-FFF2-40B4-BE49-F238E27FC236}">
                  <a16:creationId xmlns:a16="http://schemas.microsoft.com/office/drawing/2014/main" id="{D21FF5F7-DD81-6CF7-6207-BF92250FED45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7" name="Google Shape;512;p49">
                <a:extLst>
                  <a:ext uri="{FF2B5EF4-FFF2-40B4-BE49-F238E27FC236}">
                    <a16:creationId xmlns:a16="http://schemas.microsoft.com/office/drawing/2014/main" id="{456E4F74-AEF3-AB1F-306B-588CC689D319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8" name="Google Shape;513;p49">
                <a:extLst>
                  <a:ext uri="{FF2B5EF4-FFF2-40B4-BE49-F238E27FC236}">
                    <a16:creationId xmlns:a16="http://schemas.microsoft.com/office/drawing/2014/main" id="{2678D445-9C5F-8D04-4D75-7DC99F1213A5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9" name="Google Shape;514;p49">
            <a:extLst>
              <a:ext uri="{FF2B5EF4-FFF2-40B4-BE49-F238E27FC236}">
                <a16:creationId xmlns:a16="http://schemas.microsoft.com/office/drawing/2014/main" id="{DC25BEF5-A762-2672-7BC1-5E41DC77262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Google Shape;515;p49">
            <a:extLst>
              <a:ext uri="{FF2B5EF4-FFF2-40B4-BE49-F238E27FC236}">
                <a16:creationId xmlns:a16="http://schemas.microsoft.com/office/drawing/2014/main" id="{F9D64E3E-2864-E671-285F-EA5CA0278D5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8839193" y="6356351"/>
            <a:ext cx="2743200" cy="365129"/>
          </a:xfrm>
        </p:spPr>
        <p:txBody>
          <a:bodyPr/>
          <a:lstStyle>
            <a:lvl1pPr>
              <a:defRPr/>
            </a:lvl1pPr>
          </a:lstStyle>
          <a:p>
            <a:pPr lvl="0"/>
            <a:fld id="{DFDA0202-CB53-40F9-B6D1-98AC33AA5A42}" type="slidenum">
              <a:t>‹#›</a:t>
            </a:fld>
            <a:endParaRPr lang="en-US"/>
          </a:p>
        </p:txBody>
      </p:sp>
      <p:cxnSp>
        <p:nvCxnSpPr>
          <p:cNvPr id="11" name="Google Shape;516;p49">
            <a:extLst>
              <a:ext uri="{FF2B5EF4-FFF2-40B4-BE49-F238E27FC236}">
                <a16:creationId xmlns:a16="http://schemas.microsoft.com/office/drawing/2014/main" id="{3D2F957E-D86F-31B3-9B31-76E23A245F3C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2" name="Google Shape;517;p49">
            <a:extLst>
              <a:ext uri="{FF2B5EF4-FFF2-40B4-BE49-F238E27FC236}">
                <a16:creationId xmlns:a16="http://schemas.microsoft.com/office/drawing/2014/main" id="{CF776037-1C63-D593-1BFB-DE2146D4D4EA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436993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519;p50">
            <a:extLst>
              <a:ext uri="{FF2B5EF4-FFF2-40B4-BE49-F238E27FC236}">
                <a16:creationId xmlns:a16="http://schemas.microsoft.com/office/drawing/2014/main" id="{D85CC3D3-4AF5-4C04-255B-B3807C95562C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520;p50">
              <a:extLst>
                <a:ext uri="{FF2B5EF4-FFF2-40B4-BE49-F238E27FC236}">
                  <a16:creationId xmlns:a16="http://schemas.microsoft.com/office/drawing/2014/main" id="{EAE2BF73-36AF-C27D-D562-1D2B818C4D0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521;p50">
              <a:extLst>
                <a:ext uri="{FF2B5EF4-FFF2-40B4-BE49-F238E27FC236}">
                  <a16:creationId xmlns:a16="http://schemas.microsoft.com/office/drawing/2014/main" id="{299EA8E0-A4C9-D7B5-76A3-7E95B6231A59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522;p50">
                <a:extLst>
                  <a:ext uri="{FF2B5EF4-FFF2-40B4-BE49-F238E27FC236}">
                    <a16:creationId xmlns:a16="http://schemas.microsoft.com/office/drawing/2014/main" id="{AEEE957D-ABBE-5128-DB8A-D37149B460C6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523;p50">
                <a:extLst>
                  <a:ext uri="{FF2B5EF4-FFF2-40B4-BE49-F238E27FC236}">
                    <a16:creationId xmlns:a16="http://schemas.microsoft.com/office/drawing/2014/main" id="{54036043-D569-C632-3386-149CCC96A07E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524;p50">
            <a:extLst>
              <a:ext uri="{FF2B5EF4-FFF2-40B4-BE49-F238E27FC236}">
                <a16:creationId xmlns:a16="http://schemas.microsoft.com/office/drawing/2014/main" id="{0E8AE650-748A-5F0A-F25A-A51283B0021A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525;p50">
            <a:extLst>
              <a:ext uri="{FF2B5EF4-FFF2-40B4-BE49-F238E27FC236}">
                <a16:creationId xmlns:a16="http://schemas.microsoft.com/office/drawing/2014/main" id="{E7E0EFDE-8BE8-FC64-6E7B-5E131BBADC0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681160"/>
            <a:ext cx="538797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9" name="Google Shape;526;p50">
            <a:extLst>
              <a:ext uri="{FF2B5EF4-FFF2-40B4-BE49-F238E27FC236}">
                <a16:creationId xmlns:a16="http://schemas.microsoft.com/office/drawing/2014/main" id="{597DEF29-CF1B-E7D8-6910-F4FD701FCAE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2505071"/>
            <a:ext cx="5387973" cy="3684583"/>
          </a:xfrm>
          <a:solidFill>
            <a:srgbClr val="F3F6FB"/>
          </a:solidFill>
        </p:spPr>
        <p:txBody>
          <a:bodyPr lIns="182870" tIns="0" rIns="182870" bIns="0">
            <a:normAutofit/>
          </a:bodyPr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0" name="Google Shape;527;p50">
            <a:extLst>
              <a:ext uri="{FF2B5EF4-FFF2-40B4-BE49-F238E27FC236}">
                <a16:creationId xmlns:a16="http://schemas.microsoft.com/office/drawing/2014/main" id="{0CB1393E-E5A8-EAF3-00A1-A70D3429E37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681160"/>
            <a:ext cx="541020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11" name="Google Shape;528;p50">
            <a:extLst>
              <a:ext uri="{FF2B5EF4-FFF2-40B4-BE49-F238E27FC236}">
                <a16:creationId xmlns:a16="http://schemas.microsoft.com/office/drawing/2014/main" id="{90679DDC-B890-D439-8392-5B88CA2D85C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2505071"/>
            <a:ext cx="5410203" cy="3684583"/>
          </a:xfrm>
          <a:solidFill>
            <a:srgbClr val="F3F6FB"/>
          </a:solidFill>
        </p:spPr>
        <p:txBody>
          <a:bodyPr lIns="182870" tIns="0" rIns="182870" bIns="0"/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2" name="Google Shape;529;p50">
            <a:extLst>
              <a:ext uri="{FF2B5EF4-FFF2-40B4-BE49-F238E27FC236}">
                <a16:creationId xmlns:a16="http://schemas.microsoft.com/office/drawing/2014/main" id="{559B587C-51F8-1324-415C-D5BE3AF74F9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B4470558-173A-4108-8733-425F2772A8A2}" type="slidenum">
              <a:t>‹#›</a:t>
            </a:fld>
            <a:endParaRPr lang="en-US"/>
          </a:p>
        </p:txBody>
      </p:sp>
      <p:cxnSp>
        <p:nvCxnSpPr>
          <p:cNvPr id="13" name="Google Shape;530;p50">
            <a:extLst>
              <a:ext uri="{FF2B5EF4-FFF2-40B4-BE49-F238E27FC236}">
                <a16:creationId xmlns:a16="http://schemas.microsoft.com/office/drawing/2014/main" id="{8464DDD8-6FB2-CCE9-F193-6E3B9D6BAD8A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4" name="Google Shape;531;p50">
            <a:extLst>
              <a:ext uri="{FF2B5EF4-FFF2-40B4-BE49-F238E27FC236}">
                <a16:creationId xmlns:a16="http://schemas.microsoft.com/office/drawing/2014/main" id="{AD828564-5477-2B17-DF70-E73A1C376AA6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807019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45216067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533;p51">
            <a:extLst>
              <a:ext uri="{FF2B5EF4-FFF2-40B4-BE49-F238E27FC236}">
                <a16:creationId xmlns:a16="http://schemas.microsoft.com/office/drawing/2014/main" id="{CFFB3A2C-2F8E-4118-C335-72A4FBC17A36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534;p51">
              <a:extLst>
                <a:ext uri="{FF2B5EF4-FFF2-40B4-BE49-F238E27FC236}">
                  <a16:creationId xmlns:a16="http://schemas.microsoft.com/office/drawing/2014/main" id="{ABD09AFB-2646-9B7B-02A1-B6173F3F77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535;p51">
              <a:extLst>
                <a:ext uri="{FF2B5EF4-FFF2-40B4-BE49-F238E27FC236}">
                  <a16:creationId xmlns:a16="http://schemas.microsoft.com/office/drawing/2014/main" id="{FF6A3ACE-C2BE-E892-FCFC-79DE6C516FAB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536;p51">
                <a:extLst>
                  <a:ext uri="{FF2B5EF4-FFF2-40B4-BE49-F238E27FC236}">
                    <a16:creationId xmlns:a16="http://schemas.microsoft.com/office/drawing/2014/main" id="{1A0902F5-09EA-B460-9586-560779ECA51E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537;p51">
                <a:extLst>
                  <a:ext uri="{FF2B5EF4-FFF2-40B4-BE49-F238E27FC236}">
                    <a16:creationId xmlns:a16="http://schemas.microsoft.com/office/drawing/2014/main" id="{DBEDFFC9-6A56-6116-D802-34436259100D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538;p51">
            <a:extLst>
              <a:ext uri="{FF2B5EF4-FFF2-40B4-BE49-F238E27FC236}">
                <a16:creationId xmlns:a16="http://schemas.microsoft.com/office/drawing/2014/main" id="{7DEEFCBC-4D9E-DA4C-6B5B-BB8CD9194D98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539;p51">
            <a:extLst>
              <a:ext uri="{FF2B5EF4-FFF2-40B4-BE49-F238E27FC236}">
                <a16:creationId xmlns:a16="http://schemas.microsoft.com/office/drawing/2014/main" id="{4870CE58-4F09-FEC7-2907-2563A76E70FD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95A1BDD0-E1DB-42FB-BC64-FF8E1FF2A8E4}" type="slidenum">
              <a:t>‹#›</a:t>
            </a:fld>
            <a:endParaRPr lang="en-US"/>
          </a:p>
        </p:txBody>
      </p:sp>
      <p:cxnSp>
        <p:nvCxnSpPr>
          <p:cNvPr id="9" name="Google Shape;540;p51">
            <a:extLst>
              <a:ext uri="{FF2B5EF4-FFF2-40B4-BE49-F238E27FC236}">
                <a16:creationId xmlns:a16="http://schemas.microsoft.com/office/drawing/2014/main" id="{FEEACC41-909D-AE5C-55E1-5910B04018E1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0" name="Google Shape;541;p51">
            <a:extLst>
              <a:ext uri="{FF2B5EF4-FFF2-40B4-BE49-F238E27FC236}">
                <a16:creationId xmlns:a16="http://schemas.microsoft.com/office/drawing/2014/main" id="{C983F583-C6A1-3771-EB96-3697F79B6553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481584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543;p52">
            <a:extLst>
              <a:ext uri="{FF2B5EF4-FFF2-40B4-BE49-F238E27FC236}">
                <a16:creationId xmlns:a16="http://schemas.microsoft.com/office/drawing/2014/main" id="{CCF6980A-9D35-0ED8-D238-86AD0F46B80E}"/>
              </a:ext>
            </a:extLst>
          </p:cNvPr>
          <p:cNvGrpSpPr/>
          <p:nvPr/>
        </p:nvGrpSpPr>
        <p:grpSpPr>
          <a:xfrm>
            <a:off x="0" y="0"/>
            <a:ext cx="12191996" cy="2148830"/>
            <a:chOff x="0" y="0"/>
            <a:chExt cx="12191996" cy="2148830"/>
          </a:xfrm>
        </p:grpSpPr>
        <p:sp>
          <p:nvSpPr>
            <p:cNvPr id="3" name="Google Shape;544;p52">
              <a:extLst>
                <a:ext uri="{FF2B5EF4-FFF2-40B4-BE49-F238E27FC236}">
                  <a16:creationId xmlns:a16="http://schemas.microsoft.com/office/drawing/2014/main" id="{774B465D-7039-38F6-C6BA-F5899BE30BAD}"/>
                </a:ext>
              </a:extLst>
            </p:cNvPr>
            <p:cNvSpPr/>
            <p:nvPr/>
          </p:nvSpPr>
          <p:spPr>
            <a:xfrm flipH="1">
              <a:off x="0" y="0"/>
              <a:ext cx="12191996" cy="214883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2148830"/>
                <a:gd name="f5" fmla="val 2318293"/>
                <a:gd name="f6" fmla="val 2110341"/>
                <a:gd name="f7" fmla="val 1952334"/>
                <a:gd name="f8" fmla="val 920"/>
                <a:gd name="f9" fmla="val 1343499"/>
                <a:gd name="f10" fmla="val 23864"/>
                <a:gd name="f11" fmla="val 752130"/>
                <a:gd name="f12" fmla="val 152982"/>
                <a:gd name="f13" fmla="val 184205"/>
                <a:gd name="f14" fmla="val 435928"/>
                <a:gd name="f15" fmla="val 536864"/>
                <a:gd name="f16" fmla="val 554713"/>
                <a:gd name="f17" fmla="val 201115"/>
                <a:gd name="f18" fmla="val 452796"/>
                <a:gd name="f19" fmla="val 776357"/>
                <a:gd name="f20" fmla="val 187336"/>
                <a:gd name="f21" fmla="val 1349828"/>
                <a:gd name="f22" fmla="val 76760"/>
                <a:gd name="f23" fmla="val 1947588"/>
                <a:gd name="f24" fmla="val 66249"/>
                <a:gd name="f25" fmla="val 2962940"/>
                <a:gd name="f26" fmla="val 48421"/>
                <a:gd name="f27" fmla="val 3890218"/>
                <a:gd name="f28" fmla="val 291317"/>
                <a:gd name="f29" fmla="val 4778140"/>
                <a:gd name="f30" fmla="val 604018"/>
                <a:gd name="f31" fmla="val 7231510"/>
                <a:gd name="f32" fmla="val 1468126"/>
                <a:gd name="f33" fmla="val 9178927"/>
                <a:gd name="f34" fmla="val 2492024"/>
                <a:gd name="f35" fmla="val 11996242"/>
                <a:gd name="f36" fmla="val 2036894"/>
                <a:gd name="f37" fmla="val 2002266"/>
                <a:gd name="f38" fmla="val 1415250"/>
                <a:gd name="f39" fmla="val 12022971"/>
                <a:gd name="f40" fmla="val 1470801"/>
                <a:gd name="f41" fmla="val 10719696"/>
                <a:gd name="f42" fmla="val 1863939"/>
                <a:gd name="f43" fmla="val 9271154"/>
                <a:gd name="f44" fmla="val 1783804"/>
                <a:gd name="f45" fmla="val 7970940"/>
                <a:gd name="f46" fmla="val 1436986"/>
                <a:gd name="f47" fmla="val 6890984"/>
                <a:gd name="f48" fmla="val 1148958"/>
                <a:gd name="f49" fmla="val 5866930"/>
                <a:gd name="f50" fmla="val 767309"/>
                <a:gd name="f51" fmla="val 4800356"/>
                <a:gd name="f52" fmla="val 456582"/>
                <a:gd name="f53" fmla="val 4068903"/>
                <a:gd name="f54" fmla="val 243471"/>
                <a:gd name="f55" fmla="val 3348204"/>
                <a:gd name="f56" fmla="val 74251"/>
                <a:gd name="f57" fmla="val 2646880"/>
                <a:gd name="f58" fmla="val 17560"/>
                <a:gd name="f59" fmla="*/ f0 1 12192000"/>
                <a:gd name="f60" fmla="*/ f1 1 2148830"/>
                <a:gd name="f61" fmla="+- f4 0 f2"/>
                <a:gd name="f62" fmla="+- f3 0 f2"/>
                <a:gd name="f63" fmla="*/ f62 1 12192000"/>
                <a:gd name="f64" fmla="*/ f61 1 2148830"/>
                <a:gd name="f65" fmla="*/ f2 1 f63"/>
                <a:gd name="f66" fmla="*/ f3 1 f63"/>
                <a:gd name="f67" fmla="*/ f2 1 f64"/>
                <a:gd name="f68" fmla="*/ f4 1 f64"/>
                <a:gd name="f69" fmla="*/ f65 f59 1"/>
                <a:gd name="f70" fmla="*/ f66 f59 1"/>
                <a:gd name="f71" fmla="*/ f68 f60 1"/>
                <a:gd name="f72" fmla="*/ f67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9" t="f72" r="f70" b="f71"/>
              <a:pathLst>
                <a:path w="12192000" h="2148830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545;p52">
              <a:extLst>
                <a:ext uri="{FF2B5EF4-FFF2-40B4-BE49-F238E27FC236}">
                  <a16:creationId xmlns:a16="http://schemas.microsoft.com/office/drawing/2014/main" id="{F679B2C9-C580-AD2C-0416-B4D44FB620FC}"/>
                </a:ext>
              </a:extLst>
            </p:cNvPr>
            <p:cNvSpPr/>
            <p:nvPr/>
          </p:nvSpPr>
          <p:spPr>
            <a:xfrm flipH="1">
              <a:off x="0" y="0"/>
              <a:ext cx="12191996" cy="19921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992138"/>
                <a:gd name="f5" fmla="val 2724271"/>
                <a:gd name="f6" fmla="val 1788442"/>
                <a:gd name="f7" fmla="val 1635403"/>
                <a:gd name="f8" fmla="val 12925"/>
                <a:gd name="f9" fmla="val 1134241"/>
                <a:gd name="f10" fmla="val 70905"/>
                <a:gd name="f11" fmla="val 647221"/>
                <a:gd name="f12" fmla="val 207817"/>
                <a:gd name="f13" fmla="val 178220"/>
                <a:gd name="f14" fmla="val 451207"/>
                <a:gd name="f15" fmla="val 552718"/>
                <a:gd name="f16" fmla="val 570885"/>
                <a:gd name="f17" fmla="val 195368"/>
                <a:gd name="f18" fmla="val 467800"/>
                <a:gd name="f19" fmla="val 765758"/>
                <a:gd name="f20" fmla="val 193094"/>
                <a:gd name="f21" fmla="val 1336955"/>
                <a:gd name="f22" fmla="val 73179"/>
                <a:gd name="f23" fmla="val 1934073"/>
                <a:gd name="f24" fmla="val 52850"/>
                <a:gd name="f25" fmla="val 2948304"/>
                <a:gd name="f26" fmla="val 18310"/>
                <a:gd name="f27" fmla="val 3878878"/>
                <a:gd name="f28" fmla="val 245747"/>
                <a:gd name="f29" fmla="val 4771217"/>
                <a:gd name="f30" fmla="val 543645"/>
                <a:gd name="f31" fmla="val 7236913"/>
                <a:gd name="f32" fmla="val 1366709"/>
                <a:gd name="f33" fmla="val 9199689"/>
                <a:gd name="f34" fmla="val 2357774"/>
                <a:gd name="f35" fmla="val 12007222"/>
                <a:gd name="f36" fmla="val 1856729"/>
                <a:gd name="f37" fmla="val 1820900"/>
                <a:gd name="f38" fmla="val 897073"/>
                <a:gd name="f39" fmla="val 12062517"/>
                <a:gd name="f40" fmla="val 950128"/>
                <a:gd name="f41" fmla="val 10950292"/>
                <a:gd name="f42" fmla="val 1376478"/>
                <a:gd name="f43" fmla="val 9595706"/>
                <a:gd name="f44" fmla="val 1466451"/>
                <a:gd name="f45" fmla="val 8435105"/>
                <a:gd name="f46" fmla="val 1266613"/>
                <a:gd name="f47" fmla="val 6618389"/>
                <a:gd name="f48" fmla="val 953715"/>
                <a:gd name="f49" fmla="val 4735222"/>
                <a:gd name="f50" fmla="val 130088"/>
                <a:gd name="f51" fmla="val 2948502"/>
                <a:gd name="f52" fmla="val 20548"/>
                <a:gd name="f53" fmla="*/ f0 1 12192000"/>
                <a:gd name="f54" fmla="*/ f1 1 1992138"/>
                <a:gd name="f55" fmla="+- f4 0 f2"/>
                <a:gd name="f56" fmla="+- f3 0 f2"/>
                <a:gd name="f57" fmla="*/ f56 1 12192000"/>
                <a:gd name="f58" fmla="*/ f55 1 1992138"/>
                <a:gd name="f59" fmla="*/ f2 1 f57"/>
                <a:gd name="f60" fmla="*/ f3 1 f57"/>
                <a:gd name="f61" fmla="*/ f2 1 f58"/>
                <a:gd name="f62" fmla="*/ f4 1 f58"/>
                <a:gd name="f63" fmla="*/ f59 f53 1"/>
                <a:gd name="f64" fmla="*/ f60 f53 1"/>
                <a:gd name="f65" fmla="*/ f62 f54 1"/>
                <a:gd name="f66" fmla="*/ f61 f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3" t="f66" r="f64" b="f65"/>
              <a:pathLst>
                <a:path w="12192000" h="1992138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lose/>
                </a:path>
              </a:pathLst>
            </a:custGeom>
            <a:solidFill>
              <a:srgbClr val="00498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sp>
        <p:nvSpPr>
          <p:cNvPr id="5" name="Google Shape;546;p52">
            <a:extLst>
              <a:ext uri="{FF2B5EF4-FFF2-40B4-BE49-F238E27FC236}">
                <a16:creationId xmlns:a16="http://schemas.microsoft.com/office/drawing/2014/main" id="{511E9627-099D-26B8-68DC-50B0E44781A0}"/>
              </a:ext>
            </a:extLst>
          </p:cNvPr>
          <p:cNvSpPr/>
          <p:nvPr/>
        </p:nvSpPr>
        <p:spPr>
          <a:xfrm>
            <a:off x="902366" y="1517693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6" name="Google Shape;547;p52">
            <a:extLst>
              <a:ext uri="{FF2B5EF4-FFF2-40B4-BE49-F238E27FC236}">
                <a16:creationId xmlns:a16="http://schemas.microsoft.com/office/drawing/2014/main" id="{060A913A-502E-8209-EB13-68C6EA920D1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219196" y="3429000"/>
            <a:ext cx="5582649" cy="1413561"/>
          </a:xfrm>
        </p:spPr>
        <p:txBody>
          <a:bodyPr/>
          <a:lstStyle>
            <a:lvl1pPr indent="-228600">
              <a:buNone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7" name="Google Shape;548;p52">
            <a:extLst>
              <a:ext uri="{FF2B5EF4-FFF2-40B4-BE49-F238E27FC236}">
                <a16:creationId xmlns:a16="http://schemas.microsoft.com/office/drawing/2014/main" id="{EBCC72B9-E7E1-4080-E075-6E6CFB8A3FB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19196" y="1887486"/>
            <a:ext cx="5582649" cy="1078260"/>
          </a:xfrm>
        </p:spPr>
        <p:txBody>
          <a:bodyPr/>
          <a:lstStyle>
            <a:lvl1pPr>
              <a:defRPr sz="6000"/>
            </a:lvl1pPr>
          </a:lstStyle>
          <a:p>
            <a:pPr lvl="0"/>
            <a:endParaRPr lang="en-US"/>
          </a:p>
        </p:txBody>
      </p:sp>
      <p:pic>
        <p:nvPicPr>
          <p:cNvPr id="8" name="Google Shape;549;p52">
            <a:extLst>
              <a:ext uri="{FF2B5EF4-FFF2-40B4-BE49-F238E27FC236}">
                <a16:creationId xmlns:a16="http://schemas.microsoft.com/office/drawing/2014/main" id="{040E6908-98D2-1F42-159E-E2F1AD436CB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902366" y="228371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474546608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552;p53">
            <a:extLst>
              <a:ext uri="{FF2B5EF4-FFF2-40B4-BE49-F238E27FC236}">
                <a16:creationId xmlns:a16="http://schemas.microsoft.com/office/drawing/2014/main" id="{AFE55D45-59C9-1CE1-0786-B8B7806C9B2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0FD4ADB5-3BD5-48F6-B076-C5E3DD077EAD}" type="slidenum">
              <a:t>‹#›</a:t>
            </a:fld>
            <a:endParaRPr lang="en-US"/>
          </a:p>
        </p:txBody>
      </p:sp>
      <p:cxnSp>
        <p:nvCxnSpPr>
          <p:cNvPr id="3" name="Google Shape;553;p53">
            <a:extLst>
              <a:ext uri="{FF2B5EF4-FFF2-40B4-BE49-F238E27FC236}">
                <a16:creationId xmlns:a16="http://schemas.microsoft.com/office/drawing/2014/main" id="{B22E7F84-7B3B-8BE1-D19B-32DF10CDF83C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4" name="Google Shape;554;p53">
            <a:extLst>
              <a:ext uri="{FF2B5EF4-FFF2-40B4-BE49-F238E27FC236}">
                <a16:creationId xmlns:a16="http://schemas.microsoft.com/office/drawing/2014/main" id="{DBFD0AA4-7ACB-4B47-C8F6-A7D1F5D84B17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555;p53">
            <a:extLst>
              <a:ext uri="{FF2B5EF4-FFF2-40B4-BE49-F238E27FC236}">
                <a16:creationId xmlns:a16="http://schemas.microsoft.com/office/drawing/2014/main" id="{E963C945-E687-F4A5-7368-5C656013E9B6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6" name="Google Shape;556;p53">
              <a:extLst>
                <a:ext uri="{FF2B5EF4-FFF2-40B4-BE49-F238E27FC236}">
                  <a16:creationId xmlns:a16="http://schemas.microsoft.com/office/drawing/2014/main" id="{D13E5669-C4C6-DF77-BEF8-74FBFFBDE27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7" name="Google Shape;557;p53">
              <a:extLst>
                <a:ext uri="{FF2B5EF4-FFF2-40B4-BE49-F238E27FC236}">
                  <a16:creationId xmlns:a16="http://schemas.microsoft.com/office/drawing/2014/main" id="{F5F73395-4C02-006D-680D-9422221387A1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8" name="Google Shape;558;p53">
                <a:extLst>
                  <a:ext uri="{FF2B5EF4-FFF2-40B4-BE49-F238E27FC236}">
                    <a16:creationId xmlns:a16="http://schemas.microsoft.com/office/drawing/2014/main" id="{BD352023-64E8-9302-4AE7-8E99CADAF9C6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9" name="Google Shape;559;p53">
                <a:extLst>
                  <a:ext uri="{FF2B5EF4-FFF2-40B4-BE49-F238E27FC236}">
                    <a16:creationId xmlns:a16="http://schemas.microsoft.com/office/drawing/2014/main" id="{134CA74E-68B3-05CD-E43A-7FA17AD38BC9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05323419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568;p55">
            <a:extLst>
              <a:ext uri="{FF2B5EF4-FFF2-40B4-BE49-F238E27FC236}">
                <a16:creationId xmlns:a16="http://schemas.microsoft.com/office/drawing/2014/main" id="{E25B1B09-B77B-7868-74C0-9E4BC73A582B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3" name="Google Shape;569;p55">
              <a:extLst>
                <a:ext uri="{FF2B5EF4-FFF2-40B4-BE49-F238E27FC236}">
                  <a16:creationId xmlns:a16="http://schemas.microsoft.com/office/drawing/2014/main" id="{B2384BF2-84E0-D7A1-728C-22C837B640CC}"/>
                </a:ext>
              </a:extLst>
            </p:cNvPr>
            <p:cNvSpPr/>
            <p:nvPr/>
          </p:nvSpPr>
          <p:spPr>
            <a:xfrm>
              <a:off x="0" y="5100267"/>
              <a:ext cx="7111371" cy="175773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111369"/>
                <a:gd name="f4" fmla="val 1757730"/>
                <a:gd name="f5" fmla="val 772954"/>
                <a:gd name="f6" fmla="val 2778"/>
                <a:gd name="f7" fmla="val 1769038"/>
                <a:gd name="f8" fmla="val 30799"/>
                <a:gd name="f9" fmla="val 2696750"/>
                <a:gd name="f10" fmla="val 267531"/>
                <a:gd name="f11" fmla="val 3590934"/>
                <a:gd name="f12" fmla="val 566046"/>
                <a:gd name="f13" fmla="val 4684008"/>
                <a:gd name="f14" fmla="val 930921"/>
                <a:gd name="f15" fmla="val 5690778"/>
                <a:gd name="f16" fmla="val 1324625"/>
                <a:gd name="f17" fmla="val 6700767"/>
                <a:gd name="f18" fmla="val 1636882"/>
                <a:gd name="f19" fmla="val 25690"/>
                <a:gd name="f20" fmla="val 2197"/>
                <a:gd name="f21" fmla="val 25414"/>
                <a:gd name="f22" fmla="val 114653"/>
                <a:gd name="f23" fmla="val 14905"/>
                <a:gd name="f24" fmla="val 227801"/>
                <a:gd name="f25" fmla="val 7857"/>
                <a:gd name="f26" fmla="val 341773"/>
                <a:gd name="f27" fmla="val 3976"/>
                <a:gd name="f28" fmla="val 486963"/>
                <a:gd name="f29" fmla="+- 0 0 968"/>
                <a:gd name="f30" fmla="val 630656"/>
                <a:gd name="f31" fmla="+- 0 0 1224"/>
                <a:gd name="f32" fmla="*/ f0 1 7111369"/>
                <a:gd name="f33" fmla="*/ f1 1 1757730"/>
                <a:gd name="f34" fmla="+- f4 0 f2"/>
                <a:gd name="f35" fmla="+- f3 0 f2"/>
                <a:gd name="f36" fmla="*/ f35 1 7111369"/>
                <a:gd name="f37" fmla="*/ f34 1 1757730"/>
                <a:gd name="f38" fmla="*/ f2 1 f36"/>
                <a:gd name="f39" fmla="*/ f3 1 f36"/>
                <a:gd name="f40" fmla="*/ f2 1 f37"/>
                <a:gd name="f41" fmla="*/ f4 1 f37"/>
                <a:gd name="f42" fmla="*/ f38 f32 1"/>
                <a:gd name="f43" fmla="*/ f39 f32 1"/>
                <a:gd name="f44" fmla="*/ f41 f33 1"/>
                <a:gd name="f45" fmla="*/ f40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2" t="f45" r="f43" b="f44"/>
              <a:pathLst>
                <a:path w="7111369" h="1757730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4"/>
                  </a:lnTo>
                  <a:lnTo>
                    <a:pt x="f2" y="f4"/>
                  </a:lnTo>
                  <a:lnTo>
                    <a:pt x="f2" y="f19"/>
                  </a:lnTo>
                  <a:lnTo>
                    <a:pt x="f20" y="f21"/>
                  </a:ln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5" y="f6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570;p55">
              <a:extLst>
                <a:ext uri="{FF2B5EF4-FFF2-40B4-BE49-F238E27FC236}">
                  <a16:creationId xmlns:a16="http://schemas.microsoft.com/office/drawing/2014/main" id="{BF9594D6-0D37-4EEC-B60B-756C00FF5D21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5" name="Google Shape;571;p55">
              <a:extLst>
                <a:ext uri="{FF2B5EF4-FFF2-40B4-BE49-F238E27FC236}">
                  <a16:creationId xmlns:a16="http://schemas.microsoft.com/office/drawing/2014/main" id="{7B93889A-4F4F-FEAD-991F-B12BEFBD9AE8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572;p55">
              <a:extLst>
                <a:ext uri="{FF2B5EF4-FFF2-40B4-BE49-F238E27FC236}">
                  <a16:creationId xmlns:a16="http://schemas.microsoft.com/office/drawing/2014/main" id="{9DC1E56F-8E10-75F3-4078-78B035699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7" name="Google Shape;573;p55">
            <a:extLst>
              <a:ext uri="{FF2B5EF4-FFF2-40B4-BE49-F238E27FC236}">
                <a16:creationId xmlns:a16="http://schemas.microsoft.com/office/drawing/2014/main" id="{9F9E3E63-8691-B475-8D18-E477D7D89D5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701747"/>
            <a:ext cx="9365376" cy="2014679"/>
          </a:xfrm>
        </p:spPr>
        <p:txBody>
          <a:bodyPr anchor="b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574;p55">
            <a:extLst>
              <a:ext uri="{FF2B5EF4-FFF2-40B4-BE49-F238E27FC236}">
                <a16:creationId xmlns:a16="http://schemas.microsoft.com/office/drawing/2014/main" id="{633ECFE9-E43E-2C27-F194-9263A54EB423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081637"/>
            <a:ext cx="9365376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590977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576;p56">
            <a:extLst>
              <a:ext uri="{FF2B5EF4-FFF2-40B4-BE49-F238E27FC236}">
                <a16:creationId xmlns:a16="http://schemas.microsoft.com/office/drawing/2014/main" id="{AE5FA273-27E1-EE52-866B-B30F8CC2A8C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57200" y="1146255"/>
            <a:ext cx="2350172" cy="2971800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cxnSp>
        <p:nvCxnSpPr>
          <p:cNvPr id="3" name="Google Shape;577;p56">
            <a:extLst>
              <a:ext uri="{FF2B5EF4-FFF2-40B4-BE49-F238E27FC236}">
                <a16:creationId xmlns:a16="http://schemas.microsoft.com/office/drawing/2014/main" id="{3D745659-C9E9-5941-20AC-2696F70B4225}"/>
              </a:ext>
            </a:extLst>
          </p:cNvPr>
          <p:cNvCxnSpPr/>
          <p:nvPr/>
        </p:nvCxnSpPr>
        <p:spPr>
          <a:xfrm>
            <a:off x="457200" y="947985"/>
            <a:ext cx="2350163" cy="0"/>
          </a:xfrm>
          <a:prstGeom prst="straightConnector1">
            <a:avLst/>
          </a:prstGeom>
          <a:noFill/>
          <a:ln w="31747" cap="flat">
            <a:solidFill>
              <a:srgbClr val="F58366"/>
            </a:solidFill>
            <a:prstDash val="solid"/>
            <a:miter/>
          </a:ln>
        </p:spPr>
      </p:cxnSp>
      <p:grpSp>
        <p:nvGrpSpPr>
          <p:cNvPr id="4" name="Google Shape;578;p56">
            <a:extLst>
              <a:ext uri="{FF2B5EF4-FFF2-40B4-BE49-F238E27FC236}">
                <a16:creationId xmlns:a16="http://schemas.microsoft.com/office/drawing/2014/main" id="{3B2D0D45-6AE5-0278-26CC-5FCFDFB623FD}"/>
              </a:ext>
            </a:extLst>
          </p:cNvPr>
          <p:cNvGrpSpPr/>
          <p:nvPr/>
        </p:nvGrpSpPr>
        <p:grpSpPr>
          <a:xfrm>
            <a:off x="0" y="5379424"/>
            <a:ext cx="2807363" cy="753895"/>
            <a:chOff x="0" y="5379424"/>
            <a:chExt cx="2807363" cy="753895"/>
          </a:xfrm>
        </p:grpSpPr>
        <p:sp>
          <p:nvSpPr>
            <p:cNvPr id="5" name="Google Shape;579;p56">
              <a:extLst>
                <a:ext uri="{FF2B5EF4-FFF2-40B4-BE49-F238E27FC236}">
                  <a16:creationId xmlns:a16="http://schemas.microsoft.com/office/drawing/2014/main" id="{B1B8F3A3-425B-67CD-E081-548FB3976C66}"/>
                </a:ext>
              </a:extLst>
            </p:cNvPr>
            <p:cNvSpPr/>
            <p:nvPr/>
          </p:nvSpPr>
          <p:spPr>
            <a:xfrm>
              <a:off x="0" y="5532513"/>
              <a:ext cx="2807363" cy="60080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00807"/>
                <a:gd name="f5" fmla="val 429971"/>
                <a:gd name="f6" fmla="val 123998"/>
                <a:gd name="f7" fmla="val 1184765"/>
                <a:gd name="f8" fmla="val 325331"/>
                <a:gd name="f9" fmla="val 2014184"/>
                <a:gd name="f10" fmla="val 392492"/>
                <a:gd name="f11" fmla="val 2790212"/>
                <a:gd name="f12" fmla="val 235402"/>
                <a:gd name="f13" fmla="val 231522"/>
                <a:gd name="f14" fmla="val 566106"/>
                <a:gd name="f15" fmla="val 2593885"/>
                <a:gd name="f16" fmla="val 587498"/>
                <a:gd name="f17" fmla="val 1673646"/>
                <a:gd name="f18" fmla="val 651184"/>
                <a:gd name="f19" fmla="val 884869"/>
                <a:gd name="f20" fmla="val 479260"/>
                <a:gd name="f21" fmla="val 100844"/>
                <a:gd name="f22" fmla="val 222653"/>
                <a:gd name="f23" fmla="val 188389"/>
                <a:gd name="f24" fmla="*/ f0 1 2807368"/>
                <a:gd name="f25" fmla="*/ f1 1 600807"/>
                <a:gd name="f26" fmla="+- f4 0 f2"/>
                <a:gd name="f27" fmla="+- f3 0 f2"/>
                <a:gd name="f28" fmla="*/ f27 1 2807368"/>
                <a:gd name="f29" fmla="*/ f26 1 600807"/>
                <a:gd name="f30" fmla="*/ f2 1 f28"/>
                <a:gd name="f31" fmla="*/ f3 1 f28"/>
                <a:gd name="f32" fmla="*/ f2 1 f29"/>
                <a:gd name="f33" fmla="*/ f4 1 f29"/>
                <a:gd name="f34" fmla="*/ f30 f24 1"/>
                <a:gd name="f35" fmla="*/ f31 f24 1"/>
                <a:gd name="f36" fmla="*/ f33 f25 1"/>
                <a:gd name="f37" fmla="*/ f32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37" r="f35" b="f36"/>
              <a:pathLst>
                <a:path w="2807368" h="600807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lnTo>
                    <a:pt x="f3" y="f13"/>
                  </a:lnTo>
                  <a:lnTo>
                    <a:pt x="f3" y="f14"/>
                  </a:lnTo>
                  <a:lnTo>
                    <a:pt x="f15" y="f16"/>
                  </a:lnTo>
                  <a:cubicBezTo>
                    <a:pt x="f17" y="f18"/>
                    <a:pt x="f19" y="f20"/>
                    <a:pt x="f21" y="f22"/>
                  </a:cubicBezTo>
                  <a:lnTo>
                    <a:pt x="f2" y="f23"/>
                  </a:ln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6" name="Google Shape;580;p56">
              <a:extLst>
                <a:ext uri="{FF2B5EF4-FFF2-40B4-BE49-F238E27FC236}">
                  <a16:creationId xmlns:a16="http://schemas.microsoft.com/office/drawing/2014/main" id="{01CF65FE-4456-6660-FFFA-40A312CDE89D}"/>
                </a:ext>
              </a:extLst>
            </p:cNvPr>
            <p:cNvSpPr/>
            <p:nvPr/>
          </p:nvSpPr>
          <p:spPr>
            <a:xfrm>
              <a:off x="0" y="5379424"/>
              <a:ext cx="2807363" cy="64980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49803"/>
                <a:gd name="f5" fmla="val 282676"/>
                <a:gd name="f6" fmla="val 70799"/>
                <a:gd name="f7" fmla="val 435964"/>
                <a:gd name="f8" fmla="val 106085"/>
                <a:gd name="f9" fmla="val 588770"/>
                <a:gd name="f10" fmla="val 137629"/>
                <a:gd name="f11" fmla="val 740881"/>
                <a:gd name="f12" fmla="val 163828"/>
                <a:gd name="f13" fmla="val 1362800"/>
                <a:gd name="f14" fmla="val 270912"/>
                <a:gd name="f15" fmla="val 2067879"/>
                <a:gd name="f16" fmla="val 253759"/>
                <a:gd name="f17" fmla="val 2706471"/>
                <a:gd name="f18" fmla="val 96397"/>
                <a:gd name="f19" fmla="val 67250"/>
                <a:gd name="f20" fmla="val 605551"/>
                <a:gd name="f21" fmla="val 2602685"/>
                <a:gd name="f22" fmla="val 629466"/>
                <a:gd name="f23" fmla="val 1684237"/>
                <a:gd name="f24" fmla="val 708219"/>
                <a:gd name="f25" fmla="val 893252"/>
                <a:gd name="f26" fmla="val 549395"/>
                <a:gd name="f27" fmla="val 105614"/>
                <a:gd name="f28" fmla="val 305882"/>
                <a:gd name="f29" fmla="val 271926"/>
                <a:gd name="f30" fmla="*/ f0 1 2807368"/>
                <a:gd name="f31" fmla="*/ f1 1 649803"/>
                <a:gd name="f32" fmla="+- f4 0 f2"/>
                <a:gd name="f33" fmla="+- f3 0 f2"/>
                <a:gd name="f34" fmla="*/ f33 1 2807368"/>
                <a:gd name="f35" fmla="*/ f32 1 649803"/>
                <a:gd name="f36" fmla="*/ f2 1 f34"/>
                <a:gd name="f37" fmla="*/ f3 1 f34"/>
                <a:gd name="f38" fmla="*/ f2 1 f35"/>
                <a:gd name="f39" fmla="*/ f4 1 f35"/>
                <a:gd name="f40" fmla="*/ f36 f30 1"/>
                <a:gd name="f41" fmla="*/ f37 f30 1"/>
                <a:gd name="f42" fmla="*/ f39 f31 1"/>
                <a:gd name="f43" fmla="*/ f3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2807368" h="649803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19"/>
                  </a:lnTo>
                  <a:lnTo>
                    <a:pt x="f3" y="f20"/>
                  </a:lnTo>
                  <a:lnTo>
                    <a:pt x="f21" y="f22"/>
                  </a:lnTo>
                  <a:cubicBezTo>
                    <a:pt x="f23" y="f24"/>
                    <a:pt x="f25" y="f26"/>
                    <a:pt x="f27" y="f28"/>
                  </a:cubicBezTo>
                  <a:lnTo>
                    <a:pt x="f2" y="f29"/>
                  </a:ln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pic>
        <p:nvPicPr>
          <p:cNvPr id="7" name="Google Shape;582;p56">
            <a:extLst>
              <a:ext uri="{FF2B5EF4-FFF2-40B4-BE49-F238E27FC236}">
                <a16:creationId xmlns:a16="http://schemas.microsoft.com/office/drawing/2014/main" id="{8C52EA29-962B-E821-4381-BD4F1099C7C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513344" y="4385535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320661787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584;p57">
            <a:extLst>
              <a:ext uri="{FF2B5EF4-FFF2-40B4-BE49-F238E27FC236}">
                <a16:creationId xmlns:a16="http://schemas.microsoft.com/office/drawing/2014/main" id="{1F846BB1-5359-1757-D4C0-4A2F781FC58F}"/>
              </a:ext>
            </a:extLst>
          </p:cNvPr>
          <p:cNvSpPr/>
          <p:nvPr/>
        </p:nvSpPr>
        <p:spPr>
          <a:xfrm>
            <a:off x="902366" y="1294415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585;p57">
            <a:extLst>
              <a:ext uri="{FF2B5EF4-FFF2-40B4-BE49-F238E27FC236}">
                <a16:creationId xmlns:a16="http://schemas.microsoft.com/office/drawing/2014/main" id="{DEBC6F94-7DFF-E31A-B275-1674176CB34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1561328"/>
            <a:ext cx="5194432" cy="1826340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586;p57">
            <a:extLst>
              <a:ext uri="{FF2B5EF4-FFF2-40B4-BE49-F238E27FC236}">
                <a16:creationId xmlns:a16="http://schemas.microsoft.com/office/drawing/2014/main" id="{3626DC13-9E65-242E-F052-0A77D4526326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766861"/>
            <a:ext cx="5194432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588;p57">
            <a:extLst>
              <a:ext uri="{FF2B5EF4-FFF2-40B4-BE49-F238E27FC236}">
                <a16:creationId xmlns:a16="http://schemas.microsoft.com/office/drawing/2014/main" id="{5AD9D0AE-9441-7C02-C194-48C36BEB2A7C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6" name="Google Shape;589;p57">
              <a:extLst>
                <a:ext uri="{FF2B5EF4-FFF2-40B4-BE49-F238E27FC236}">
                  <a16:creationId xmlns:a16="http://schemas.microsoft.com/office/drawing/2014/main" id="{B14B6A83-873A-337B-112F-36410F0AF9B4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7" name="Google Shape;590;p57">
              <a:extLst>
                <a:ext uri="{FF2B5EF4-FFF2-40B4-BE49-F238E27FC236}">
                  <a16:creationId xmlns:a16="http://schemas.microsoft.com/office/drawing/2014/main" id="{928D9B36-A30E-2BA8-F585-C14D406E36D1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8" name="Google Shape;591;p57">
              <a:extLst>
                <a:ext uri="{FF2B5EF4-FFF2-40B4-BE49-F238E27FC236}">
                  <a16:creationId xmlns:a16="http://schemas.microsoft.com/office/drawing/2014/main" id="{2B43F85A-2B3D-69CD-DD77-16D2738CF4C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695197195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593;p58">
            <a:extLst>
              <a:ext uri="{FF2B5EF4-FFF2-40B4-BE49-F238E27FC236}">
                <a16:creationId xmlns:a16="http://schemas.microsoft.com/office/drawing/2014/main" id="{94988416-79AA-712D-4D46-EC07905F0BEB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594;p58">
              <a:extLst>
                <a:ext uri="{FF2B5EF4-FFF2-40B4-BE49-F238E27FC236}">
                  <a16:creationId xmlns:a16="http://schemas.microsoft.com/office/drawing/2014/main" id="{C8F2B620-5ED1-7D17-CCBB-84E2D09253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595;p58">
              <a:extLst>
                <a:ext uri="{FF2B5EF4-FFF2-40B4-BE49-F238E27FC236}">
                  <a16:creationId xmlns:a16="http://schemas.microsoft.com/office/drawing/2014/main" id="{42A8002A-1368-4CFA-B292-83911143DA93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596;p58">
                <a:extLst>
                  <a:ext uri="{FF2B5EF4-FFF2-40B4-BE49-F238E27FC236}">
                    <a16:creationId xmlns:a16="http://schemas.microsoft.com/office/drawing/2014/main" id="{61B73E83-DE26-515E-A7CE-FD1C2A317C39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597;p58">
                <a:extLst>
                  <a:ext uri="{FF2B5EF4-FFF2-40B4-BE49-F238E27FC236}">
                    <a16:creationId xmlns:a16="http://schemas.microsoft.com/office/drawing/2014/main" id="{FA0A1794-E585-7787-22D2-F35DAF81E8D4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598;p58">
            <a:extLst>
              <a:ext uri="{FF2B5EF4-FFF2-40B4-BE49-F238E27FC236}">
                <a16:creationId xmlns:a16="http://schemas.microsoft.com/office/drawing/2014/main" id="{98963D46-3CE0-C176-EE34-9A63C6BBBE46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599;p58">
            <a:extLst>
              <a:ext uri="{FF2B5EF4-FFF2-40B4-BE49-F238E27FC236}">
                <a16:creationId xmlns:a16="http://schemas.microsoft.com/office/drawing/2014/main" id="{320538DB-ADF8-148C-5971-A701C29B2F1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/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9" name="Google Shape;600;p58">
            <a:extLst>
              <a:ext uri="{FF2B5EF4-FFF2-40B4-BE49-F238E27FC236}">
                <a16:creationId xmlns:a16="http://schemas.microsoft.com/office/drawing/2014/main" id="{00D97D05-46C7-CE94-5B31-BB476E32E5E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608C8FEA-7820-4299-9836-3B347834E9ED}" type="slidenum">
              <a:t>‹#›</a:t>
            </a:fld>
            <a:endParaRPr lang="en-US"/>
          </a:p>
        </p:txBody>
      </p:sp>
      <p:cxnSp>
        <p:nvCxnSpPr>
          <p:cNvPr id="10" name="Google Shape;601;p58">
            <a:extLst>
              <a:ext uri="{FF2B5EF4-FFF2-40B4-BE49-F238E27FC236}">
                <a16:creationId xmlns:a16="http://schemas.microsoft.com/office/drawing/2014/main" id="{238531C8-3A66-D9F8-AFCF-F98938BB1083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1" name="Google Shape;602;p58">
            <a:extLst>
              <a:ext uri="{FF2B5EF4-FFF2-40B4-BE49-F238E27FC236}">
                <a16:creationId xmlns:a16="http://schemas.microsoft.com/office/drawing/2014/main" id="{F017BF17-54C0-F31D-3637-C299D67AF33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874392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604;p59">
            <a:extLst>
              <a:ext uri="{FF2B5EF4-FFF2-40B4-BE49-F238E27FC236}">
                <a16:creationId xmlns:a16="http://schemas.microsoft.com/office/drawing/2014/main" id="{35727C08-C7F5-2AF9-90A5-37A82B72A6F4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3" name="Google Shape;605;p59">
            <a:extLst>
              <a:ext uri="{FF2B5EF4-FFF2-40B4-BE49-F238E27FC236}">
                <a16:creationId xmlns:a16="http://schemas.microsoft.com/office/drawing/2014/main" id="{968340FE-BEED-5C7B-D8CF-67507B02559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grpSp>
        <p:nvGrpSpPr>
          <p:cNvPr id="4" name="Google Shape;606;p59">
            <a:extLst>
              <a:ext uri="{FF2B5EF4-FFF2-40B4-BE49-F238E27FC236}">
                <a16:creationId xmlns:a16="http://schemas.microsoft.com/office/drawing/2014/main" id="{A7762249-1093-EBCA-78F1-BB40964D3FF6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5" name="Google Shape;607;p59">
              <a:extLst>
                <a:ext uri="{FF2B5EF4-FFF2-40B4-BE49-F238E27FC236}">
                  <a16:creationId xmlns:a16="http://schemas.microsoft.com/office/drawing/2014/main" id="{BE9EAD2F-6B0C-F858-C26C-C7F77251DDA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6" name="Google Shape;608;p59">
              <a:extLst>
                <a:ext uri="{FF2B5EF4-FFF2-40B4-BE49-F238E27FC236}">
                  <a16:creationId xmlns:a16="http://schemas.microsoft.com/office/drawing/2014/main" id="{E4E66D27-AF18-D4A0-0662-CDFA629132F3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7" name="Google Shape;609;p59">
                <a:extLst>
                  <a:ext uri="{FF2B5EF4-FFF2-40B4-BE49-F238E27FC236}">
                    <a16:creationId xmlns:a16="http://schemas.microsoft.com/office/drawing/2014/main" id="{AE4F7EAC-5314-0B53-AF43-D6784A6B0D59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8" name="Google Shape;610;p59">
                <a:extLst>
                  <a:ext uri="{FF2B5EF4-FFF2-40B4-BE49-F238E27FC236}">
                    <a16:creationId xmlns:a16="http://schemas.microsoft.com/office/drawing/2014/main" id="{A051E378-374B-03F4-91BF-94E376565063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9" name="Google Shape;611;p59">
            <a:extLst>
              <a:ext uri="{FF2B5EF4-FFF2-40B4-BE49-F238E27FC236}">
                <a16:creationId xmlns:a16="http://schemas.microsoft.com/office/drawing/2014/main" id="{29ACF7FC-1F4A-AC8B-41FB-11189AA3AFE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Google Shape;612;p59">
            <a:extLst>
              <a:ext uri="{FF2B5EF4-FFF2-40B4-BE49-F238E27FC236}">
                <a16:creationId xmlns:a16="http://schemas.microsoft.com/office/drawing/2014/main" id="{32D0CE6A-3BCC-90C5-A4FC-FB8B1792D833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8839193" y="6356351"/>
            <a:ext cx="2743200" cy="365129"/>
          </a:xfrm>
        </p:spPr>
        <p:txBody>
          <a:bodyPr/>
          <a:lstStyle>
            <a:lvl1pPr>
              <a:defRPr/>
            </a:lvl1pPr>
          </a:lstStyle>
          <a:p>
            <a:pPr lvl="0"/>
            <a:fld id="{D2B2D295-8D2C-4548-A96A-1FBE56F80861}" type="slidenum">
              <a:t>‹#›</a:t>
            </a:fld>
            <a:endParaRPr lang="en-US"/>
          </a:p>
        </p:txBody>
      </p:sp>
      <p:cxnSp>
        <p:nvCxnSpPr>
          <p:cNvPr id="11" name="Google Shape;613;p59">
            <a:extLst>
              <a:ext uri="{FF2B5EF4-FFF2-40B4-BE49-F238E27FC236}">
                <a16:creationId xmlns:a16="http://schemas.microsoft.com/office/drawing/2014/main" id="{05B4A068-A948-34D3-3D0D-DB09FC2D56F8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2" name="Google Shape;614;p59">
            <a:extLst>
              <a:ext uri="{FF2B5EF4-FFF2-40B4-BE49-F238E27FC236}">
                <a16:creationId xmlns:a16="http://schemas.microsoft.com/office/drawing/2014/main" id="{25CA4AA2-75F4-50E2-A488-121EC6B80B23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308434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616;p60">
            <a:extLst>
              <a:ext uri="{FF2B5EF4-FFF2-40B4-BE49-F238E27FC236}">
                <a16:creationId xmlns:a16="http://schemas.microsoft.com/office/drawing/2014/main" id="{435D83C1-8FB1-9CB7-4552-92978F5E6D25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617;p60">
              <a:extLst>
                <a:ext uri="{FF2B5EF4-FFF2-40B4-BE49-F238E27FC236}">
                  <a16:creationId xmlns:a16="http://schemas.microsoft.com/office/drawing/2014/main" id="{3BE3EA78-9B3C-4EB2-5EC9-E8D76C18F18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618;p60">
              <a:extLst>
                <a:ext uri="{FF2B5EF4-FFF2-40B4-BE49-F238E27FC236}">
                  <a16:creationId xmlns:a16="http://schemas.microsoft.com/office/drawing/2014/main" id="{C5FBC8AB-E9F3-E2DC-5120-09428F73A5FD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619;p60">
                <a:extLst>
                  <a:ext uri="{FF2B5EF4-FFF2-40B4-BE49-F238E27FC236}">
                    <a16:creationId xmlns:a16="http://schemas.microsoft.com/office/drawing/2014/main" id="{43D1C8D2-CFE2-1C6F-A66E-8601719D7A66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620;p60">
                <a:extLst>
                  <a:ext uri="{FF2B5EF4-FFF2-40B4-BE49-F238E27FC236}">
                    <a16:creationId xmlns:a16="http://schemas.microsoft.com/office/drawing/2014/main" id="{3FCE1AA9-1B97-7A32-9EDD-55CDBFFA1543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621;p60">
            <a:extLst>
              <a:ext uri="{FF2B5EF4-FFF2-40B4-BE49-F238E27FC236}">
                <a16:creationId xmlns:a16="http://schemas.microsoft.com/office/drawing/2014/main" id="{2D0D7D8F-DB9C-A35B-D54F-551BA4089930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622;p60">
            <a:extLst>
              <a:ext uri="{FF2B5EF4-FFF2-40B4-BE49-F238E27FC236}">
                <a16:creationId xmlns:a16="http://schemas.microsoft.com/office/drawing/2014/main" id="{C6136010-9883-5CDE-9F7F-99F14665537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681160"/>
            <a:ext cx="538797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9" name="Google Shape;623;p60">
            <a:extLst>
              <a:ext uri="{FF2B5EF4-FFF2-40B4-BE49-F238E27FC236}">
                <a16:creationId xmlns:a16="http://schemas.microsoft.com/office/drawing/2014/main" id="{FA5954F3-F2F5-B924-3423-EF73B4E4415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2505071"/>
            <a:ext cx="5387973" cy="3684583"/>
          </a:xfrm>
          <a:solidFill>
            <a:srgbClr val="F3F6FB"/>
          </a:solidFill>
        </p:spPr>
        <p:txBody>
          <a:bodyPr lIns="182870" tIns="0" rIns="182870" bIns="0">
            <a:normAutofit/>
          </a:bodyPr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0" name="Google Shape;624;p60">
            <a:extLst>
              <a:ext uri="{FF2B5EF4-FFF2-40B4-BE49-F238E27FC236}">
                <a16:creationId xmlns:a16="http://schemas.microsoft.com/office/drawing/2014/main" id="{6D8017C5-6C8E-FD1F-27C1-D2A4522AF5E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681160"/>
            <a:ext cx="541020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11" name="Google Shape;625;p60">
            <a:extLst>
              <a:ext uri="{FF2B5EF4-FFF2-40B4-BE49-F238E27FC236}">
                <a16:creationId xmlns:a16="http://schemas.microsoft.com/office/drawing/2014/main" id="{0C037007-C3EE-F377-2828-449E160F2F3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2505071"/>
            <a:ext cx="5410203" cy="3684583"/>
          </a:xfrm>
          <a:solidFill>
            <a:srgbClr val="F3F6FB"/>
          </a:solidFill>
        </p:spPr>
        <p:txBody>
          <a:bodyPr lIns="182870" tIns="0" rIns="182870" bIns="0"/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2" name="Google Shape;626;p60">
            <a:extLst>
              <a:ext uri="{FF2B5EF4-FFF2-40B4-BE49-F238E27FC236}">
                <a16:creationId xmlns:a16="http://schemas.microsoft.com/office/drawing/2014/main" id="{74C4B991-E6B2-5EE2-FA50-939D5F3699D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06C5E64A-D730-4A6A-A9DC-8478C78B5336}" type="slidenum">
              <a:t>‹#›</a:t>
            </a:fld>
            <a:endParaRPr lang="en-US"/>
          </a:p>
        </p:txBody>
      </p:sp>
      <p:cxnSp>
        <p:nvCxnSpPr>
          <p:cNvPr id="13" name="Google Shape;627;p60">
            <a:extLst>
              <a:ext uri="{FF2B5EF4-FFF2-40B4-BE49-F238E27FC236}">
                <a16:creationId xmlns:a16="http://schemas.microsoft.com/office/drawing/2014/main" id="{F14B260E-D3E4-60D4-9763-DA91E4C01F0B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4" name="Google Shape;628;p60">
            <a:extLst>
              <a:ext uri="{FF2B5EF4-FFF2-40B4-BE49-F238E27FC236}">
                <a16:creationId xmlns:a16="http://schemas.microsoft.com/office/drawing/2014/main" id="{FC1719B0-67C5-E478-71C3-7959F6626057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8439954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630;p61">
            <a:extLst>
              <a:ext uri="{FF2B5EF4-FFF2-40B4-BE49-F238E27FC236}">
                <a16:creationId xmlns:a16="http://schemas.microsoft.com/office/drawing/2014/main" id="{1FFBA26D-65FA-4F51-C11C-073DA827EB85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631;p61">
            <a:extLst>
              <a:ext uri="{FF2B5EF4-FFF2-40B4-BE49-F238E27FC236}">
                <a16:creationId xmlns:a16="http://schemas.microsoft.com/office/drawing/2014/main" id="{ECEFFD38-86E5-AFED-B4CF-2DC923D706E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632;p61">
            <a:extLst>
              <a:ext uri="{FF2B5EF4-FFF2-40B4-BE49-F238E27FC236}">
                <a16:creationId xmlns:a16="http://schemas.microsoft.com/office/drawing/2014/main" id="{77BA8B69-A5EA-6871-72D8-9583E988055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633;p61">
            <a:extLst>
              <a:ext uri="{FF2B5EF4-FFF2-40B4-BE49-F238E27FC236}">
                <a16:creationId xmlns:a16="http://schemas.microsoft.com/office/drawing/2014/main" id="{04A85AD9-969A-46C3-8695-6FC9B871E9A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D8098F22-8F3E-4F17-BF8B-554A05907203}" type="slidenum">
              <a:t>‹#›</a:t>
            </a:fld>
            <a:endParaRPr lang="en-US"/>
          </a:p>
        </p:txBody>
      </p:sp>
      <p:cxnSp>
        <p:nvCxnSpPr>
          <p:cNvPr id="6" name="Google Shape;634;p61">
            <a:extLst>
              <a:ext uri="{FF2B5EF4-FFF2-40B4-BE49-F238E27FC236}">
                <a16:creationId xmlns:a16="http://schemas.microsoft.com/office/drawing/2014/main" id="{19CAFEE1-4C18-AA36-5478-EC81F95C3164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635;p61">
            <a:extLst>
              <a:ext uri="{FF2B5EF4-FFF2-40B4-BE49-F238E27FC236}">
                <a16:creationId xmlns:a16="http://schemas.microsoft.com/office/drawing/2014/main" id="{EB7E8950-2955-0233-DE05-F208BDC1117E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636;p61">
            <a:extLst>
              <a:ext uri="{FF2B5EF4-FFF2-40B4-BE49-F238E27FC236}">
                <a16:creationId xmlns:a16="http://schemas.microsoft.com/office/drawing/2014/main" id="{5E1C0114-D39B-F116-D496-8509E09C96B5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637;p61">
              <a:extLst>
                <a:ext uri="{FF2B5EF4-FFF2-40B4-BE49-F238E27FC236}">
                  <a16:creationId xmlns:a16="http://schemas.microsoft.com/office/drawing/2014/main" id="{7E93478B-D415-823E-1EF5-AC1396077C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638;p61">
              <a:extLst>
                <a:ext uri="{FF2B5EF4-FFF2-40B4-BE49-F238E27FC236}">
                  <a16:creationId xmlns:a16="http://schemas.microsoft.com/office/drawing/2014/main" id="{3BADDA63-70AD-4979-E2DA-510A6D390533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639;p61">
                <a:extLst>
                  <a:ext uri="{FF2B5EF4-FFF2-40B4-BE49-F238E27FC236}">
                    <a16:creationId xmlns:a16="http://schemas.microsoft.com/office/drawing/2014/main" id="{154DDA93-713D-15BC-0A69-9D694CCC016F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640;p61">
                <a:extLst>
                  <a:ext uri="{FF2B5EF4-FFF2-40B4-BE49-F238E27FC236}">
                    <a16:creationId xmlns:a16="http://schemas.microsoft.com/office/drawing/2014/main" id="{9CED070C-6DB5-72AD-C22B-AB63D3B5D7BC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641;p61" descr="Open quotation mark with solid fill">
            <a:extLst>
              <a:ext uri="{FF2B5EF4-FFF2-40B4-BE49-F238E27FC236}">
                <a16:creationId xmlns:a16="http://schemas.microsoft.com/office/drawing/2014/main" id="{B2539ECE-0CF9-C6C7-3460-A6ACED092EA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4364377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7357678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a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630;p61">
            <a:extLst>
              <a:ext uri="{FF2B5EF4-FFF2-40B4-BE49-F238E27FC236}">
                <a16:creationId xmlns:a16="http://schemas.microsoft.com/office/drawing/2014/main" id="{5A827D31-DC33-B8EA-2146-04CFD1EB8D10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631;p61">
            <a:extLst>
              <a:ext uri="{FF2B5EF4-FFF2-40B4-BE49-F238E27FC236}">
                <a16:creationId xmlns:a16="http://schemas.microsoft.com/office/drawing/2014/main" id="{012FC171-BC20-E44F-6DF6-ECD05F90EA7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632;p61">
            <a:extLst>
              <a:ext uri="{FF2B5EF4-FFF2-40B4-BE49-F238E27FC236}">
                <a16:creationId xmlns:a16="http://schemas.microsoft.com/office/drawing/2014/main" id="{4EDA9285-3456-797D-ECAE-7A79C74DC52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633;p61">
            <a:extLst>
              <a:ext uri="{FF2B5EF4-FFF2-40B4-BE49-F238E27FC236}">
                <a16:creationId xmlns:a16="http://schemas.microsoft.com/office/drawing/2014/main" id="{1459B1B9-6A23-4AA0-2022-7E23D946514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5550BBA1-C43C-4163-9383-BCBFD7ACACB0}" type="slidenum">
              <a:t>‹#›</a:t>
            </a:fld>
            <a:endParaRPr lang="en-US"/>
          </a:p>
        </p:txBody>
      </p:sp>
      <p:cxnSp>
        <p:nvCxnSpPr>
          <p:cNvPr id="6" name="Google Shape;634;p61">
            <a:extLst>
              <a:ext uri="{FF2B5EF4-FFF2-40B4-BE49-F238E27FC236}">
                <a16:creationId xmlns:a16="http://schemas.microsoft.com/office/drawing/2014/main" id="{71E4E832-D227-34DD-5C54-0BB546C5876C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635;p61">
            <a:extLst>
              <a:ext uri="{FF2B5EF4-FFF2-40B4-BE49-F238E27FC236}">
                <a16:creationId xmlns:a16="http://schemas.microsoft.com/office/drawing/2014/main" id="{E03C34E2-2412-2862-71C0-4E9997B6277A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636;p61">
            <a:extLst>
              <a:ext uri="{FF2B5EF4-FFF2-40B4-BE49-F238E27FC236}">
                <a16:creationId xmlns:a16="http://schemas.microsoft.com/office/drawing/2014/main" id="{AD52F85F-8BE4-3E49-B2C5-DAADF1D6F734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637;p61">
              <a:extLst>
                <a:ext uri="{FF2B5EF4-FFF2-40B4-BE49-F238E27FC236}">
                  <a16:creationId xmlns:a16="http://schemas.microsoft.com/office/drawing/2014/main" id="{C3C976DA-F3BF-636F-51D6-2275DD88FB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638;p61">
              <a:extLst>
                <a:ext uri="{FF2B5EF4-FFF2-40B4-BE49-F238E27FC236}">
                  <a16:creationId xmlns:a16="http://schemas.microsoft.com/office/drawing/2014/main" id="{DECB98B9-0A29-5B8D-DC1F-25D9BB595459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639;p61">
                <a:extLst>
                  <a:ext uri="{FF2B5EF4-FFF2-40B4-BE49-F238E27FC236}">
                    <a16:creationId xmlns:a16="http://schemas.microsoft.com/office/drawing/2014/main" id="{A2926BD4-8AE4-F421-6ADE-AF468B0933D0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640;p61">
                <a:extLst>
                  <a:ext uri="{FF2B5EF4-FFF2-40B4-BE49-F238E27FC236}">
                    <a16:creationId xmlns:a16="http://schemas.microsoft.com/office/drawing/2014/main" id="{B2507234-01B1-96F7-32E6-1789F3D50FEC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641;p61" descr="Open quotation mark with solid fill">
            <a:extLst>
              <a:ext uri="{FF2B5EF4-FFF2-40B4-BE49-F238E27FC236}">
                <a16:creationId xmlns:a16="http://schemas.microsoft.com/office/drawing/2014/main" id="{06FE1420-6E34-973B-DA61-15687D8FC8E4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269156447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643;p62">
            <a:extLst>
              <a:ext uri="{FF2B5EF4-FFF2-40B4-BE49-F238E27FC236}">
                <a16:creationId xmlns:a16="http://schemas.microsoft.com/office/drawing/2014/main" id="{AF04984C-B7BB-8D2A-23DB-E6B42352AE67}"/>
              </a:ext>
            </a:extLst>
          </p:cNvPr>
          <p:cNvGrpSpPr/>
          <p:nvPr/>
        </p:nvGrpSpPr>
        <p:grpSpPr>
          <a:xfrm>
            <a:off x="0" y="0"/>
            <a:ext cx="12191996" cy="2148830"/>
            <a:chOff x="0" y="0"/>
            <a:chExt cx="12191996" cy="2148830"/>
          </a:xfrm>
        </p:grpSpPr>
        <p:sp>
          <p:nvSpPr>
            <p:cNvPr id="3" name="Google Shape;644;p62">
              <a:extLst>
                <a:ext uri="{FF2B5EF4-FFF2-40B4-BE49-F238E27FC236}">
                  <a16:creationId xmlns:a16="http://schemas.microsoft.com/office/drawing/2014/main" id="{F14956B3-8D16-9DBD-06AA-673E073180BD}"/>
                </a:ext>
              </a:extLst>
            </p:cNvPr>
            <p:cNvSpPr/>
            <p:nvPr/>
          </p:nvSpPr>
          <p:spPr>
            <a:xfrm flipH="1">
              <a:off x="0" y="0"/>
              <a:ext cx="12191996" cy="214883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2148830"/>
                <a:gd name="f5" fmla="val 2318293"/>
                <a:gd name="f6" fmla="val 2110341"/>
                <a:gd name="f7" fmla="val 1952334"/>
                <a:gd name="f8" fmla="val 920"/>
                <a:gd name="f9" fmla="val 1343499"/>
                <a:gd name="f10" fmla="val 23864"/>
                <a:gd name="f11" fmla="val 752130"/>
                <a:gd name="f12" fmla="val 152982"/>
                <a:gd name="f13" fmla="val 184205"/>
                <a:gd name="f14" fmla="val 435928"/>
                <a:gd name="f15" fmla="val 536864"/>
                <a:gd name="f16" fmla="val 554713"/>
                <a:gd name="f17" fmla="val 201115"/>
                <a:gd name="f18" fmla="val 452796"/>
                <a:gd name="f19" fmla="val 776357"/>
                <a:gd name="f20" fmla="val 187336"/>
                <a:gd name="f21" fmla="val 1349828"/>
                <a:gd name="f22" fmla="val 76760"/>
                <a:gd name="f23" fmla="val 1947588"/>
                <a:gd name="f24" fmla="val 66249"/>
                <a:gd name="f25" fmla="val 2962940"/>
                <a:gd name="f26" fmla="val 48421"/>
                <a:gd name="f27" fmla="val 3890218"/>
                <a:gd name="f28" fmla="val 291317"/>
                <a:gd name="f29" fmla="val 4778140"/>
                <a:gd name="f30" fmla="val 604018"/>
                <a:gd name="f31" fmla="val 7231510"/>
                <a:gd name="f32" fmla="val 1468126"/>
                <a:gd name="f33" fmla="val 9178927"/>
                <a:gd name="f34" fmla="val 2492024"/>
                <a:gd name="f35" fmla="val 11996242"/>
                <a:gd name="f36" fmla="val 2036894"/>
                <a:gd name="f37" fmla="val 2002266"/>
                <a:gd name="f38" fmla="val 1415250"/>
                <a:gd name="f39" fmla="val 12022971"/>
                <a:gd name="f40" fmla="val 1470801"/>
                <a:gd name="f41" fmla="val 10719696"/>
                <a:gd name="f42" fmla="val 1863939"/>
                <a:gd name="f43" fmla="val 9271154"/>
                <a:gd name="f44" fmla="val 1783804"/>
                <a:gd name="f45" fmla="val 7970940"/>
                <a:gd name="f46" fmla="val 1436986"/>
                <a:gd name="f47" fmla="val 6890984"/>
                <a:gd name="f48" fmla="val 1148958"/>
                <a:gd name="f49" fmla="val 5866930"/>
                <a:gd name="f50" fmla="val 767309"/>
                <a:gd name="f51" fmla="val 4800356"/>
                <a:gd name="f52" fmla="val 456582"/>
                <a:gd name="f53" fmla="val 4068903"/>
                <a:gd name="f54" fmla="val 243471"/>
                <a:gd name="f55" fmla="val 3348204"/>
                <a:gd name="f56" fmla="val 74251"/>
                <a:gd name="f57" fmla="val 2646880"/>
                <a:gd name="f58" fmla="val 17560"/>
                <a:gd name="f59" fmla="*/ f0 1 12192000"/>
                <a:gd name="f60" fmla="*/ f1 1 2148830"/>
                <a:gd name="f61" fmla="+- f4 0 f2"/>
                <a:gd name="f62" fmla="+- f3 0 f2"/>
                <a:gd name="f63" fmla="*/ f62 1 12192000"/>
                <a:gd name="f64" fmla="*/ f61 1 2148830"/>
                <a:gd name="f65" fmla="*/ f2 1 f63"/>
                <a:gd name="f66" fmla="*/ f3 1 f63"/>
                <a:gd name="f67" fmla="*/ f2 1 f64"/>
                <a:gd name="f68" fmla="*/ f4 1 f64"/>
                <a:gd name="f69" fmla="*/ f65 f59 1"/>
                <a:gd name="f70" fmla="*/ f66 f59 1"/>
                <a:gd name="f71" fmla="*/ f68 f60 1"/>
                <a:gd name="f72" fmla="*/ f67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9" t="f72" r="f70" b="f71"/>
              <a:pathLst>
                <a:path w="12192000" h="2148830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645;p62">
              <a:extLst>
                <a:ext uri="{FF2B5EF4-FFF2-40B4-BE49-F238E27FC236}">
                  <a16:creationId xmlns:a16="http://schemas.microsoft.com/office/drawing/2014/main" id="{5020A278-7CB6-291A-AA60-B6E22902C118}"/>
                </a:ext>
              </a:extLst>
            </p:cNvPr>
            <p:cNvSpPr/>
            <p:nvPr/>
          </p:nvSpPr>
          <p:spPr>
            <a:xfrm flipH="1">
              <a:off x="0" y="0"/>
              <a:ext cx="12191996" cy="19921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992138"/>
                <a:gd name="f5" fmla="val 2724271"/>
                <a:gd name="f6" fmla="val 1788442"/>
                <a:gd name="f7" fmla="val 1635403"/>
                <a:gd name="f8" fmla="val 12925"/>
                <a:gd name="f9" fmla="val 1134241"/>
                <a:gd name="f10" fmla="val 70905"/>
                <a:gd name="f11" fmla="val 647221"/>
                <a:gd name="f12" fmla="val 207817"/>
                <a:gd name="f13" fmla="val 178220"/>
                <a:gd name="f14" fmla="val 451207"/>
                <a:gd name="f15" fmla="val 552718"/>
                <a:gd name="f16" fmla="val 570885"/>
                <a:gd name="f17" fmla="val 195368"/>
                <a:gd name="f18" fmla="val 467800"/>
                <a:gd name="f19" fmla="val 765758"/>
                <a:gd name="f20" fmla="val 193094"/>
                <a:gd name="f21" fmla="val 1336955"/>
                <a:gd name="f22" fmla="val 73179"/>
                <a:gd name="f23" fmla="val 1934073"/>
                <a:gd name="f24" fmla="val 52850"/>
                <a:gd name="f25" fmla="val 2948304"/>
                <a:gd name="f26" fmla="val 18310"/>
                <a:gd name="f27" fmla="val 3878878"/>
                <a:gd name="f28" fmla="val 245747"/>
                <a:gd name="f29" fmla="val 4771217"/>
                <a:gd name="f30" fmla="val 543645"/>
                <a:gd name="f31" fmla="val 7236913"/>
                <a:gd name="f32" fmla="val 1366709"/>
                <a:gd name="f33" fmla="val 9199689"/>
                <a:gd name="f34" fmla="val 2357774"/>
                <a:gd name="f35" fmla="val 12007222"/>
                <a:gd name="f36" fmla="val 1856729"/>
                <a:gd name="f37" fmla="val 1820900"/>
                <a:gd name="f38" fmla="val 897073"/>
                <a:gd name="f39" fmla="val 12062517"/>
                <a:gd name="f40" fmla="val 950128"/>
                <a:gd name="f41" fmla="val 10950292"/>
                <a:gd name="f42" fmla="val 1376478"/>
                <a:gd name="f43" fmla="val 9595706"/>
                <a:gd name="f44" fmla="val 1466451"/>
                <a:gd name="f45" fmla="val 8435105"/>
                <a:gd name="f46" fmla="val 1266613"/>
                <a:gd name="f47" fmla="val 6618389"/>
                <a:gd name="f48" fmla="val 953715"/>
                <a:gd name="f49" fmla="val 4735222"/>
                <a:gd name="f50" fmla="val 130088"/>
                <a:gd name="f51" fmla="val 2948502"/>
                <a:gd name="f52" fmla="val 20548"/>
                <a:gd name="f53" fmla="*/ f0 1 12192000"/>
                <a:gd name="f54" fmla="*/ f1 1 1992138"/>
                <a:gd name="f55" fmla="+- f4 0 f2"/>
                <a:gd name="f56" fmla="+- f3 0 f2"/>
                <a:gd name="f57" fmla="*/ f56 1 12192000"/>
                <a:gd name="f58" fmla="*/ f55 1 1992138"/>
                <a:gd name="f59" fmla="*/ f2 1 f57"/>
                <a:gd name="f60" fmla="*/ f3 1 f57"/>
                <a:gd name="f61" fmla="*/ f2 1 f58"/>
                <a:gd name="f62" fmla="*/ f4 1 f58"/>
                <a:gd name="f63" fmla="*/ f59 f53 1"/>
                <a:gd name="f64" fmla="*/ f60 f53 1"/>
                <a:gd name="f65" fmla="*/ f62 f54 1"/>
                <a:gd name="f66" fmla="*/ f61 f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3" t="f66" r="f64" b="f65"/>
              <a:pathLst>
                <a:path w="12192000" h="1992138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lose/>
                </a:path>
              </a:pathLst>
            </a:custGeom>
            <a:solidFill>
              <a:srgbClr val="00498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sp>
        <p:nvSpPr>
          <p:cNvPr id="5" name="Google Shape;646;p62">
            <a:extLst>
              <a:ext uri="{FF2B5EF4-FFF2-40B4-BE49-F238E27FC236}">
                <a16:creationId xmlns:a16="http://schemas.microsoft.com/office/drawing/2014/main" id="{F95C0D0F-8407-D41B-AA39-D20C438B1C5C}"/>
              </a:ext>
            </a:extLst>
          </p:cNvPr>
          <p:cNvSpPr/>
          <p:nvPr/>
        </p:nvSpPr>
        <p:spPr>
          <a:xfrm>
            <a:off x="902366" y="1517693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6" name="Google Shape;647;p62">
            <a:extLst>
              <a:ext uri="{FF2B5EF4-FFF2-40B4-BE49-F238E27FC236}">
                <a16:creationId xmlns:a16="http://schemas.microsoft.com/office/drawing/2014/main" id="{01DF5766-2DD7-90B0-5DDA-073FF72156B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219196" y="3429000"/>
            <a:ext cx="5582649" cy="1413561"/>
          </a:xfrm>
        </p:spPr>
        <p:txBody>
          <a:bodyPr/>
          <a:lstStyle>
            <a:lvl1pPr indent="-228600">
              <a:buNone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7" name="Google Shape;648;p62">
            <a:extLst>
              <a:ext uri="{FF2B5EF4-FFF2-40B4-BE49-F238E27FC236}">
                <a16:creationId xmlns:a16="http://schemas.microsoft.com/office/drawing/2014/main" id="{18C526A0-1A95-6DB1-BF5E-F537DA27FBF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19196" y="1887486"/>
            <a:ext cx="5582649" cy="1078260"/>
          </a:xfrm>
        </p:spPr>
        <p:txBody>
          <a:bodyPr/>
          <a:lstStyle>
            <a:lvl1pPr>
              <a:defRPr sz="6000"/>
            </a:lvl1pPr>
          </a:lstStyle>
          <a:p>
            <a:pPr lvl="0"/>
            <a:endParaRPr lang="en-US"/>
          </a:p>
        </p:txBody>
      </p:sp>
      <p:pic>
        <p:nvPicPr>
          <p:cNvPr id="8" name="Google Shape;649;p62">
            <a:extLst>
              <a:ext uri="{FF2B5EF4-FFF2-40B4-BE49-F238E27FC236}">
                <a16:creationId xmlns:a16="http://schemas.microsoft.com/office/drawing/2014/main" id="{D8025563-7A68-6D27-28E0-698C56B8502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902366" y="228371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291606658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652;p63">
            <a:extLst>
              <a:ext uri="{FF2B5EF4-FFF2-40B4-BE49-F238E27FC236}">
                <a16:creationId xmlns:a16="http://schemas.microsoft.com/office/drawing/2014/main" id="{1847C996-71F0-EBA2-DDAC-6C487D1AA3F4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653;p63">
              <a:extLst>
                <a:ext uri="{FF2B5EF4-FFF2-40B4-BE49-F238E27FC236}">
                  <a16:creationId xmlns:a16="http://schemas.microsoft.com/office/drawing/2014/main" id="{0B2AA856-6DDF-6CDB-3BFA-5BD50F1E6B5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654;p63">
              <a:extLst>
                <a:ext uri="{FF2B5EF4-FFF2-40B4-BE49-F238E27FC236}">
                  <a16:creationId xmlns:a16="http://schemas.microsoft.com/office/drawing/2014/main" id="{39FD252C-10FE-42C0-1A10-20898AA02C13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655;p63">
                <a:extLst>
                  <a:ext uri="{FF2B5EF4-FFF2-40B4-BE49-F238E27FC236}">
                    <a16:creationId xmlns:a16="http://schemas.microsoft.com/office/drawing/2014/main" id="{4DB0B903-C2A9-0894-E7A1-5633D8DD0B08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656;p63">
                <a:extLst>
                  <a:ext uri="{FF2B5EF4-FFF2-40B4-BE49-F238E27FC236}">
                    <a16:creationId xmlns:a16="http://schemas.microsoft.com/office/drawing/2014/main" id="{5BD4BD01-250D-C52D-CF26-E857AA272632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657;p63">
            <a:extLst>
              <a:ext uri="{FF2B5EF4-FFF2-40B4-BE49-F238E27FC236}">
                <a16:creationId xmlns:a16="http://schemas.microsoft.com/office/drawing/2014/main" id="{12963FC9-B860-618B-E109-657CE6C5D3E8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658;p63">
            <a:extLst>
              <a:ext uri="{FF2B5EF4-FFF2-40B4-BE49-F238E27FC236}">
                <a16:creationId xmlns:a16="http://schemas.microsoft.com/office/drawing/2014/main" id="{B71834F4-3165-0A9B-DD30-B3B682B91E8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E1E73754-5752-403E-B3E3-0789084B8DE0}" type="slidenum">
              <a:t>‹#›</a:t>
            </a:fld>
            <a:endParaRPr lang="en-US"/>
          </a:p>
        </p:txBody>
      </p:sp>
      <p:cxnSp>
        <p:nvCxnSpPr>
          <p:cNvPr id="9" name="Google Shape;659;p63">
            <a:extLst>
              <a:ext uri="{FF2B5EF4-FFF2-40B4-BE49-F238E27FC236}">
                <a16:creationId xmlns:a16="http://schemas.microsoft.com/office/drawing/2014/main" id="{1194667B-8061-E62C-A8BC-831E61C2A27C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0" name="Google Shape;660;p63">
            <a:extLst>
              <a:ext uri="{FF2B5EF4-FFF2-40B4-BE49-F238E27FC236}">
                <a16:creationId xmlns:a16="http://schemas.microsoft.com/office/drawing/2014/main" id="{91E30883-8836-F4AC-3B5D-FED36501DBDA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4753729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662;p64">
            <a:extLst>
              <a:ext uri="{FF2B5EF4-FFF2-40B4-BE49-F238E27FC236}">
                <a16:creationId xmlns:a16="http://schemas.microsoft.com/office/drawing/2014/main" id="{00FADC68-C7A0-A7DB-754B-9F3184BC54CE}"/>
              </a:ext>
            </a:extLst>
          </p:cNvPr>
          <p:cNvGrpSpPr/>
          <p:nvPr/>
        </p:nvGrpSpPr>
        <p:grpSpPr>
          <a:xfrm>
            <a:off x="0" y="0"/>
            <a:ext cx="12191996" cy="2148830"/>
            <a:chOff x="0" y="0"/>
            <a:chExt cx="12191996" cy="2148830"/>
          </a:xfrm>
        </p:grpSpPr>
        <p:sp>
          <p:nvSpPr>
            <p:cNvPr id="3" name="Google Shape;663;p64">
              <a:extLst>
                <a:ext uri="{FF2B5EF4-FFF2-40B4-BE49-F238E27FC236}">
                  <a16:creationId xmlns:a16="http://schemas.microsoft.com/office/drawing/2014/main" id="{251FBAC5-F71E-5345-3113-30CAC7744CD6}"/>
                </a:ext>
              </a:extLst>
            </p:cNvPr>
            <p:cNvSpPr/>
            <p:nvPr/>
          </p:nvSpPr>
          <p:spPr>
            <a:xfrm flipH="1">
              <a:off x="0" y="0"/>
              <a:ext cx="12191996" cy="214883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2148830"/>
                <a:gd name="f5" fmla="val 2318293"/>
                <a:gd name="f6" fmla="val 2110341"/>
                <a:gd name="f7" fmla="val 1952334"/>
                <a:gd name="f8" fmla="val 920"/>
                <a:gd name="f9" fmla="val 1343499"/>
                <a:gd name="f10" fmla="val 23864"/>
                <a:gd name="f11" fmla="val 752130"/>
                <a:gd name="f12" fmla="val 152982"/>
                <a:gd name="f13" fmla="val 184205"/>
                <a:gd name="f14" fmla="val 435928"/>
                <a:gd name="f15" fmla="val 536864"/>
                <a:gd name="f16" fmla="val 554713"/>
                <a:gd name="f17" fmla="val 201115"/>
                <a:gd name="f18" fmla="val 452796"/>
                <a:gd name="f19" fmla="val 776357"/>
                <a:gd name="f20" fmla="val 187336"/>
                <a:gd name="f21" fmla="val 1349828"/>
                <a:gd name="f22" fmla="val 76760"/>
                <a:gd name="f23" fmla="val 1947588"/>
                <a:gd name="f24" fmla="val 66249"/>
                <a:gd name="f25" fmla="val 2962940"/>
                <a:gd name="f26" fmla="val 48421"/>
                <a:gd name="f27" fmla="val 3890218"/>
                <a:gd name="f28" fmla="val 291317"/>
                <a:gd name="f29" fmla="val 4778140"/>
                <a:gd name="f30" fmla="val 604018"/>
                <a:gd name="f31" fmla="val 7231510"/>
                <a:gd name="f32" fmla="val 1468126"/>
                <a:gd name="f33" fmla="val 9178927"/>
                <a:gd name="f34" fmla="val 2492024"/>
                <a:gd name="f35" fmla="val 11996242"/>
                <a:gd name="f36" fmla="val 2036894"/>
                <a:gd name="f37" fmla="val 2002266"/>
                <a:gd name="f38" fmla="val 1415250"/>
                <a:gd name="f39" fmla="val 12022971"/>
                <a:gd name="f40" fmla="val 1470801"/>
                <a:gd name="f41" fmla="val 10719696"/>
                <a:gd name="f42" fmla="val 1863939"/>
                <a:gd name="f43" fmla="val 9271154"/>
                <a:gd name="f44" fmla="val 1783804"/>
                <a:gd name="f45" fmla="val 7970940"/>
                <a:gd name="f46" fmla="val 1436986"/>
                <a:gd name="f47" fmla="val 6890984"/>
                <a:gd name="f48" fmla="val 1148958"/>
                <a:gd name="f49" fmla="val 5866930"/>
                <a:gd name="f50" fmla="val 767309"/>
                <a:gd name="f51" fmla="val 4800356"/>
                <a:gd name="f52" fmla="val 456582"/>
                <a:gd name="f53" fmla="val 4068903"/>
                <a:gd name="f54" fmla="val 243471"/>
                <a:gd name="f55" fmla="val 3348204"/>
                <a:gd name="f56" fmla="val 74251"/>
                <a:gd name="f57" fmla="val 2646880"/>
                <a:gd name="f58" fmla="val 17560"/>
                <a:gd name="f59" fmla="*/ f0 1 12192000"/>
                <a:gd name="f60" fmla="*/ f1 1 2148830"/>
                <a:gd name="f61" fmla="+- f4 0 f2"/>
                <a:gd name="f62" fmla="+- f3 0 f2"/>
                <a:gd name="f63" fmla="*/ f62 1 12192000"/>
                <a:gd name="f64" fmla="*/ f61 1 2148830"/>
                <a:gd name="f65" fmla="*/ f2 1 f63"/>
                <a:gd name="f66" fmla="*/ f3 1 f63"/>
                <a:gd name="f67" fmla="*/ f2 1 f64"/>
                <a:gd name="f68" fmla="*/ f4 1 f64"/>
                <a:gd name="f69" fmla="*/ f65 f59 1"/>
                <a:gd name="f70" fmla="*/ f66 f59 1"/>
                <a:gd name="f71" fmla="*/ f68 f60 1"/>
                <a:gd name="f72" fmla="*/ f67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9" t="f72" r="f70" b="f71"/>
              <a:pathLst>
                <a:path w="12192000" h="2148830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664;p64">
              <a:extLst>
                <a:ext uri="{FF2B5EF4-FFF2-40B4-BE49-F238E27FC236}">
                  <a16:creationId xmlns:a16="http://schemas.microsoft.com/office/drawing/2014/main" id="{EBE8E2DC-36B3-BEB8-6301-491ECC8EC4C6}"/>
                </a:ext>
              </a:extLst>
            </p:cNvPr>
            <p:cNvSpPr/>
            <p:nvPr/>
          </p:nvSpPr>
          <p:spPr>
            <a:xfrm flipH="1">
              <a:off x="0" y="0"/>
              <a:ext cx="12191996" cy="19921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992138"/>
                <a:gd name="f5" fmla="val 2724271"/>
                <a:gd name="f6" fmla="val 1788442"/>
                <a:gd name="f7" fmla="val 1635403"/>
                <a:gd name="f8" fmla="val 12925"/>
                <a:gd name="f9" fmla="val 1134241"/>
                <a:gd name="f10" fmla="val 70905"/>
                <a:gd name="f11" fmla="val 647221"/>
                <a:gd name="f12" fmla="val 207817"/>
                <a:gd name="f13" fmla="val 178220"/>
                <a:gd name="f14" fmla="val 451207"/>
                <a:gd name="f15" fmla="val 552718"/>
                <a:gd name="f16" fmla="val 570885"/>
                <a:gd name="f17" fmla="val 195368"/>
                <a:gd name="f18" fmla="val 467800"/>
                <a:gd name="f19" fmla="val 765758"/>
                <a:gd name="f20" fmla="val 193094"/>
                <a:gd name="f21" fmla="val 1336955"/>
                <a:gd name="f22" fmla="val 73179"/>
                <a:gd name="f23" fmla="val 1934073"/>
                <a:gd name="f24" fmla="val 52850"/>
                <a:gd name="f25" fmla="val 2948304"/>
                <a:gd name="f26" fmla="val 18310"/>
                <a:gd name="f27" fmla="val 3878878"/>
                <a:gd name="f28" fmla="val 245747"/>
                <a:gd name="f29" fmla="val 4771217"/>
                <a:gd name="f30" fmla="val 543645"/>
                <a:gd name="f31" fmla="val 7236913"/>
                <a:gd name="f32" fmla="val 1366709"/>
                <a:gd name="f33" fmla="val 9199689"/>
                <a:gd name="f34" fmla="val 2357774"/>
                <a:gd name="f35" fmla="val 12007222"/>
                <a:gd name="f36" fmla="val 1856729"/>
                <a:gd name="f37" fmla="val 1820900"/>
                <a:gd name="f38" fmla="val 897073"/>
                <a:gd name="f39" fmla="val 12062517"/>
                <a:gd name="f40" fmla="val 950128"/>
                <a:gd name="f41" fmla="val 10950292"/>
                <a:gd name="f42" fmla="val 1376478"/>
                <a:gd name="f43" fmla="val 9595706"/>
                <a:gd name="f44" fmla="val 1466451"/>
                <a:gd name="f45" fmla="val 8435105"/>
                <a:gd name="f46" fmla="val 1266613"/>
                <a:gd name="f47" fmla="val 6618389"/>
                <a:gd name="f48" fmla="val 953715"/>
                <a:gd name="f49" fmla="val 4735222"/>
                <a:gd name="f50" fmla="val 130088"/>
                <a:gd name="f51" fmla="val 2948502"/>
                <a:gd name="f52" fmla="val 20548"/>
                <a:gd name="f53" fmla="*/ f0 1 12192000"/>
                <a:gd name="f54" fmla="*/ f1 1 1992138"/>
                <a:gd name="f55" fmla="+- f4 0 f2"/>
                <a:gd name="f56" fmla="+- f3 0 f2"/>
                <a:gd name="f57" fmla="*/ f56 1 12192000"/>
                <a:gd name="f58" fmla="*/ f55 1 1992138"/>
                <a:gd name="f59" fmla="*/ f2 1 f57"/>
                <a:gd name="f60" fmla="*/ f3 1 f57"/>
                <a:gd name="f61" fmla="*/ f2 1 f58"/>
                <a:gd name="f62" fmla="*/ f4 1 f58"/>
                <a:gd name="f63" fmla="*/ f59 f53 1"/>
                <a:gd name="f64" fmla="*/ f60 f53 1"/>
                <a:gd name="f65" fmla="*/ f62 f54 1"/>
                <a:gd name="f66" fmla="*/ f61 f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3" t="f66" r="f64" b="f65"/>
              <a:pathLst>
                <a:path w="12192000" h="1992138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lose/>
                </a:path>
              </a:pathLst>
            </a:custGeom>
            <a:solidFill>
              <a:srgbClr val="00498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sp>
        <p:nvSpPr>
          <p:cNvPr id="5" name="Google Shape;665;p64">
            <a:extLst>
              <a:ext uri="{FF2B5EF4-FFF2-40B4-BE49-F238E27FC236}">
                <a16:creationId xmlns:a16="http://schemas.microsoft.com/office/drawing/2014/main" id="{B1364D87-54A4-C5AB-2195-1E47A2510199}"/>
              </a:ext>
            </a:extLst>
          </p:cNvPr>
          <p:cNvSpPr/>
          <p:nvPr/>
        </p:nvSpPr>
        <p:spPr>
          <a:xfrm>
            <a:off x="902366" y="1517693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6" name="Google Shape;666;p64">
            <a:extLst>
              <a:ext uri="{FF2B5EF4-FFF2-40B4-BE49-F238E27FC236}">
                <a16:creationId xmlns:a16="http://schemas.microsoft.com/office/drawing/2014/main" id="{344DCDEA-EDD0-14F2-1639-375995C080A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219196" y="3429000"/>
            <a:ext cx="5582649" cy="1413561"/>
          </a:xfrm>
        </p:spPr>
        <p:txBody>
          <a:bodyPr/>
          <a:lstStyle>
            <a:lvl1pPr indent="-228600">
              <a:buNone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7" name="Google Shape;667;p64">
            <a:extLst>
              <a:ext uri="{FF2B5EF4-FFF2-40B4-BE49-F238E27FC236}">
                <a16:creationId xmlns:a16="http://schemas.microsoft.com/office/drawing/2014/main" id="{1840E365-896B-5919-39B2-80D4CDC89A6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19196" y="1887486"/>
            <a:ext cx="5582649" cy="1078260"/>
          </a:xfrm>
        </p:spPr>
        <p:txBody>
          <a:bodyPr/>
          <a:lstStyle>
            <a:lvl1pPr>
              <a:defRPr sz="6000"/>
            </a:lvl1pPr>
          </a:lstStyle>
          <a:p>
            <a:pPr lvl="0"/>
            <a:endParaRPr lang="en-US"/>
          </a:p>
        </p:txBody>
      </p:sp>
      <p:pic>
        <p:nvPicPr>
          <p:cNvPr id="8" name="Google Shape;668;p64">
            <a:extLst>
              <a:ext uri="{FF2B5EF4-FFF2-40B4-BE49-F238E27FC236}">
                <a16:creationId xmlns:a16="http://schemas.microsoft.com/office/drawing/2014/main" id="{0B622948-DF10-5F16-DDA6-988FB1C63A2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902366" y="228371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712527146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671;p65">
            <a:extLst>
              <a:ext uri="{FF2B5EF4-FFF2-40B4-BE49-F238E27FC236}">
                <a16:creationId xmlns:a16="http://schemas.microsoft.com/office/drawing/2014/main" id="{14787A3C-FA73-4EAC-7E8F-93040C78ACC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1A8A91D7-EDE9-4CD0-B0ED-11A6569BC00D}" type="slidenum">
              <a:t>‹#›</a:t>
            </a:fld>
            <a:endParaRPr lang="en-US"/>
          </a:p>
        </p:txBody>
      </p:sp>
      <p:cxnSp>
        <p:nvCxnSpPr>
          <p:cNvPr id="3" name="Google Shape;672;p65">
            <a:extLst>
              <a:ext uri="{FF2B5EF4-FFF2-40B4-BE49-F238E27FC236}">
                <a16:creationId xmlns:a16="http://schemas.microsoft.com/office/drawing/2014/main" id="{FF23C10E-D01F-B9D8-CED0-719F206834F9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4" name="Google Shape;673;p65">
            <a:extLst>
              <a:ext uri="{FF2B5EF4-FFF2-40B4-BE49-F238E27FC236}">
                <a16:creationId xmlns:a16="http://schemas.microsoft.com/office/drawing/2014/main" id="{688C6980-D637-DB1E-2F9F-E9DD56083D58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674;p65">
            <a:extLst>
              <a:ext uri="{FF2B5EF4-FFF2-40B4-BE49-F238E27FC236}">
                <a16:creationId xmlns:a16="http://schemas.microsoft.com/office/drawing/2014/main" id="{36451311-B906-BFAC-F2AB-6B4EAD4ABC77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6" name="Google Shape;675;p65">
              <a:extLst>
                <a:ext uri="{FF2B5EF4-FFF2-40B4-BE49-F238E27FC236}">
                  <a16:creationId xmlns:a16="http://schemas.microsoft.com/office/drawing/2014/main" id="{4E398F57-4107-E5B3-A0EB-74D95525F6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7" name="Google Shape;676;p65">
              <a:extLst>
                <a:ext uri="{FF2B5EF4-FFF2-40B4-BE49-F238E27FC236}">
                  <a16:creationId xmlns:a16="http://schemas.microsoft.com/office/drawing/2014/main" id="{A7B52FEC-EB04-207F-966B-60A17EB31F65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8" name="Google Shape;677;p65">
                <a:extLst>
                  <a:ext uri="{FF2B5EF4-FFF2-40B4-BE49-F238E27FC236}">
                    <a16:creationId xmlns:a16="http://schemas.microsoft.com/office/drawing/2014/main" id="{7E4BA673-EF5B-61A7-04BF-6F204272EC03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9" name="Google Shape;678;p65">
                <a:extLst>
                  <a:ext uri="{FF2B5EF4-FFF2-40B4-BE49-F238E27FC236}">
                    <a16:creationId xmlns:a16="http://schemas.microsoft.com/office/drawing/2014/main" id="{9A903A98-0924-5652-BB80-3D7E1BE2EAA0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0046476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680;p66">
            <a:extLst>
              <a:ext uri="{FF2B5EF4-FFF2-40B4-BE49-F238E27FC236}">
                <a16:creationId xmlns:a16="http://schemas.microsoft.com/office/drawing/2014/main" id="{3CB8A368-6152-65B2-BA67-A8C58FEC3A2B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681;p66">
            <a:extLst>
              <a:ext uri="{FF2B5EF4-FFF2-40B4-BE49-F238E27FC236}">
                <a16:creationId xmlns:a16="http://schemas.microsoft.com/office/drawing/2014/main" id="{6DC9EBDF-A8ED-6EEE-BD2D-273A4FE9B08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682;p66">
            <a:extLst>
              <a:ext uri="{FF2B5EF4-FFF2-40B4-BE49-F238E27FC236}">
                <a16:creationId xmlns:a16="http://schemas.microsoft.com/office/drawing/2014/main" id="{639C254C-AD9B-62E2-BE85-BD57CD1EF19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683;p66">
            <a:extLst>
              <a:ext uri="{FF2B5EF4-FFF2-40B4-BE49-F238E27FC236}">
                <a16:creationId xmlns:a16="http://schemas.microsoft.com/office/drawing/2014/main" id="{84810B85-0953-62B2-8E24-0B4B66038BA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BBEF94A7-8B80-4670-A79D-E7DBA3C89B00}" type="slidenum">
              <a:t>‹#›</a:t>
            </a:fld>
            <a:endParaRPr lang="en-US"/>
          </a:p>
        </p:txBody>
      </p:sp>
      <p:cxnSp>
        <p:nvCxnSpPr>
          <p:cNvPr id="6" name="Google Shape;684;p66">
            <a:extLst>
              <a:ext uri="{FF2B5EF4-FFF2-40B4-BE49-F238E27FC236}">
                <a16:creationId xmlns:a16="http://schemas.microsoft.com/office/drawing/2014/main" id="{66E0FB57-A6F9-DEC9-E041-3646CBEC4EC0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685;p66">
            <a:extLst>
              <a:ext uri="{FF2B5EF4-FFF2-40B4-BE49-F238E27FC236}">
                <a16:creationId xmlns:a16="http://schemas.microsoft.com/office/drawing/2014/main" id="{3741A362-3BC4-C24F-A963-F2BEF9AB628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686;p66">
            <a:extLst>
              <a:ext uri="{FF2B5EF4-FFF2-40B4-BE49-F238E27FC236}">
                <a16:creationId xmlns:a16="http://schemas.microsoft.com/office/drawing/2014/main" id="{B6429A40-BFF9-7BE7-DA7E-8BDF797786F4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687;p66">
              <a:extLst>
                <a:ext uri="{FF2B5EF4-FFF2-40B4-BE49-F238E27FC236}">
                  <a16:creationId xmlns:a16="http://schemas.microsoft.com/office/drawing/2014/main" id="{3AA1D550-CF9A-D7E1-75A8-D3438BCB85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688;p66">
              <a:extLst>
                <a:ext uri="{FF2B5EF4-FFF2-40B4-BE49-F238E27FC236}">
                  <a16:creationId xmlns:a16="http://schemas.microsoft.com/office/drawing/2014/main" id="{F521D4E1-AFF3-8230-6809-73681C47562A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689;p66">
                <a:extLst>
                  <a:ext uri="{FF2B5EF4-FFF2-40B4-BE49-F238E27FC236}">
                    <a16:creationId xmlns:a16="http://schemas.microsoft.com/office/drawing/2014/main" id="{4FA06003-F9E2-F163-A277-97F84AA153D6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690;p66">
                <a:extLst>
                  <a:ext uri="{FF2B5EF4-FFF2-40B4-BE49-F238E27FC236}">
                    <a16:creationId xmlns:a16="http://schemas.microsoft.com/office/drawing/2014/main" id="{F107EFDA-77F5-8B0F-F10F-C78E7734F221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691;p66" descr="Open quotation mark with solid fill">
            <a:extLst>
              <a:ext uri="{FF2B5EF4-FFF2-40B4-BE49-F238E27FC236}">
                <a16:creationId xmlns:a16="http://schemas.microsoft.com/office/drawing/2014/main" id="{BF9B118C-FB3F-6773-D45B-9B03D93B828E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649942989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a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680;p66">
            <a:extLst>
              <a:ext uri="{FF2B5EF4-FFF2-40B4-BE49-F238E27FC236}">
                <a16:creationId xmlns:a16="http://schemas.microsoft.com/office/drawing/2014/main" id="{82F0B6F3-4176-7C3A-BE60-1CD5B5486429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681;p66">
            <a:extLst>
              <a:ext uri="{FF2B5EF4-FFF2-40B4-BE49-F238E27FC236}">
                <a16:creationId xmlns:a16="http://schemas.microsoft.com/office/drawing/2014/main" id="{42531103-F8B9-6518-71AD-97BD9CF98CE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682;p66">
            <a:extLst>
              <a:ext uri="{FF2B5EF4-FFF2-40B4-BE49-F238E27FC236}">
                <a16:creationId xmlns:a16="http://schemas.microsoft.com/office/drawing/2014/main" id="{1945691C-6812-7EC1-3DFE-2D41D3B1AEB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683;p66">
            <a:extLst>
              <a:ext uri="{FF2B5EF4-FFF2-40B4-BE49-F238E27FC236}">
                <a16:creationId xmlns:a16="http://schemas.microsoft.com/office/drawing/2014/main" id="{19D4AA66-5066-6C3C-3101-47965FC2B15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296ACCE1-5822-4220-A9A2-3DE4CDFE52E6}" type="slidenum">
              <a:t>‹#›</a:t>
            </a:fld>
            <a:endParaRPr lang="en-US"/>
          </a:p>
        </p:txBody>
      </p:sp>
      <p:cxnSp>
        <p:nvCxnSpPr>
          <p:cNvPr id="6" name="Google Shape;684;p66">
            <a:extLst>
              <a:ext uri="{FF2B5EF4-FFF2-40B4-BE49-F238E27FC236}">
                <a16:creationId xmlns:a16="http://schemas.microsoft.com/office/drawing/2014/main" id="{A2FAED3D-4C80-0C37-9B5F-12C830B0BF23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685;p66">
            <a:extLst>
              <a:ext uri="{FF2B5EF4-FFF2-40B4-BE49-F238E27FC236}">
                <a16:creationId xmlns:a16="http://schemas.microsoft.com/office/drawing/2014/main" id="{F7E29EFC-7126-8762-934F-BDA3A8EA4A3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686;p66">
            <a:extLst>
              <a:ext uri="{FF2B5EF4-FFF2-40B4-BE49-F238E27FC236}">
                <a16:creationId xmlns:a16="http://schemas.microsoft.com/office/drawing/2014/main" id="{EB336AB9-AEDE-B22C-BD31-509EFB06FFC7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687;p66">
              <a:extLst>
                <a:ext uri="{FF2B5EF4-FFF2-40B4-BE49-F238E27FC236}">
                  <a16:creationId xmlns:a16="http://schemas.microsoft.com/office/drawing/2014/main" id="{808226CA-EEF5-D15C-2350-C7EA74B96AF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688;p66">
              <a:extLst>
                <a:ext uri="{FF2B5EF4-FFF2-40B4-BE49-F238E27FC236}">
                  <a16:creationId xmlns:a16="http://schemas.microsoft.com/office/drawing/2014/main" id="{5E48E8BF-2CD4-C0E7-5775-5BE75EB6867A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689;p66">
                <a:extLst>
                  <a:ext uri="{FF2B5EF4-FFF2-40B4-BE49-F238E27FC236}">
                    <a16:creationId xmlns:a16="http://schemas.microsoft.com/office/drawing/2014/main" id="{262E588F-328B-CDC6-4613-93DE296387FB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690;p66">
                <a:extLst>
                  <a:ext uri="{FF2B5EF4-FFF2-40B4-BE49-F238E27FC236}">
                    <a16:creationId xmlns:a16="http://schemas.microsoft.com/office/drawing/2014/main" id="{A065AA32-5E19-948F-E7C6-ADF593AD2513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691;p66" descr="Open quotation mark with solid fill">
            <a:extLst>
              <a:ext uri="{FF2B5EF4-FFF2-40B4-BE49-F238E27FC236}">
                <a16:creationId xmlns:a16="http://schemas.microsoft.com/office/drawing/2014/main" id="{E3E04593-755C-44F9-9785-56292ABF43F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5183663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693;p67">
            <a:extLst>
              <a:ext uri="{FF2B5EF4-FFF2-40B4-BE49-F238E27FC236}">
                <a16:creationId xmlns:a16="http://schemas.microsoft.com/office/drawing/2014/main" id="{A703842D-2B99-8009-34BE-BB0D29887315}"/>
              </a:ext>
            </a:extLst>
          </p:cNvPr>
          <p:cNvSpPr/>
          <p:nvPr/>
        </p:nvSpPr>
        <p:spPr>
          <a:xfrm>
            <a:off x="902366" y="1294415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694;p67">
            <a:extLst>
              <a:ext uri="{FF2B5EF4-FFF2-40B4-BE49-F238E27FC236}">
                <a16:creationId xmlns:a16="http://schemas.microsoft.com/office/drawing/2014/main" id="{C23D4F76-7AE6-9155-3753-74184623195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1561328"/>
            <a:ext cx="5194432" cy="1826340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695;p67">
            <a:extLst>
              <a:ext uri="{FF2B5EF4-FFF2-40B4-BE49-F238E27FC236}">
                <a16:creationId xmlns:a16="http://schemas.microsoft.com/office/drawing/2014/main" id="{682FA989-DD2F-A3E3-73A4-D680C37C519C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766861"/>
            <a:ext cx="5194432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697;p67">
            <a:extLst>
              <a:ext uri="{FF2B5EF4-FFF2-40B4-BE49-F238E27FC236}">
                <a16:creationId xmlns:a16="http://schemas.microsoft.com/office/drawing/2014/main" id="{03AF6BA8-A62E-05CA-4C50-8AE6A9AE8CBF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6" name="Google Shape;698;p67">
              <a:extLst>
                <a:ext uri="{FF2B5EF4-FFF2-40B4-BE49-F238E27FC236}">
                  <a16:creationId xmlns:a16="http://schemas.microsoft.com/office/drawing/2014/main" id="{FBD8CAA1-26EC-AFD5-0BA2-2C1339A3AE7C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7" name="Google Shape;699;p67">
              <a:extLst>
                <a:ext uri="{FF2B5EF4-FFF2-40B4-BE49-F238E27FC236}">
                  <a16:creationId xmlns:a16="http://schemas.microsoft.com/office/drawing/2014/main" id="{DFA8474B-BAA8-E58B-BBCB-1369B7C0E848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8" name="Google Shape;700;p67">
              <a:extLst>
                <a:ext uri="{FF2B5EF4-FFF2-40B4-BE49-F238E27FC236}">
                  <a16:creationId xmlns:a16="http://schemas.microsoft.com/office/drawing/2014/main" id="{D999AA3B-754B-B899-E110-292F8FB2D0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208523787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702;p68">
            <a:extLst>
              <a:ext uri="{FF2B5EF4-FFF2-40B4-BE49-F238E27FC236}">
                <a16:creationId xmlns:a16="http://schemas.microsoft.com/office/drawing/2014/main" id="{C07E5542-FB7E-3CC6-4B93-BB538E4E17C3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3" name="Google Shape;703;p68">
              <a:extLst>
                <a:ext uri="{FF2B5EF4-FFF2-40B4-BE49-F238E27FC236}">
                  <a16:creationId xmlns:a16="http://schemas.microsoft.com/office/drawing/2014/main" id="{413C8A9A-F911-688E-A321-9F13B7E23BF6}"/>
                </a:ext>
              </a:extLst>
            </p:cNvPr>
            <p:cNvSpPr/>
            <p:nvPr/>
          </p:nvSpPr>
          <p:spPr>
            <a:xfrm>
              <a:off x="0" y="5100267"/>
              <a:ext cx="7111371" cy="175773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111369"/>
                <a:gd name="f4" fmla="val 1757730"/>
                <a:gd name="f5" fmla="val 772954"/>
                <a:gd name="f6" fmla="val 2778"/>
                <a:gd name="f7" fmla="val 1769038"/>
                <a:gd name="f8" fmla="val 30799"/>
                <a:gd name="f9" fmla="val 2696750"/>
                <a:gd name="f10" fmla="val 267531"/>
                <a:gd name="f11" fmla="val 3590934"/>
                <a:gd name="f12" fmla="val 566046"/>
                <a:gd name="f13" fmla="val 4684008"/>
                <a:gd name="f14" fmla="val 930921"/>
                <a:gd name="f15" fmla="val 5690778"/>
                <a:gd name="f16" fmla="val 1324625"/>
                <a:gd name="f17" fmla="val 6700767"/>
                <a:gd name="f18" fmla="val 1636882"/>
                <a:gd name="f19" fmla="val 25690"/>
                <a:gd name="f20" fmla="val 2197"/>
                <a:gd name="f21" fmla="val 25414"/>
                <a:gd name="f22" fmla="val 114653"/>
                <a:gd name="f23" fmla="val 14905"/>
                <a:gd name="f24" fmla="val 227801"/>
                <a:gd name="f25" fmla="val 7857"/>
                <a:gd name="f26" fmla="val 341773"/>
                <a:gd name="f27" fmla="val 3976"/>
                <a:gd name="f28" fmla="val 486963"/>
                <a:gd name="f29" fmla="+- 0 0 968"/>
                <a:gd name="f30" fmla="val 630656"/>
                <a:gd name="f31" fmla="+- 0 0 1224"/>
                <a:gd name="f32" fmla="*/ f0 1 7111369"/>
                <a:gd name="f33" fmla="*/ f1 1 1757730"/>
                <a:gd name="f34" fmla="+- f4 0 f2"/>
                <a:gd name="f35" fmla="+- f3 0 f2"/>
                <a:gd name="f36" fmla="*/ f35 1 7111369"/>
                <a:gd name="f37" fmla="*/ f34 1 1757730"/>
                <a:gd name="f38" fmla="*/ f2 1 f36"/>
                <a:gd name="f39" fmla="*/ f3 1 f36"/>
                <a:gd name="f40" fmla="*/ f2 1 f37"/>
                <a:gd name="f41" fmla="*/ f4 1 f37"/>
                <a:gd name="f42" fmla="*/ f38 f32 1"/>
                <a:gd name="f43" fmla="*/ f39 f32 1"/>
                <a:gd name="f44" fmla="*/ f41 f33 1"/>
                <a:gd name="f45" fmla="*/ f40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2" t="f45" r="f43" b="f44"/>
              <a:pathLst>
                <a:path w="7111369" h="1757730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4"/>
                  </a:lnTo>
                  <a:lnTo>
                    <a:pt x="f2" y="f4"/>
                  </a:lnTo>
                  <a:lnTo>
                    <a:pt x="f2" y="f19"/>
                  </a:lnTo>
                  <a:lnTo>
                    <a:pt x="f20" y="f21"/>
                  </a:ln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5" y="f6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704;p68">
              <a:extLst>
                <a:ext uri="{FF2B5EF4-FFF2-40B4-BE49-F238E27FC236}">
                  <a16:creationId xmlns:a16="http://schemas.microsoft.com/office/drawing/2014/main" id="{F1D72FCD-4513-10E0-6ADB-083842F2DD37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5" name="Google Shape;705;p68">
              <a:extLst>
                <a:ext uri="{FF2B5EF4-FFF2-40B4-BE49-F238E27FC236}">
                  <a16:creationId xmlns:a16="http://schemas.microsoft.com/office/drawing/2014/main" id="{85528864-2C13-DD77-8050-A31127E3C044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706;p68">
              <a:extLst>
                <a:ext uri="{FF2B5EF4-FFF2-40B4-BE49-F238E27FC236}">
                  <a16:creationId xmlns:a16="http://schemas.microsoft.com/office/drawing/2014/main" id="{68FBB8AB-727B-BADD-1667-30414B88E4A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7" name="Google Shape;707;p68">
            <a:extLst>
              <a:ext uri="{FF2B5EF4-FFF2-40B4-BE49-F238E27FC236}">
                <a16:creationId xmlns:a16="http://schemas.microsoft.com/office/drawing/2014/main" id="{2F2D4D4A-1584-EC62-B4C3-9019D50E51C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701747"/>
            <a:ext cx="9365376" cy="2014679"/>
          </a:xfrm>
        </p:spPr>
        <p:txBody>
          <a:bodyPr anchor="b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708;p68">
            <a:extLst>
              <a:ext uri="{FF2B5EF4-FFF2-40B4-BE49-F238E27FC236}">
                <a16:creationId xmlns:a16="http://schemas.microsoft.com/office/drawing/2014/main" id="{A938F904-80A6-2831-5A15-D8E12922E23E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081637"/>
            <a:ext cx="9365376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514912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710;p69">
            <a:extLst>
              <a:ext uri="{FF2B5EF4-FFF2-40B4-BE49-F238E27FC236}">
                <a16:creationId xmlns:a16="http://schemas.microsoft.com/office/drawing/2014/main" id="{77F2C78D-E4CB-15D0-280A-88874E350D8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57200" y="1146255"/>
            <a:ext cx="2350172" cy="2971800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cxnSp>
        <p:nvCxnSpPr>
          <p:cNvPr id="3" name="Google Shape;711;p69">
            <a:extLst>
              <a:ext uri="{FF2B5EF4-FFF2-40B4-BE49-F238E27FC236}">
                <a16:creationId xmlns:a16="http://schemas.microsoft.com/office/drawing/2014/main" id="{D8FFCDB7-FDFD-87CB-B70D-AF3EB60FE4D1}"/>
              </a:ext>
            </a:extLst>
          </p:cNvPr>
          <p:cNvCxnSpPr/>
          <p:nvPr/>
        </p:nvCxnSpPr>
        <p:spPr>
          <a:xfrm>
            <a:off x="457200" y="947985"/>
            <a:ext cx="2350163" cy="0"/>
          </a:xfrm>
          <a:prstGeom prst="straightConnector1">
            <a:avLst/>
          </a:prstGeom>
          <a:noFill/>
          <a:ln w="31747" cap="flat">
            <a:solidFill>
              <a:srgbClr val="F58366"/>
            </a:solidFill>
            <a:prstDash val="solid"/>
            <a:miter/>
          </a:ln>
        </p:spPr>
      </p:cxnSp>
      <p:grpSp>
        <p:nvGrpSpPr>
          <p:cNvPr id="4" name="Google Shape;712;p69">
            <a:extLst>
              <a:ext uri="{FF2B5EF4-FFF2-40B4-BE49-F238E27FC236}">
                <a16:creationId xmlns:a16="http://schemas.microsoft.com/office/drawing/2014/main" id="{7A1E6766-E257-8AEA-B4D6-E22D2AC72121}"/>
              </a:ext>
            </a:extLst>
          </p:cNvPr>
          <p:cNvGrpSpPr/>
          <p:nvPr/>
        </p:nvGrpSpPr>
        <p:grpSpPr>
          <a:xfrm>
            <a:off x="0" y="5379424"/>
            <a:ext cx="2807363" cy="753895"/>
            <a:chOff x="0" y="5379424"/>
            <a:chExt cx="2807363" cy="753895"/>
          </a:xfrm>
        </p:grpSpPr>
        <p:sp>
          <p:nvSpPr>
            <p:cNvPr id="5" name="Google Shape;713;p69">
              <a:extLst>
                <a:ext uri="{FF2B5EF4-FFF2-40B4-BE49-F238E27FC236}">
                  <a16:creationId xmlns:a16="http://schemas.microsoft.com/office/drawing/2014/main" id="{6985E41B-FAC0-0D4A-5C89-EC306D449AEA}"/>
                </a:ext>
              </a:extLst>
            </p:cNvPr>
            <p:cNvSpPr/>
            <p:nvPr/>
          </p:nvSpPr>
          <p:spPr>
            <a:xfrm>
              <a:off x="0" y="5532513"/>
              <a:ext cx="2807363" cy="60080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00807"/>
                <a:gd name="f5" fmla="val 429971"/>
                <a:gd name="f6" fmla="val 123998"/>
                <a:gd name="f7" fmla="val 1184765"/>
                <a:gd name="f8" fmla="val 325331"/>
                <a:gd name="f9" fmla="val 2014184"/>
                <a:gd name="f10" fmla="val 392492"/>
                <a:gd name="f11" fmla="val 2790212"/>
                <a:gd name="f12" fmla="val 235402"/>
                <a:gd name="f13" fmla="val 231522"/>
                <a:gd name="f14" fmla="val 566106"/>
                <a:gd name="f15" fmla="val 2593885"/>
                <a:gd name="f16" fmla="val 587498"/>
                <a:gd name="f17" fmla="val 1673646"/>
                <a:gd name="f18" fmla="val 651184"/>
                <a:gd name="f19" fmla="val 884869"/>
                <a:gd name="f20" fmla="val 479260"/>
                <a:gd name="f21" fmla="val 100844"/>
                <a:gd name="f22" fmla="val 222653"/>
                <a:gd name="f23" fmla="val 188389"/>
                <a:gd name="f24" fmla="*/ f0 1 2807368"/>
                <a:gd name="f25" fmla="*/ f1 1 600807"/>
                <a:gd name="f26" fmla="+- f4 0 f2"/>
                <a:gd name="f27" fmla="+- f3 0 f2"/>
                <a:gd name="f28" fmla="*/ f27 1 2807368"/>
                <a:gd name="f29" fmla="*/ f26 1 600807"/>
                <a:gd name="f30" fmla="*/ f2 1 f28"/>
                <a:gd name="f31" fmla="*/ f3 1 f28"/>
                <a:gd name="f32" fmla="*/ f2 1 f29"/>
                <a:gd name="f33" fmla="*/ f4 1 f29"/>
                <a:gd name="f34" fmla="*/ f30 f24 1"/>
                <a:gd name="f35" fmla="*/ f31 f24 1"/>
                <a:gd name="f36" fmla="*/ f33 f25 1"/>
                <a:gd name="f37" fmla="*/ f32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37" r="f35" b="f36"/>
              <a:pathLst>
                <a:path w="2807368" h="600807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lnTo>
                    <a:pt x="f3" y="f13"/>
                  </a:lnTo>
                  <a:lnTo>
                    <a:pt x="f3" y="f14"/>
                  </a:lnTo>
                  <a:lnTo>
                    <a:pt x="f15" y="f16"/>
                  </a:lnTo>
                  <a:cubicBezTo>
                    <a:pt x="f17" y="f18"/>
                    <a:pt x="f19" y="f20"/>
                    <a:pt x="f21" y="f22"/>
                  </a:cubicBezTo>
                  <a:lnTo>
                    <a:pt x="f2" y="f23"/>
                  </a:ln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6" name="Google Shape;714;p69">
              <a:extLst>
                <a:ext uri="{FF2B5EF4-FFF2-40B4-BE49-F238E27FC236}">
                  <a16:creationId xmlns:a16="http://schemas.microsoft.com/office/drawing/2014/main" id="{6CDB38CB-CFD9-DFBA-4D8F-164A443C5764}"/>
                </a:ext>
              </a:extLst>
            </p:cNvPr>
            <p:cNvSpPr/>
            <p:nvPr/>
          </p:nvSpPr>
          <p:spPr>
            <a:xfrm>
              <a:off x="0" y="5379424"/>
              <a:ext cx="2807363" cy="64980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49803"/>
                <a:gd name="f5" fmla="val 282676"/>
                <a:gd name="f6" fmla="val 70799"/>
                <a:gd name="f7" fmla="val 435964"/>
                <a:gd name="f8" fmla="val 106085"/>
                <a:gd name="f9" fmla="val 588770"/>
                <a:gd name="f10" fmla="val 137629"/>
                <a:gd name="f11" fmla="val 740881"/>
                <a:gd name="f12" fmla="val 163828"/>
                <a:gd name="f13" fmla="val 1362800"/>
                <a:gd name="f14" fmla="val 270912"/>
                <a:gd name="f15" fmla="val 2067879"/>
                <a:gd name="f16" fmla="val 253759"/>
                <a:gd name="f17" fmla="val 2706471"/>
                <a:gd name="f18" fmla="val 96397"/>
                <a:gd name="f19" fmla="val 67250"/>
                <a:gd name="f20" fmla="val 605551"/>
                <a:gd name="f21" fmla="val 2602685"/>
                <a:gd name="f22" fmla="val 629466"/>
                <a:gd name="f23" fmla="val 1684237"/>
                <a:gd name="f24" fmla="val 708219"/>
                <a:gd name="f25" fmla="val 893252"/>
                <a:gd name="f26" fmla="val 549395"/>
                <a:gd name="f27" fmla="val 105614"/>
                <a:gd name="f28" fmla="val 305882"/>
                <a:gd name="f29" fmla="val 271926"/>
                <a:gd name="f30" fmla="*/ f0 1 2807368"/>
                <a:gd name="f31" fmla="*/ f1 1 649803"/>
                <a:gd name="f32" fmla="+- f4 0 f2"/>
                <a:gd name="f33" fmla="+- f3 0 f2"/>
                <a:gd name="f34" fmla="*/ f33 1 2807368"/>
                <a:gd name="f35" fmla="*/ f32 1 649803"/>
                <a:gd name="f36" fmla="*/ f2 1 f34"/>
                <a:gd name="f37" fmla="*/ f3 1 f34"/>
                <a:gd name="f38" fmla="*/ f2 1 f35"/>
                <a:gd name="f39" fmla="*/ f4 1 f35"/>
                <a:gd name="f40" fmla="*/ f36 f30 1"/>
                <a:gd name="f41" fmla="*/ f37 f30 1"/>
                <a:gd name="f42" fmla="*/ f39 f31 1"/>
                <a:gd name="f43" fmla="*/ f3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2807368" h="649803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19"/>
                  </a:lnTo>
                  <a:lnTo>
                    <a:pt x="f3" y="f20"/>
                  </a:lnTo>
                  <a:lnTo>
                    <a:pt x="f21" y="f22"/>
                  </a:lnTo>
                  <a:cubicBezTo>
                    <a:pt x="f23" y="f24"/>
                    <a:pt x="f25" y="f26"/>
                    <a:pt x="f27" y="f28"/>
                  </a:cubicBezTo>
                  <a:lnTo>
                    <a:pt x="f2" y="f29"/>
                  </a:ln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pic>
        <p:nvPicPr>
          <p:cNvPr id="7" name="Google Shape;716;p69">
            <a:extLst>
              <a:ext uri="{FF2B5EF4-FFF2-40B4-BE49-F238E27FC236}">
                <a16:creationId xmlns:a16="http://schemas.microsoft.com/office/drawing/2014/main" id="{9261539C-3406-82AF-5A60-897C8EDC5FC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513344" y="4385535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3055526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0794430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718;p70">
            <a:extLst>
              <a:ext uri="{FF2B5EF4-FFF2-40B4-BE49-F238E27FC236}">
                <a16:creationId xmlns:a16="http://schemas.microsoft.com/office/drawing/2014/main" id="{E0FFADF7-C008-5868-B0C0-F8946E7EFEBC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719;p70">
            <a:extLst>
              <a:ext uri="{FF2B5EF4-FFF2-40B4-BE49-F238E27FC236}">
                <a16:creationId xmlns:a16="http://schemas.microsoft.com/office/drawing/2014/main" id="{7F595B62-DAAE-C5F5-5368-01E454BF73E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720;p70">
            <a:extLst>
              <a:ext uri="{FF2B5EF4-FFF2-40B4-BE49-F238E27FC236}">
                <a16:creationId xmlns:a16="http://schemas.microsoft.com/office/drawing/2014/main" id="{4C80C117-50C6-111E-FF3C-A43F0CFCC80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721;p70">
            <a:extLst>
              <a:ext uri="{FF2B5EF4-FFF2-40B4-BE49-F238E27FC236}">
                <a16:creationId xmlns:a16="http://schemas.microsoft.com/office/drawing/2014/main" id="{4DCBB165-B0AB-EC05-3857-ABCF6837758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565048E4-C33A-4A76-A9B3-D6A27A1E2C82}" type="slidenum">
              <a:t>‹#›</a:t>
            </a:fld>
            <a:endParaRPr lang="en-US"/>
          </a:p>
        </p:txBody>
      </p:sp>
      <p:cxnSp>
        <p:nvCxnSpPr>
          <p:cNvPr id="6" name="Google Shape;722;p70">
            <a:extLst>
              <a:ext uri="{FF2B5EF4-FFF2-40B4-BE49-F238E27FC236}">
                <a16:creationId xmlns:a16="http://schemas.microsoft.com/office/drawing/2014/main" id="{A8A1DC30-25B6-9676-C460-A9742CB00647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723;p70">
            <a:extLst>
              <a:ext uri="{FF2B5EF4-FFF2-40B4-BE49-F238E27FC236}">
                <a16:creationId xmlns:a16="http://schemas.microsoft.com/office/drawing/2014/main" id="{E08A7D15-DE48-8332-238F-9E569B8C188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724;p70">
            <a:extLst>
              <a:ext uri="{FF2B5EF4-FFF2-40B4-BE49-F238E27FC236}">
                <a16:creationId xmlns:a16="http://schemas.microsoft.com/office/drawing/2014/main" id="{27C3E8CC-D8B3-1D9A-DED6-5C5A984EFB6F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725;p70">
              <a:extLst>
                <a:ext uri="{FF2B5EF4-FFF2-40B4-BE49-F238E27FC236}">
                  <a16:creationId xmlns:a16="http://schemas.microsoft.com/office/drawing/2014/main" id="{708A9817-BF87-CD66-E8C9-9E0DA0D3337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726;p70">
              <a:extLst>
                <a:ext uri="{FF2B5EF4-FFF2-40B4-BE49-F238E27FC236}">
                  <a16:creationId xmlns:a16="http://schemas.microsoft.com/office/drawing/2014/main" id="{A4E4ACCB-7F6D-EF36-CD98-E15C637999B0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727;p70">
                <a:extLst>
                  <a:ext uri="{FF2B5EF4-FFF2-40B4-BE49-F238E27FC236}">
                    <a16:creationId xmlns:a16="http://schemas.microsoft.com/office/drawing/2014/main" id="{4FC5A9F5-68D5-7B3D-C481-5395F30BF29F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728;p70">
                <a:extLst>
                  <a:ext uri="{FF2B5EF4-FFF2-40B4-BE49-F238E27FC236}">
                    <a16:creationId xmlns:a16="http://schemas.microsoft.com/office/drawing/2014/main" id="{AB4F2058-4CDB-7270-6D2F-DC22C2046669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729;p70" descr="Open quotation mark with solid fill">
            <a:extLst>
              <a:ext uri="{FF2B5EF4-FFF2-40B4-BE49-F238E27FC236}">
                <a16:creationId xmlns:a16="http://schemas.microsoft.com/office/drawing/2014/main" id="{C8615EE8-60EF-A4B0-F17B-C9E3074F4BA2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542164843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731;p71">
            <a:extLst>
              <a:ext uri="{FF2B5EF4-FFF2-40B4-BE49-F238E27FC236}">
                <a16:creationId xmlns:a16="http://schemas.microsoft.com/office/drawing/2014/main" id="{4D66589C-4279-6E65-ECB3-B867CB2FC06C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732;p71">
            <a:extLst>
              <a:ext uri="{FF2B5EF4-FFF2-40B4-BE49-F238E27FC236}">
                <a16:creationId xmlns:a16="http://schemas.microsoft.com/office/drawing/2014/main" id="{96E8E679-1C15-CF5C-2DCC-D6FF34FB5FE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733;p71">
            <a:extLst>
              <a:ext uri="{FF2B5EF4-FFF2-40B4-BE49-F238E27FC236}">
                <a16:creationId xmlns:a16="http://schemas.microsoft.com/office/drawing/2014/main" id="{9F64FDCA-2A41-3015-2B28-7A9ED07694C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734;p71">
            <a:extLst>
              <a:ext uri="{FF2B5EF4-FFF2-40B4-BE49-F238E27FC236}">
                <a16:creationId xmlns:a16="http://schemas.microsoft.com/office/drawing/2014/main" id="{9ADC8DE4-7676-E782-5FE6-589A03473704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E6872FCA-8E39-434D-961A-7BA980B2D4D4}" type="slidenum">
              <a:t>‹#›</a:t>
            </a:fld>
            <a:endParaRPr lang="en-US"/>
          </a:p>
        </p:txBody>
      </p:sp>
      <p:cxnSp>
        <p:nvCxnSpPr>
          <p:cNvPr id="6" name="Google Shape;735;p71">
            <a:extLst>
              <a:ext uri="{FF2B5EF4-FFF2-40B4-BE49-F238E27FC236}">
                <a16:creationId xmlns:a16="http://schemas.microsoft.com/office/drawing/2014/main" id="{26E7AB77-209B-1716-0F00-52692ECAA519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736;p71">
            <a:extLst>
              <a:ext uri="{FF2B5EF4-FFF2-40B4-BE49-F238E27FC236}">
                <a16:creationId xmlns:a16="http://schemas.microsoft.com/office/drawing/2014/main" id="{6C3B0D67-5BC6-89C5-7ABF-E5464D3EF5B9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737;p71">
            <a:extLst>
              <a:ext uri="{FF2B5EF4-FFF2-40B4-BE49-F238E27FC236}">
                <a16:creationId xmlns:a16="http://schemas.microsoft.com/office/drawing/2014/main" id="{AF925E8F-CA5A-4AEE-B00B-93FF5496DA0C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738;p71">
              <a:extLst>
                <a:ext uri="{FF2B5EF4-FFF2-40B4-BE49-F238E27FC236}">
                  <a16:creationId xmlns:a16="http://schemas.microsoft.com/office/drawing/2014/main" id="{3439D129-178A-0A3A-A130-2668EBE2ED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739;p71">
              <a:extLst>
                <a:ext uri="{FF2B5EF4-FFF2-40B4-BE49-F238E27FC236}">
                  <a16:creationId xmlns:a16="http://schemas.microsoft.com/office/drawing/2014/main" id="{5F7E5D0E-EC8B-6F2B-E31A-B073FE456908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740;p71">
                <a:extLst>
                  <a:ext uri="{FF2B5EF4-FFF2-40B4-BE49-F238E27FC236}">
                    <a16:creationId xmlns:a16="http://schemas.microsoft.com/office/drawing/2014/main" id="{A6D9B242-9F6E-A4AD-4C19-391C0BDC37B6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741;p71">
                <a:extLst>
                  <a:ext uri="{FF2B5EF4-FFF2-40B4-BE49-F238E27FC236}">
                    <a16:creationId xmlns:a16="http://schemas.microsoft.com/office/drawing/2014/main" id="{96514397-35E2-511D-4898-42BCE1C8352C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742;p71" descr="Open quotation mark with solid fill">
            <a:extLst>
              <a:ext uri="{FF2B5EF4-FFF2-40B4-BE49-F238E27FC236}">
                <a16:creationId xmlns:a16="http://schemas.microsoft.com/office/drawing/2014/main" id="{58170021-C337-0878-06DC-CC28118B229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788406882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ation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718;p70">
            <a:extLst>
              <a:ext uri="{FF2B5EF4-FFF2-40B4-BE49-F238E27FC236}">
                <a16:creationId xmlns:a16="http://schemas.microsoft.com/office/drawing/2014/main" id="{2FAAF956-9C9B-D5CB-D057-832247C584EC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719;p70">
            <a:extLst>
              <a:ext uri="{FF2B5EF4-FFF2-40B4-BE49-F238E27FC236}">
                <a16:creationId xmlns:a16="http://schemas.microsoft.com/office/drawing/2014/main" id="{089E78EB-F0E6-2F35-2693-EAD67953880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720;p70">
            <a:extLst>
              <a:ext uri="{FF2B5EF4-FFF2-40B4-BE49-F238E27FC236}">
                <a16:creationId xmlns:a16="http://schemas.microsoft.com/office/drawing/2014/main" id="{17531025-B727-4303-BFAD-F1855740FE0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721;p70">
            <a:extLst>
              <a:ext uri="{FF2B5EF4-FFF2-40B4-BE49-F238E27FC236}">
                <a16:creationId xmlns:a16="http://schemas.microsoft.com/office/drawing/2014/main" id="{AD5E432D-6074-0C72-24C3-4A26A90CEB27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4BAF1620-38E8-4633-B7FE-D786D507CCC4}" type="slidenum">
              <a:t>‹#›</a:t>
            </a:fld>
            <a:endParaRPr lang="en-US"/>
          </a:p>
        </p:txBody>
      </p:sp>
      <p:cxnSp>
        <p:nvCxnSpPr>
          <p:cNvPr id="6" name="Google Shape;722;p70">
            <a:extLst>
              <a:ext uri="{FF2B5EF4-FFF2-40B4-BE49-F238E27FC236}">
                <a16:creationId xmlns:a16="http://schemas.microsoft.com/office/drawing/2014/main" id="{C474C6D8-4679-1C97-E809-428322C7DD1E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723;p70">
            <a:extLst>
              <a:ext uri="{FF2B5EF4-FFF2-40B4-BE49-F238E27FC236}">
                <a16:creationId xmlns:a16="http://schemas.microsoft.com/office/drawing/2014/main" id="{967A4475-0BB6-62D0-74F2-9382443035F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724;p70">
            <a:extLst>
              <a:ext uri="{FF2B5EF4-FFF2-40B4-BE49-F238E27FC236}">
                <a16:creationId xmlns:a16="http://schemas.microsoft.com/office/drawing/2014/main" id="{46DDBED7-A64D-27A9-7ED5-8A9E08A21CE1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725;p70">
              <a:extLst>
                <a:ext uri="{FF2B5EF4-FFF2-40B4-BE49-F238E27FC236}">
                  <a16:creationId xmlns:a16="http://schemas.microsoft.com/office/drawing/2014/main" id="{89ADD8A9-936B-E6D8-B224-54DFDECE490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726;p70">
              <a:extLst>
                <a:ext uri="{FF2B5EF4-FFF2-40B4-BE49-F238E27FC236}">
                  <a16:creationId xmlns:a16="http://schemas.microsoft.com/office/drawing/2014/main" id="{2D4B08EB-D72A-57E5-8D90-DBBC4371634C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727;p70">
                <a:extLst>
                  <a:ext uri="{FF2B5EF4-FFF2-40B4-BE49-F238E27FC236}">
                    <a16:creationId xmlns:a16="http://schemas.microsoft.com/office/drawing/2014/main" id="{FA3EC9BA-89CD-62C0-967A-E0F22B35AF9A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728;p70">
                <a:extLst>
                  <a:ext uri="{FF2B5EF4-FFF2-40B4-BE49-F238E27FC236}">
                    <a16:creationId xmlns:a16="http://schemas.microsoft.com/office/drawing/2014/main" id="{9B7F2993-696F-7DDF-D33F-61F3F207CE76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729;p70" descr="Open quotation mark with solid fill">
            <a:extLst>
              <a:ext uri="{FF2B5EF4-FFF2-40B4-BE49-F238E27FC236}">
                <a16:creationId xmlns:a16="http://schemas.microsoft.com/office/drawing/2014/main" id="{BEEA8F5E-1C51-8A27-CC65-E1AF3C90806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774410185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ation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731;p71">
            <a:extLst>
              <a:ext uri="{FF2B5EF4-FFF2-40B4-BE49-F238E27FC236}">
                <a16:creationId xmlns:a16="http://schemas.microsoft.com/office/drawing/2014/main" id="{3CE1DD01-1AB8-F193-FF35-D3B2EA0B9F05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732;p71">
            <a:extLst>
              <a:ext uri="{FF2B5EF4-FFF2-40B4-BE49-F238E27FC236}">
                <a16:creationId xmlns:a16="http://schemas.microsoft.com/office/drawing/2014/main" id="{212B7BBF-BA5B-3173-A1F9-96BCF85B571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733;p71">
            <a:extLst>
              <a:ext uri="{FF2B5EF4-FFF2-40B4-BE49-F238E27FC236}">
                <a16:creationId xmlns:a16="http://schemas.microsoft.com/office/drawing/2014/main" id="{6936501A-6814-6C2B-DB22-F827C0C85A5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734;p71">
            <a:extLst>
              <a:ext uri="{FF2B5EF4-FFF2-40B4-BE49-F238E27FC236}">
                <a16:creationId xmlns:a16="http://schemas.microsoft.com/office/drawing/2014/main" id="{D958D792-D972-379E-85A6-9304ADFD33B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B46F36AA-43FA-497D-B7A7-82A1600B61FA}" type="slidenum">
              <a:t>‹#›</a:t>
            </a:fld>
            <a:endParaRPr lang="en-US"/>
          </a:p>
        </p:txBody>
      </p:sp>
      <p:cxnSp>
        <p:nvCxnSpPr>
          <p:cNvPr id="6" name="Google Shape;735;p71">
            <a:extLst>
              <a:ext uri="{FF2B5EF4-FFF2-40B4-BE49-F238E27FC236}">
                <a16:creationId xmlns:a16="http://schemas.microsoft.com/office/drawing/2014/main" id="{D48569D8-922C-B3D0-D628-3071173B8147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736;p71">
            <a:extLst>
              <a:ext uri="{FF2B5EF4-FFF2-40B4-BE49-F238E27FC236}">
                <a16:creationId xmlns:a16="http://schemas.microsoft.com/office/drawing/2014/main" id="{02F54EE5-8884-C693-4B52-D6D4D2CD81C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737;p71">
            <a:extLst>
              <a:ext uri="{FF2B5EF4-FFF2-40B4-BE49-F238E27FC236}">
                <a16:creationId xmlns:a16="http://schemas.microsoft.com/office/drawing/2014/main" id="{7DEB21C0-C5EA-00AE-9B95-7CE98CA6EF21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738;p71">
              <a:extLst>
                <a:ext uri="{FF2B5EF4-FFF2-40B4-BE49-F238E27FC236}">
                  <a16:creationId xmlns:a16="http://schemas.microsoft.com/office/drawing/2014/main" id="{C5935FCD-D86E-6597-AB38-289A9A72FED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739;p71">
              <a:extLst>
                <a:ext uri="{FF2B5EF4-FFF2-40B4-BE49-F238E27FC236}">
                  <a16:creationId xmlns:a16="http://schemas.microsoft.com/office/drawing/2014/main" id="{B7925F14-EFA8-7E77-C9F7-D2E0082AADDF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740;p71">
                <a:extLst>
                  <a:ext uri="{FF2B5EF4-FFF2-40B4-BE49-F238E27FC236}">
                    <a16:creationId xmlns:a16="http://schemas.microsoft.com/office/drawing/2014/main" id="{AB570F16-D293-4DB3-8BF1-E1BCD870BA74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741;p71">
                <a:extLst>
                  <a:ext uri="{FF2B5EF4-FFF2-40B4-BE49-F238E27FC236}">
                    <a16:creationId xmlns:a16="http://schemas.microsoft.com/office/drawing/2014/main" id="{1E133C7B-E08F-AB3B-4230-D852185B52BD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742;p71" descr="Open quotation mark with solid fill">
            <a:extLst>
              <a:ext uri="{FF2B5EF4-FFF2-40B4-BE49-F238E27FC236}">
                <a16:creationId xmlns:a16="http://schemas.microsoft.com/office/drawing/2014/main" id="{14ACBD36-77FA-8102-F1DA-808923996FA1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014913132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744;p72">
            <a:extLst>
              <a:ext uri="{FF2B5EF4-FFF2-40B4-BE49-F238E27FC236}">
                <a16:creationId xmlns:a16="http://schemas.microsoft.com/office/drawing/2014/main" id="{05E4AE22-65F6-DECB-9F68-2ED6333368DD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745;p72">
              <a:extLst>
                <a:ext uri="{FF2B5EF4-FFF2-40B4-BE49-F238E27FC236}">
                  <a16:creationId xmlns:a16="http://schemas.microsoft.com/office/drawing/2014/main" id="{72911D2C-FECF-9E3E-1F24-6155454369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746;p72">
              <a:extLst>
                <a:ext uri="{FF2B5EF4-FFF2-40B4-BE49-F238E27FC236}">
                  <a16:creationId xmlns:a16="http://schemas.microsoft.com/office/drawing/2014/main" id="{547C044F-3E39-2D93-9037-D01A255F330C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747;p72">
                <a:extLst>
                  <a:ext uri="{FF2B5EF4-FFF2-40B4-BE49-F238E27FC236}">
                    <a16:creationId xmlns:a16="http://schemas.microsoft.com/office/drawing/2014/main" id="{31B78314-623F-CC23-46C3-B7ABA657822F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748;p72">
                <a:extLst>
                  <a:ext uri="{FF2B5EF4-FFF2-40B4-BE49-F238E27FC236}">
                    <a16:creationId xmlns:a16="http://schemas.microsoft.com/office/drawing/2014/main" id="{629EFA7E-497B-03F0-58DD-30803CE5A265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749;p72">
            <a:extLst>
              <a:ext uri="{FF2B5EF4-FFF2-40B4-BE49-F238E27FC236}">
                <a16:creationId xmlns:a16="http://schemas.microsoft.com/office/drawing/2014/main" id="{62880FB0-C737-4C33-979C-8265436734A7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750;p72">
            <a:extLst>
              <a:ext uri="{FF2B5EF4-FFF2-40B4-BE49-F238E27FC236}">
                <a16:creationId xmlns:a16="http://schemas.microsoft.com/office/drawing/2014/main" id="{8A3430C3-5E27-D029-310D-5D5C90E90B6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/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9" name="Google Shape;751;p72">
            <a:extLst>
              <a:ext uri="{FF2B5EF4-FFF2-40B4-BE49-F238E27FC236}">
                <a16:creationId xmlns:a16="http://schemas.microsoft.com/office/drawing/2014/main" id="{587D5E55-4E37-9B3D-5744-47C1B165B2CD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FA10371A-2704-4F00-88AD-3CB0E5E4035B}" type="slidenum">
              <a:t>‹#›</a:t>
            </a:fld>
            <a:endParaRPr lang="en-US"/>
          </a:p>
        </p:txBody>
      </p:sp>
      <p:cxnSp>
        <p:nvCxnSpPr>
          <p:cNvPr id="10" name="Google Shape;752;p72">
            <a:extLst>
              <a:ext uri="{FF2B5EF4-FFF2-40B4-BE49-F238E27FC236}">
                <a16:creationId xmlns:a16="http://schemas.microsoft.com/office/drawing/2014/main" id="{8126A98F-95C3-527B-0970-8D3D68DDB22B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1" name="Google Shape;753;p72">
            <a:extLst>
              <a:ext uri="{FF2B5EF4-FFF2-40B4-BE49-F238E27FC236}">
                <a16:creationId xmlns:a16="http://schemas.microsoft.com/office/drawing/2014/main" id="{36392CF6-A638-9B7D-FE4A-1265701975FE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358959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755;p73">
            <a:extLst>
              <a:ext uri="{FF2B5EF4-FFF2-40B4-BE49-F238E27FC236}">
                <a16:creationId xmlns:a16="http://schemas.microsoft.com/office/drawing/2014/main" id="{0DCAD525-80A3-5F55-C1B0-714CE6D5A96B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3" name="Google Shape;756;p73">
            <a:extLst>
              <a:ext uri="{FF2B5EF4-FFF2-40B4-BE49-F238E27FC236}">
                <a16:creationId xmlns:a16="http://schemas.microsoft.com/office/drawing/2014/main" id="{F6FAA754-F192-BCBD-6EB7-DF6C4DA8A5C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grpSp>
        <p:nvGrpSpPr>
          <p:cNvPr id="4" name="Google Shape;757;p73">
            <a:extLst>
              <a:ext uri="{FF2B5EF4-FFF2-40B4-BE49-F238E27FC236}">
                <a16:creationId xmlns:a16="http://schemas.microsoft.com/office/drawing/2014/main" id="{E1560B2B-CBE7-5BC0-778B-D8E2179DA453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5" name="Google Shape;758;p73">
              <a:extLst>
                <a:ext uri="{FF2B5EF4-FFF2-40B4-BE49-F238E27FC236}">
                  <a16:creationId xmlns:a16="http://schemas.microsoft.com/office/drawing/2014/main" id="{CB0B6C20-87C1-698F-4829-E8B041F6630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6" name="Google Shape;759;p73">
              <a:extLst>
                <a:ext uri="{FF2B5EF4-FFF2-40B4-BE49-F238E27FC236}">
                  <a16:creationId xmlns:a16="http://schemas.microsoft.com/office/drawing/2014/main" id="{093A7A9D-EE22-5D8C-1E0E-BDE1E1085E08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7" name="Google Shape;760;p73">
                <a:extLst>
                  <a:ext uri="{FF2B5EF4-FFF2-40B4-BE49-F238E27FC236}">
                    <a16:creationId xmlns:a16="http://schemas.microsoft.com/office/drawing/2014/main" id="{96AC4422-1E2D-CFEF-A371-D0DDD13714CC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8" name="Google Shape;761;p73">
                <a:extLst>
                  <a:ext uri="{FF2B5EF4-FFF2-40B4-BE49-F238E27FC236}">
                    <a16:creationId xmlns:a16="http://schemas.microsoft.com/office/drawing/2014/main" id="{13B38634-C596-BB1D-7D29-B2E70C32CA90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9" name="Google Shape;762;p73">
            <a:extLst>
              <a:ext uri="{FF2B5EF4-FFF2-40B4-BE49-F238E27FC236}">
                <a16:creationId xmlns:a16="http://schemas.microsoft.com/office/drawing/2014/main" id="{097740D8-F00E-8683-9218-D3A450361B9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Google Shape;763;p73">
            <a:extLst>
              <a:ext uri="{FF2B5EF4-FFF2-40B4-BE49-F238E27FC236}">
                <a16:creationId xmlns:a16="http://schemas.microsoft.com/office/drawing/2014/main" id="{2BF72E0A-53C8-F29C-B33E-C99B75C2516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8839193" y="6356351"/>
            <a:ext cx="2743200" cy="365129"/>
          </a:xfrm>
        </p:spPr>
        <p:txBody>
          <a:bodyPr/>
          <a:lstStyle>
            <a:lvl1pPr>
              <a:defRPr/>
            </a:lvl1pPr>
          </a:lstStyle>
          <a:p>
            <a:pPr lvl="0"/>
            <a:fld id="{5806AAD7-758E-4394-8BEA-602C27DB3435}" type="slidenum">
              <a:t>‹#›</a:t>
            </a:fld>
            <a:endParaRPr lang="en-US"/>
          </a:p>
        </p:txBody>
      </p:sp>
      <p:cxnSp>
        <p:nvCxnSpPr>
          <p:cNvPr id="11" name="Google Shape;764;p73">
            <a:extLst>
              <a:ext uri="{FF2B5EF4-FFF2-40B4-BE49-F238E27FC236}">
                <a16:creationId xmlns:a16="http://schemas.microsoft.com/office/drawing/2014/main" id="{7DD6C2E1-EE65-2634-F4F2-9A840E437D8E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2" name="Google Shape;765;p73">
            <a:extLst>
              <a:ext uri="{FF2B5EF4-FFF2-40B4-BE49-F238E27FC236}">
                <a16:creationId xmlns:a16="http://schemas.microsoft.com/office/drawing/2014/main" id="{1F18D57D-1214-DE5F-8101-7E406710F951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5122270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767;p74">
            <a:extLst>
              <a:ext uri="{FF2B5EF4-FFF2-40B4-BE49-F238E27FC236}">
                <a16:creationId xmlns:a16="http://schemas.microsoft.com/office/drawing/2014/main" id="{13412DDD-D30E-06A5-6EF5-448F206AFABC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768;p74">
              <a:extLst>
                <a:ext uri="{FF2B5EF4-FFF2-40B4-BE49-F238E27FC236}">
                  <a16:creationId xmlns:a16="http://schemas.microsoft.com/office/drawing/2014/main" id="{0FF71127-2E59-BFC3-4D8F-5109660D6D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769;p74">
              <a:extLst>
                <a:ext uri="{FF2B5EF4-FFF2-40B4-BE49-F238E27FC236}">
                  <a16:creationId xmlns:a16="http://schemas.microsoft.com/office/drawing/2014/main" id="{65227B4F-4735-40DE-BF33-5A0446CE33AB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770;p74">
                <a:extLst>
                  <a:ext uri="{FF2B5EF4-FFF2-40B4-BE49-F238E27FC236}">
                    <a16:creationId xmlns:a16="http://schemas.microsoft.com/office/drawing/2014/main" id="{25B67C56-08DA-A6F5-CFAB-E8CE7E477D01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771;p74">
                <a:extLst>
                  <a:ext uri="{FF2B5EF4-FFF2-40B4-BE49-F238E27FC236}">
                    <a16:creationId xmlns:a16="http://schemas.microsoft.com/office/drawing/2014/main" id="{919DB6FA-D2DD-26B3-2885-0C0C01A8C827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772;p74">
            <a:extLst>
              <a:ext uri="{FF2B5EF4-FFF2-40B4-BE49-F238E27FC236}">
                <a16:creationId xmlns:a16="http://schemas.microsoft.com/office/drawing/2014/main" id="{9F86A3B2-6F6A-B2B7-F8E7-E8A23A6EE3DE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773;p74">
            <a:extLst>
              <a:ext uri="{FF2B5EF4-FFF2-40B4-BE49-F238E27FC236}">
                <a16:creationId xmlns:a16="http://schemas.microsoft.com/office/drawing/2014/main" id="{AF868653-ABD3-0644-18F5-279951A67D4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681160"/>
            <a:ext cx="538797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9" name="Google Shape;774;p74">
            <a:extLst>
              <a:ext uri="{FF2B5EF4-FFF2-40B4-BE49-F238E27FC236}">
                <a16:creationId xmlns:a16="http://schemas.microsoft.com/office/drawing/2014/main" id="{41235A15-E459-2DD0-F7F4-7B022C0FFCA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2505071"/>
            <a:ext cx="5387973" cy="3684583"/>
          </a:xfrm>
          <a:solidFill>
            <a:srgbClr val="F3F6FB"/>
          </a:solidFill>
        </p:spPr>
        <p:txBody>
          <a:bodyPr lIns="182870" tIns="0" rIns="182870" bIns="0">
            <a:normAutofit/>
          </a:bodyPr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0" name="Google Shape;775;p74">
            <a:extLst>
              <a:ext uri="{FF2B5EF4-FFF2-40B4-BE49-F238E27FC236}">
                <a16:creationId xmlns:a16="http://schemas.microsoft.com/office/drawing/2014/main" id="{F3650A06-B6A7-4E33-FD08-730275CFF1F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681160"/>
            <a:ext cx="541020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11" name="Google Shape;776;p74">
            <a:extLst>
              <a:ext uri="{FF2B5EF4-FFF2-40B4-BE49-F238E27FC236}">
                <a16:creationId xmlns:a16="http://schemas.microsoft.com/office/drawing/2014/main" id="{285A45FC-2B45-0320-B931-2D63A32B659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2505071"/>
            <a:ext cx="5410203" cy="3684583"/>
          </a:xfrm>
          <a:solidFill>
            <a:srgbClr val="F3F6FB"/>
          </a:solidFill>
        </p:spPr>
        <p:txBody>
          <a:bodyPr lIns="182870" tIns="0" rIns="182870" bIns="0"/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2" name="Google Shape;777;p74">
            <a:extLst>
              <a:ext uri="{FF2B5EF4-FFF2-40B4-BE49-F238E27FC236}">
                <a16:creationId xmlns:a16="http://schemas.microsoft.com/office/drawing/2014/main" id="{74DC0A96-DF2A-7AE1-A70D-020D293DF98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D50858AA-1675-441A-8B5B-B8BAEFE90001}" type="slidenum">
              <a:t>‹#›</a:t>
            </a:fld>
            <a:endParaRPr lang="en-US"/>
          </a:p>
        </p:txBody>
      </p:sp>
      <p:cxnSp>
        <p:nvCxnSpPr>
          <p:cNvPr id="13" name="Google Shape;778;p74">
            <a:extLst>
              <a:ext uri="{FF2B5EF4-FFF2-40B4-BE49-F238E27FC236}">
                <a16:creationId xmlns:a16="http://schemas.microsoft.com/office/drawing/2014/main" id="{FA3858B4-3459-7E2E-264C-8E367A7748ED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4" name="Google Shape;779;p74">
            <a:extLst>
              <a:ext uri="{FF2B5EF4-FFF2-40B4-BE49-F238E27FC236}">
                <a16:creationId xmlns:a16="http://schemas.microsoft.com/office/drawing/2014/main" id="{B98DE23C-31BF-C647-3F09-88EE3E74C55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346378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781;p75">
            <a:extLst>
              <a:ext uri="{FF2B5EF4-FFF2-40B4-BE49-F238E27FC236}">
                <a16:creationId xmlns:a16="http://schemas.microsoft.com/office/drawing/2014/main" id="{B0E12AD9-AAA5-985A-B39B-8889C6FD9815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782;p75">
              <a:extLst>
                <a:ext uri="{FF2B5EF4-FFF2-40B4-BE49-F238E27FC236}">
                  <a16:creationId xmlns:a16="http://schemas.microsoft.com/office/drawing/2014/main" id="{14811E27-F89E-B98D-00F7-C4EEB50C85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783;p75">
              <a:extLst>
                <a:ext uri="{FF2B5EF4-FFF2-40B4-BE49-F238E27FC236}">
                  <a16:creationId xmlns:a16="http://schemas.microsoft.com/office/drawing/2014/main" id="{837FC83B-3D1E-40D1-D635-F7E31D63425A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784;p75">
                <a:extLst>
                  <a:ext uri="{FF2B5EF4-FFF2-40B4-BE49-F238E27FC236}">
                    <a16:creationId xmlns:a16="http://schemas.microsoft.com/office/drawing/2014/main" id="{9126E377-7972-6772-1480-3E0821A07845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785;p75">
                <a:extLst>
                  <a:ext uri="{FF2B5EF4-FFF2-40B4-BE49-F238E27FC236}">
                    <a16:creationId xmlns:a16="http://schemas.microsoft.com/office/drawing/2014/main" id="{26568AC1-9633-E83D-3BAD-68908B5FC92A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786;p75">
            <a:extLst>
              <a:ext uri="{FF2B5EF4-FFF2-40B4-BE49-F238E27FC236}">
                <a16:creationId xmlns:a16="http://schemas.microsoft.com/office/drawing/2014/main" id="{50A01072-ACC4-5620-E371-02EA7D8EC9F2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787;p75">
            <a:extLst>
              <a:ext uri="{FF2B5EF4-FFF2-40B4-BE49-F238E27FC236}">
                <a16:creationId xmlns:a16="http://schemas.microsoft.com/office/drawing/2014/main" id="{00E1DCE4-45F2-7D83-1057-273A47BA50B2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3DD267B1-7BDC-4EF1-AF7E-19A8A1E492F1}" type="slidenum">
              <a:t>‹#›</a:t>
            </a:fld>
            <a:endParaRPr lang="en-US"/>
          </a:p>
        </p:txBody>
      </p:sp>
      <p:cxnSp>
        <p:nvCxnSpPr>
          <p:cNvPr id="9" name="Google Shape;788;p75">
            <a:extLst>
              <a:ext uri="{FF2B5EF4-FFF2-40B4-BE49-F238E27FC236}">
                <a16:creationId xmlns:a16="http://schemas.microsoft.com/office/drawing/2014/main" id="{5A39971F-EA25-8176-78C1-9721D3632DB7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0" name="Google Shape;789;p75">
            <a:extLst>
              <a:ext uri="{FF2B5EF4-FFF2-40B4-BE49-F238E27FC236}">
                <a16:creationId xmlns:a16="http://schemas.microsoft.com/office/drawing/2014/main" id="{D3C84847-6C7B-DE16-5394-BDB8EF49AD47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333232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791;p76">
            <a:extLst>
              <a:ext uri="{FF2B5EF4-FFF2-40B4-BE49-F238E27FC236}">
                <a16:creationId xmlns:a16="http://schemas.microsoft.com/office/drawing/2014/main" id="{476E786D-1D30-2C6C-8311-575ADF033F98}"/>
              </a:ext>
            </a:extLst>
          </p:cNvPr>
          <p:cNvGrpSpPr/>
          <p:nvPr/>
        </p:nvGrpSpPr>
        <p:grpSpPr>
          <a:xfrm>
            <a:off x="0" y="0"/>
            <a:ext cx="12191996" cy="2148830"/>
            <a:chOff x="0" y="0"/>
            <a:chExt cx="12191996" cy="2148830"/>
          </a:xfrm>
        </p:grpSpPr>
        <p:sp>
          <p:nvSpPr>
            <p:cNvPr id="3" name="Google Shape;792;p76">
              <a:extLst>
                <a:ext uri="{FF2B5EF4-FFF2-40B4-BE49-F238E27FC236}">
                  <a16:creationId xmlns:a16="http://schemas.microsoft.com/office/drawing/2014/main" id="{505A80CE-D193-B84B-A412-24EA8CA3436B}"/>
                </a:ext>
              </a:extLst>
            </p:cNvPr>
            <p:cNvSpPr/>
            <p:nvPr/>
          </p:nvSpPr>
          <p:spPr>
            <a:xfrm flipH="1">
              <a:off x="0" y="0"/>
              <a:ext cx="12191996" cy="214883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2148830"/>
                <a:gd name="f5" fmla="val 2318293"/>
                <a:gd name="f6" fmla="val 2110341"/>
                <a:gd name="f7" fmla="val 1952334"/>
                <a:gd name="f8" fmla="val 920"/>
                <a:gd name="f9" fmla="val 1343499"/>
                <a:gd name="f10" fmla="val 23864"/>
                <a:gd name="f11" fmla="val 752130"/>
                <a:gd name="f12" fmla="val 152982"/>
                <a:gd name="f13" fmla="val 184205"/>
                <a:gd name="f14" fmla="val 435928"/>
                <a:gd name="f15" fmla="val 536864"/>
                <a:gd name="f16" fmla="val 554713"/>
                <a:gd name="f17" fmla="val 201115"/>
                <a:gd name="f18" fmla="val 452796"/>
                <a:gd name="f19" fmla="val 776357"/>
                <a:gd name="f20" fmla="val 187336"/>
                <a:gd name="f21" fmla="val 1349828"/>
                <a:gd name="f22" fmla="val 76760"/>
                <a:gd name="f23" fmla="val 1947588"/>
                <a:gd name="f24" fmla="val 66249"/>
                <a:gd name="f25" fmla="val 2962940"/>
                <a:gd name="f26" fmla="val 48421"/>
                <a:gd name="f27" fmla="val 3890218"/>
                <a:gd name="f28" fmla="val 291317"/>
                <a:gd name="f29" fmla="val 4778140"/>
                <a:gd name="f30" fmla="val 604018"/>
                <a:gd name="f31" fmla="val 7231510"/>
                <a:gd name="f32" fmla="val 1468126"/>
                <a:gd name="f33" fmla="val 9178927"/>
                <a:gd name="f34" fmla="val 2492024"/>
                <a:gd name="f35" fmla="val 11996242"/>
                <a:gd name="f36" fmla="val 2036894"/>
                <a:gd name="f37" fmla="val 2002266"/>
                <a:gd name="f38" fmla="val 1415250"/>
                <a:gd name="f39" fmla="val 12022971"/>
                <a:gd name="f40" fmla="val 1470801"/>
                <a:gd name="f41" fmla="val 10719696"/>
                <a:gd name="f42" fmla="val 1863939"/>
                <a:gd name="f43" fmla="val 9271154"/>
                <a:gd name="f44" fmla="val 1783804"/>
                <a:gd name="f45" fmla="val 7970940"/>
                <a:gd name="f46" fmla="val 1436986"/>
                <a:gd name="f47" fmla="val 6890984"/>
                <a:gd name="f48" fmla="val 1148958"/>
                <a:gd name="f49" fmla="val 5866930"/>
                <a:gd name="f50" fmla="val 767309"/>
                <a:gd name="f51" fmla="val 4800356"/>
                <a:gd name="f52" fmla="val 456582"/>
                <a:gd name="f53" fmla="val 4068903"/>
                <a:gd name="f54" fmla="val 243471"/>
                <a:gd name="f55" fmla="val 3348204"/>
                <a:gd name="f56" fmla="val 74251"/>
                <a:gd name="f57" fmla="val 2646880"/>
                <a:gd name="f58" fmla="val 17560"/>
                <a:gd name="f59" fmla="*/ f0 1 12192000"/>
                <a:gd name="f60" fmla="*/ f1 1 2148830"/>
                <a:gd name="f61" fmla="+- f4 0 f2"/>
                <a:gd name="f62" fmla="+- f3 0 f2"/>
                <a:gd name="f63" fmla="*/ f62 1 12192000"/>
                <a:gd name="f64" fmla="*/ f61 1 2148830"/>
                <a:gd name="f65" fmla="*/ f2 1 f63"/>
                <a:gd name="f66" fmla="*/ f3 1 f63"/>
                <a:gd name="f67" fmla="*/ f2 1 f64"/>
                <a:gd name="f68" fmla="*/ f4 1 f64"/>
                <a:gd name="f69" fmla="*/ f65 f59 1"/>
                <a:gd name="f70" fmla="*/ f66 f59 1"/>
                <a:gd name="f71" fmla="*/ f68 f60 1"/>
                <a:gd name="f72" fmla="*/ f67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9" t="f72" r="f70" b="f71"/>
              <a:pathLst>
                <a:path w="12192000" h="2148830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793;p76">
              <a:extLst>
                <a:ext uri="{FF2B5EF4-FFF2-40B4-BE49-F238E27FC236}">
                  <a16:creationId xmlns:a16="http://schemas.microsoft.com/office/drawing/2014/main" id="{075D18E9-D2E2-780D-D5E3-33F5295E4676}"/>
                </a:ext>
              </a:extLst>
            </p:cNvPr>
            <p:cNvSpPr/>
            <p:nvPr/>
          </p:nvSpPr>
          <p:spPr>
            <a:xfrm flipH="1">
              <a:off x="0" y="0"/>
              <a:ext cx="12191996" cy="19921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992138"/>
                <a:gd name="f5" fmla="val 2724271"/>
                <a:gd name="f6" fmla="val 1788442"/>
                <a:gd name="f7" fmla="val 1635403"/>
                <a:gd name="f8" fmla="val 12925"/>
                <a:gd name="f9" fmla="val 1134241"/>
                <a:gd name="f10" fmla="val 70905"/>
                <a:gd name="f11" fmla="val 647221"/>
                <a:gd name="f12" fmla="val 207817"/>
                <a:gd name="f13" fmla="val 178220"/>
                <a:gd name="f14" fmla="val 451207"/>
                <a:gd name="f15" fmla="val 552718"/>
                <a:gd name="f16" fmla="val 570885"/>
                <a:gd name="f17" fmla="val 195368"/>
                <a:gd name="f18" fmla="val 467800"/>
                <a:gd name="f19" fmla="val 765758"/>
                <a:gd name="f20" fmla="val 193094"/>
                <a:gd name="f21" fmla="val 1336955"/>
                <a:gd name="f22" fmla="val 73179"/>
                <a:gd name="f23" fmla="val 1934073"/>
                <a:gd name="f24" fmla="val 52850"/>
                <a:gd name="f25" fmla="val 2948304"/>
                <a:gd name="f26" fmla="val 18310"/>
                <a:gd name="f27" fmla="val 3878878"/>
                <a:gd name="f28" fmla="val 245747"/>
                <a:gd name="f29" fmla="val 4771217"/>
                <a:gd name="f30" fmla="val 543645"/>
                <a:gd name="f31" fmla="val 7236913"/>
                <a:gd name="f32" fmla="val 1366709"/>
                <a:gd name="f33" fmla="val 9199689"/>
                <a:gd name="f34" fmla="val 2357774"/>
                <a:gd name="f35" fmla="val 12007222"/>
                <a:gd name="f36" fmla="val 1856729"/>
                <a:gd name="f37" fmla="val 1820900"/>
                <a:gd name="f38" fmla="val 897073"/>
                <a:gd name="f39" fmla="val 12062517"/>
                <a:gd name="f40" fmla="val 950128"/>
                <a:gd name="f41" fmla="val 10950292"/>
                <a:gd name="f42" fmla="val 1376478"/>
                <a:gd name="f43" fmla="val 9595706"/>
                <a:gd name="f44" fmla="val 1466451"/>
                <a:gd name="f45" fmla="val 8435105"/>
                <a:gd name="f46" fmla="val 1266613"/>
                <a:gd name="f47" fmla="val 6618389"/>
                <a:gd name="f48" fmla="val 953715"/>
                <a:gd name="f49" fmla="val 4735222"/>
                <a:gd name="f50" fmla="val 130088"/>
                <a:gd name="f51" fmla="val 2948502"/>
                <a:gd name="f52" fmla="val 20548"/>
                <a:gd name="f53" fmla="*/ f0 1 12192000"/>
                <a:gd name="f54" fmla="*/ f1 1 1992138"/>
                <a:gd name="f55" fmla="+- f4 0 f2"/>
                <a:gd name="f56" fmla="+- f3 0 f2"/>
                <a:gd name="f57" fmla="*/ f56 1 12192000"/>
                <a:gd name="f58" fmla="*/ f55 1 1992138"/>
                <a:gd name="f59" fmla="*/ f2 1 f57"/>
                <a:gd name="f60" fmla="*/ f3 1 f57"/>
                <a:gd name="f61" fmla="*/ f2 1 f58"/>
                <a:gd name="f62" fmla="*/ f4 1 f58"/>
                <a:gd name="f63" fmla="*/ f59 f53 1"/>
                <a:gd name="f64" fmla="*/ f60 f53 1"/>
                <a:gd name="f65" fmla="*/ f62 f54 1"/>
                <a:gd name="f66" fmla="*/ f61 f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3" t="f66" r="f64" b="f65"/>
              <a:pathLst>
                <a:path w="12192000" h="1992138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lose/>
                </a:path>
              </a:pathLst>
            </a:custGeom>
            <a:solidFill>
              <a:srgbClr val="00498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sp>
        <p:nvSpPr>
          <p:cNvPr id="5" name="Google Shape;794;p76">
            <a:extLst>
              <a:ext uri="{FF2B5EF4-FFF2-40B4-BE49-F238E27FC236}">
                <a16:creationId xmlns:a16="http://schemas.microsoft.com/office/drawing/2014/main" id="{D3A35079-466F-12FE-F700-5BDFF3148099}"/>
              </a:ext>
            </a:extLst>
          </p:cNvPr>
          <p:cNvSpPr/>
          <p:nvPr/>
        </p:nvSpPr>
        <p:spPr>
          <a:xfrm>
            <a:off x="902366" y="1517693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6" name="Google Shape;795;p76">
            <a:extLst>
              <a:ext uri="{FF2B5EF4-FFF2-40B4-BE49-F238E27FC236}">
                <a16:creationId xmlns:a16="http://schemas.microsoft.com/office/drawing/2014/main" id="{42CF6659-0556-AC9E-4173-BE229707895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219196" y="3429000"/>
            <a:ext cx="5582649" cy="1413561"/>
          </a:xfrm>
        </p:spPr>
        <p:txBody>
          <a:bodyPr/>
          <a:lstStyle>
            <a:lvl1pPr indent="-228600">
              <a:buNone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7" name="Google Shape;796;p76">
            <a:extLst>
              <a:ext uri="{FF2B5EF4-FFF2-40B4-BE49-F238E27FC236}">
                <a16:creationId xmlns:a16="http://schemas.microsoft.com/office/drawing/2014/main" id="{8FCAD903-1D8B-A6F6-886F-404BDA45880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19196" y="1887486"/>
            <a:ext cx="5582649" cy="1078260"/>
          </a:xfrm>
        </p:spPr>
        <p:txBody>
          <a:bodyPr/>
          <a:lstStyle>
            <a:lvl1pPr>
              <a:defRPr sz="6000"/>
            </a:lvl1pPr>
          </a:lstStyle>
          <a:p>
            <a:pPr lvl="0"/>
            <a:endParaRPr lang="en-US"/>
          </a:p>
        </p:txBody>
      </p:sp>
      <p:pic>
        <p:nvPicPr>
          <p:cNvPr id="8" name="Google Shape;797;p76">
            <a:extLst>
              <a:ext uri="{FF2B5EF4-FFF2-40B4-BE49-F238E27FC236}">
                <a16:creationId xmlns:a16="http://schemas.microsoft.com/office/drawing/2014/main" id="{049410B9-0764-C6DF-CA52-320EE57F7B5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902366" y="228371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018255544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800;p77">
            <a:extLst>
              <a:ext uri="{FF2B5EF4-FFF2-40B4-BE49-F238E27FC236}">
                <a16:creationId xmlns:a16="http://schemas.microsoft.com/office/drawing/2014/main" id="{20F67DFE-395D-1951-882B-00C87114D1DC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BB7D2E0F-784C-47EA-9F7C-3CBD05A1E33A}" type="slidenum">
              <a:t>‹#›</a:t>
            </a:fld>
            <a:endParaRPr lang="en-US"/>
          </a:p>
        </p:txBody>
      </p:sp>
      <p:cxnSp>
        <p:nvCxnSpPr>
          <p:cNvPr id="3" name="Google Shape;801;p77">
            <a:extLst>
              <a:ext uri="{FF2B5EF4-FFF2-40B4-BE49-F238E27FC236}">
                <a16:creationId xmlns:a16="http://schemas.microsoft.com/office/drawing/2014/main" id="{C36339C1-8E6C-DBC0-F474-78B573566EE2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4" name="Google Shape;802;p77">
            <a:extLst>
              <a:ext uri="{FF2B5EF4-FFF2-40B4-BE49-F238E27FC236}">
                <a16:creationId xmlns:a16="http://schemas.microsoft.com/office/drawing/2014/main" id="{803AE431-1A6B-4C86-DC7E-9755F1392C7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803;p77">
            <a:extLst>
              <a:ext uri="{FF2B5EF4-FFF2-40B4-BE49-F238E27FC236}">
                <a16:creationId xmlns:a16="http://schemas.microsoft.com/office/drawing/2014/main" id="{3FB485A4-7A89-78B2-11C9-CA4A09959E87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6" name="Google Shape;804;p77">
              <a:extLst>
                <a:ext uri="{FF2B5EF4-FFF2-40B4-BE49-F238E27FC236}">
                  <a16:creationId xmlns:a16="http://schemas.microsoft.com/office/drawing/2014/main" id="{96D73619-0B5B-6A73-9206-821501015E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7" name="Google Shape;805;p77">
              <a:extLst>
                <a:ext uri="{FF2B5EF4-FFF2-40B4-BE49-F238E27FC236}">
                  <a16:creationId xmlns:a16="http://schemas.microsoft.com/office/drawing/2014/main" id="{71DA749C-F10A-F846-D81C-F454B5B34A97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8" name="Google Shape;806;p77">
                <a:extLst>
                  <a:ext uri="{FF2B5EF4-FFF2-40B4-BE49-F238E27FC236}">
                    <a16:creationId xmlns:a16="http://schemas.microsoft.com/office/drawing/2014/main" id="{4A1E3AE7-A33F-F09F-0488-EC32DED9C18F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9" name="Google Shape;807;p77">
                <a:extLst>
                  <a:ext uri="{FF2B5EF4-FFF2-40B4-BE49-F238E27FC236}">
                    <a16:creationId xmlns:a16="http://schemas.microsoft.com/office/drawing/2014/main" id="{677AF729-D635-3B13-F299-3EB80C4CA115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3138852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62137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809;p78">
            <a:extLst>
              <a:ext uri="{FF2B5EF4-FFF2-40B4-BE49-F238E27FC236}">
                <a16:creationId xmlns:a16="http://schemas.microsoft.com/office/drawing/2014/main" id="{9E115183-BBDF-2535-C4B9-4013CA285DAE}"/>
              </a:ext>
            </a:extLst>
          </p:cNvPr>
          <p:cNvSpPr/>
          <p:nvPr/>
        </p:nvSpPr>
        <p:spPr>
          <a:xfrm>
            <a:off x="902366" y="1294415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810;p78">
            <a:extLst>
              <a:ext uri="{FF2B5EF4-FFF2-40B4-BE49-F238E27FC236}">
                <a16:creationId xmlns:a16="http://schemas.microsoft.com/office/drawing/2014/main" id="{5BBA78E2-2588-1E49-375E-F953DF96AA6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1561328"/>
            <a:ext cx="5194432" cy="1826340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811;p78">
            <a:extLst>
              <a:ext uri="{FF2B5EF4-FFF2-40B4-BE49-F238E27FC236}">
                <a16:creationId xmlns:a16="http://schemas.microsoft.com/office/drawing/2014/main" id="{506A3A50-6EFA-00D9-0D5B-BF42C4679AC6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766861"/>
            <a:ext cx="5194432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813;p78">
            <a:extLst>
              <a:ext uri="{FF2B5EF4-FFF2-40B4-BE49-F238E27FC236}">
                <a16:creationId xmlns:a16="http://schemas.microsoft.com/office/drawing/2014/main" id="{0EE19BDE-850B-14B9-FFF4-D771CE0BC9B9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6" name="Google Shape;814;p78">
              <a:extLst>
                <a:ext uri="{FF2B5EF4-FFF2-40B4-BE49-F238E27FC236}">
                  <a16:creationId xmlns:a16="http://schemas.microsoft.com/office/drawing/2014/main" id="{8FD541CE-61E2-8082-233B-45A1BD48B420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7" name="Google Shape;815;p78">
              <a:extLst>
                <a:ext uri="{FF2B5EF4-FFF2-40B4-BE49-F238E27FC236}">
                  <a16:creationId xmlns:a16="http://schemas.microsoft.com/office/drawing/2014/main" id="{70519532-D88B-C976-9BD1-C18AC3DADB08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8" name="Google Shape;816;p78">
              <a:extLst>
                <a:ext uri="{FF2B5EF4-FFF2-40B4-BE49-F238E27FC236}">
                  <a16:creationId xmlns:a16="http://schemas.microsoft.com/office/drawing/2014/main" id="{F8E6306C-49E4-BFE1-D806-1EBEA17C86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826183269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818;p79">
            <a:extLst>
              <a:ext uri="{FF2B5EF4-FFF2-40B4-BE49-F238E27FC236}">
                <a16:creationId xmlns:a16="http://schemas.microsoft.com/office/drawing/2014/main" id="{34AB38DB-A7B3-AA7D-F3AF-1F86F54A72FB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3" name="Google Shape;819;p79">
              <a:extLst>
                <a:ext uri="{FF2B5EF4-FFF2-40B4-BE49-F238E27FC236}">
                  <a16:creationId xmlns:a16="http://schemas.microsoft.com/office/drawing/2014/main" id="{C2B24F83-D329-4E34-FD78-EAF4E26A0C2C}"/>
                </a:ext>
              </a:extLst>
            </p:cNvPr>
            <p:cNvSpPr/>
            <p:nvPr/>
          </p:nvSpPr>
          <p:spPr>
            <a:xfrm>
              <a:off x="0" y="5100267"/>
              <a:ext cx="7111371" cy="175773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111369"/>
                <a:gd name="f4" fmla="val 1757730"/>
                <a:gd name="f5" fmla="val 772954"/>
                <a:gd name="f6" fmla="val 2778"/>
                <a:gd name="f7" fmla="val 1769038"/>
                <a:gd name="f8" fmla="val 30799"/>
                <a:gd name="f9" fmla="val 2696750"/>
                <a:gd name="f10" fmla="val 267531"/>
                <a:gd name="f11" fmla="val 3590934"/>
                <a:gd name="f12" fmla="val 566046"/>
                <a:gd name="f13" fmla="val 4684008"/>
                <a:gd name="f14" fmla="val 930921"/>
                <a:gd name="f15" fmla="val 5690778"/>
                <a:gd name="f16" fmla="val 1324625"/>
                <a:gd name="f17" fmla="val 6700767"/>
                <a:gd name="f18" fmla="val 1636882"/>
                <a:gd name="f19" fmla="val 25690"/>
                <a:gd name="f20" fmla="val 2197"/>
                <a:gd name="f21" fmla="val 25414"/>
                <a:gd name="f22" fmla="val 114653"/>
                <a:gd name="f23" fmla="val 14905"/>
                <a:gd name="f24" fmla="val 227801"/>
                <a:gd name="f25" fmla="val 7857"/>
                <a:gd name="f26" fmla="val 341773"/>
                <a:gd name="f27" fmla="val 3976"/>
                <a:gd name="f28" fmla="val 486963"/>
                <a:gd name="f29" fmla="+- 0 0 968"/>
                <a:gd name="f30" fmla="val 630656"/>
                <a:gd name="f31" fmla="+- 0 0 1224"/>
                <a:gd name="f32" fmla="*/ f0 1 7111369"/>
                <a:gd name="f33" fmla="*/ f1 1 1757730"/>
                <a:gd name="f34" fmla="+- f4 0 f2"/>
                <a:gd name="f35" fmla="+- f3 0 f2"/>
                <a:gd name="f36" fmla="*/ f35 1 7111369"/>
                <a:gd name="f37" fmla="*/ f34 1 1757730"/>
                <a:gd name="f38" fmla="*/ f2 1 f36"/>
                <a:gd name="f39" fmla="*/ f3 1 f36"/>
                <a:gd name="f40" fmla="*/ f2 1 f37"/>
                <a:gd name="f41" fmla="*/ f4 1 f37"/>
                <a:gd name="f42" fmla="*/ f38 f32 1"/>
                <a:gd name="f43" fmla="*/ f39 f32 1"/>
                <a:gd name="f44" fmla="*/ f41 f33 1"/>
                <a:gd name="f45" fmla="*/ f40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2" t="f45" r="f43" b="f44"/>
              <a:pathLst>
                <a:path w="7111369" h="1757730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4"/>
                  </a:lnTo>
                  <a:lnTo>
                    <a:pt x="f2" y="f4"/>
                  </a:lnTo>
                  <a:lnTo>
                    <a:pt x="f2" y="f19"/>
                  </a:lnTo>
                  <a:lnTo>
                    <a:pt x="f20" y="f21"/>
                  </a:ln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5" y="f6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820;p79">
              <a:extLst>
                <a:ext uri="{FF2B5EF4-FFF2-40B4-BE49-F238E27FC236}">
                  <a16:creationId xmlns:a16="http://schemas.microsoft.com/office/drawing/2014/main" id="{2D93169D-3945-7AE1-79A9-E31AE125A8FA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5" name="Google Shape;821;p79">
              <a:extLst>
                <a:ext uri="{FF2B5EF4-FFF2-40B4-BE49-F238E27FC236}">
                  <a16:creationId xmlns:a16="http://schemas.microsoft.com/office/drawing/2014/main" id="{AE4A9A50-1DD7-41CF-47D2-105F5372FA74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822;p79">
              <a:extLst>
                <a:ext uri="{FF2B5EF4-FFF2-40B4-BE49-F238E27FC236}">
                  <a16:creationId xmlns:a16="http://schemas.microsoft.com/office/drawing/2014/main" id="{EDEF9DCB-5193-4222-30A6-CC93504C544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7" name="Google Shape;823;p79">
            <a:extLst>
              <a:ext uri="{FF2B5EF4-FFF2-40B4-BE49-F238E27FC236}">
                <a16:creationId xmlns:a16="http://schemas.microsoft.com/office/drawing/2014/main" id="{1E9EEDB5-F67A-B36B-B1E7-15C01F96FE6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701747"/>
            <a:ext cx="9365376" cy="2014679"/>
          </a:xfrm>
        </p:spPr>
        <p:txBody>
          <a:bodyPr anchor="b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824;p79">
            <a:extLst>
              <a:ext uri="{FF2B5EF4-FFF2-40B4-BE49-F238E27FC236}">
                <a16:creationId xmlns:a16="http://schemas.microsoft.com/office/drawing/2014/main" id="{F996FA3C-90F0-3637-C462-871E9EFF2193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081637"/>
            <a:ext cx="9365376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399773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826;p80">
            <a:extLst>
              <a:ext uri="{FF2B5EF4-FFF2-40B4-BE49-F238E27FC236}">
                <a16:creationId xmlns:a16="http://schemas.microsoft.com/office/drawing/2014/main" id="{3EB90E09-4C10-7125-C4C3-BC465CA6EFAB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827;p80">
            <a:extLst>
              <a:ext uri="{FF2B5EF4-FFF2-40B4-BE49-F238E27FC236}">
                <a16:creationId xmlns:a16="http://schemas.microsoft.com/office/drawing/2014/main" id="{28B5F57A-03FD-9E9C-E9C0-3925A7E9DF8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828;p80">
            <a:extLst>
              <a:ext uri="{FF2B5EF4-FFF2-40B4-BE49-F238E27FC236}">
                <a16:creationId xmlns:a16="http://schemas.microsoft.com/office/drawing/2014/main" id="{502E22FC-3966-E950-0931-40D1E775B47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829;p80">
            <a:extLst>
              <a:ext uri="{FF2B5EF4-FFF2-40B4-BE49-F238E27FC236}">
                <a16:creationId xmlns:a16="http://schemas.microsoft.com/office/drawing/2014/main" id="{64E6734C-A65C-1748-F55E-6748454DDDF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8FAD3244-4182-4D74-93C8-10C81AF8ABD6}" type="slidenum">
              <a:t>‹#›</a:t>
            </a:fld>
            <a:endParaRPr lang="en-US"/>
          </a:p>
        </p:txBody>
      </p:sp>
      <p:cxnSp>
        <p:nvCxnSpPr>
          <p:cNvPr id="6" name="Google Shape;830;p80">
            <a:extLst>
              <a:ext uri="{FF2B5EF4-FFF2-40B4-BE49-F238E27FC236}">
                <a16:creationId xmlns:a16="http://schemas.microsoft.com/office/drawing/2014/main" id="{BA32B3B4-EB62-4FB9-1D4F-DCCB2A184844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831;p80">
            <a:extLst>
              <a:ext uri="{FF2B5EF4-FFF2-40B4-BE49-F238E27FC236}">
                <a16:creationId xmlns:a16="http://schemas.microsoft.com/office/drawing/2014/main" id="{93C3F742-4401-C2C1-E30A-35C7197F126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832;p80">
            <a:extLst>
              <a:ext uri="{FF2B5EF4-FFF2-40B4-BE49-F238E27FC236}">
                <a16:creationId xmlns:a16="http://schemas.microsoft.com/office/drawing/2014/main" id="{5D5DDF92-EC59-6E6C-0CB1-86E5661DE266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833;p80">
              <a:extLst>
                <a:ext uri="{FF2B5EF4-FFF2-40B4-BE49-F238E27FC236}">
                  <a16:creationId xmlns:a16="http://schemas.microsoft.com/office/drawing/2014/main" id="{941F12BA-F75B-A0CC-9B46-9FB77D08028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834;p80">
              <a:extLst>
                <a:ext uri="{FF2B5EF4-FFF2-40B4-BE49-F238E27FC236}">
                  <a16:creationId xmlns:a16="http://schemas.microsoft.com/office/drawing/2014/main" id="{D0B8FECB-3234-7844-D763-BF5F8AE764A9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835;p80">
                <a:extLst>
                  <a:ext uri="{FF2B5EF4-FFF2-40B4-BE49-F238E27FC236}">
                    <a16:creationId xmlns:a16="http://schemas.microsoft.com/office/drawing/2014/main" id="{D7F85EE7-8987-0BDC-679C-DF986A1877EF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836;p80">
                <a:extLst>
                  <a:ext uri="{FF2B5EF4-FFF2-40B4-BE49-F238E27FC236}">
                    <a16:creationId xmlns:a16="http://schemas.microsoft.com/office/drawing/2014/main" id="{232BA199-021E-5DD9-588D-784B28430B92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837;p80" descr="Open quotation mark with solid fill">
            <a:extLst>
              <a:ext uri="{FF2B5EF4-FFF2-40B4-BE49-F238E27FC236}">
                <a16:creationId xmlns:a16="http://schemas.microsoft.com/office/drawing/2014/main" id="{85CE3B2E-BCA9-2DD9-0CA4-3AFDBA2EC0B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56198686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ation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826;p80">
            <a:extLst>
              <a:ext uri="{FF2B5EF4-FFF2-40B4-BE49-F238E27FC236}">
                <a16:creationId xmlns:a16="http://schemas.microsoft.com/office/drawing/2014/main" id="{FEEC6083-E114-39B5-3DAC-C9A3C83179B3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827;p80">
            <a:extLst>
              <a:ext uri="{FF2B5EF4-FFF2-40B4-BE49-F238E27FC236}">
                <a16:creationId xmlns:a16="http://schemas.microsoft.com/office/drawing/2014/main" id="{E9930839-FC25-ED7C-8A36-815DD7981FB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828;p80">
            <a:extLst>
              <a:ext uri="{FF2B5EF4-FFF2-40B4-BE49-F238E27FC236}">
                <a16:creationId xmlns:a16="http://schemas.microsoft.com/office/drawing/2014/main" id="{47F06A35-F13C-94AC-B355-0CC953B5117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829;p80">
            <a:extLst>
              <a:ext uri="{FF2B5EF4-FFF2-40B4-BE49-F238E27FC236}">
                <a16:creationId xmlns:a16="http://schemas.microsoft.com/office/drawing/2014/main" id="{2B1DB918-4D9C-9201-584B-2ED271E91AA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C435E3C1-9DB8-4CC1-98EA-C3A62B53EBA1}" type="slidenum">
              <a:t>‹#›</a:t>
            </a:fld>
            <a:endParaRPr lang="en-US"/>
          </a:p>
        </p:txBody>
      </p:sp>
      <p:cxnSp>
        <p:nvCxnSpPr>
          <p:cNvPr id="6" name="Google Shape;830;p80">
            <a:extLst>
              <a:ext uri="{FF2B5EF4-FFF2-40B4-BE49-F238E27FC236}">
                <a16:creationId xmlns:a16="http://schemas.microsoft.com/office/drawing/2014/main" id="{E125B53A-4F97-2624-D36E-A665FB30EFF5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831;p80">
            <a:extLst>
              <a:ext uri="{FF2B5EF4-FFF2-40B4-BE49-F238E27FC236}">
                <a16:creationId xmlns:a16="http://schemas.microsoft.com/office/drawing/2014/main" id="{19B99332-100E-F68D-C709-B16FBFA889D6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832;p80">
            <a:extLst>
              <a:ext uri="{FF2B5EF4-FFF2-40B4-BE49-F238E27FC236}">
                <a16:creationId xmlns:a16="http://schemas.microsoft.com/office/drawing/2014/main" id="{47C9459E-C0B6-A41D-762C-D8011550A5E2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833;p80">
              <a:extLst>
                <a:ext uri="{FF2B5EF4-FFF2-40B4-BE49-F238E27FC236}">
                  <a16:creationId xmlns:a16="http://schemas.microsoft.com/office/drawing/2014/main" id="{A6068834-C9A6-1484-D9AE-EADDAA191E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834;p80">
              <a:extLst>
                <a:ext uri="{FF2B5EF4-FFF2-40B4-BE49-F238E27FC236}">
                  <a16:creationId xmlns:a16="http://schemas.microsoft.com/office/drawing/2014/main" id="{0285E59B-1DFF-2FA2-5F18-23784514FBDC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835;p80">
                <a:extLst>
                  <a:ext uri="{FF2B5EF4-FFF2-40B4-BE49-F238E27FC236}">
                    <a16:creationId xmlns:a16="http://schemas.microsoft.com/office/drawing/2014/main" id="{4AC6662D-770B-B59B-BD20-FD8327F9D555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836;p80">
                <a:extLst>
                  <a:ext uri="{FF2B5EF4-FFF2-40B4-BE49-F238E27FC236}">
                    <a16:creationId xmlns:a16="http://schemas.microsoft.com/office/drawing/2014/main" id="{02058F74-FB63-03F6-16AE-18FD259F5FB7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837;p80" descr="Open quotation mark with solid fill">
            <a:extLst>
              <a:ext uri="{FF2B5EF4-FFF2-40B4-BE49-F238E27FC236}">
                <a16:creationId xmlns:a16="http://schemas.microsoft.com/office/drawing/2014/main" id="{2F073430-3ABF-9581-AB7C-AA2E117309B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4028791273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839;p81">
            <a:extLst>
              <a:ext uri="{FF2B5EF4-FFF2-40B4-BE49-F238E27FC236}">
                <a16:creationId xmlns:a16="http://schemas.microsoft.com/office/drawing/2014/main" id="{944C9BE2-5119-1003-422E-0B6742CDFD9B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840;p81">
              <a:extLst>
                <a:ext uri="{FF2B5EF4-FFF2-40B4-BE49-F238E27FC236}">
                  <a16:creationId xmlns:a16="http://schemas.microsoft.com/office/drawing/2014/main" id="{D4EBF4E7-8BC6-9FC1-DD46-7A367B1C848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841;p81">
              <a:extLst>
                <a:ext uri="{FF2B5EF4-FFF2-40B4-BE49-F238E27FC236}">
                  <a16:creationId xmlns:a16="http://schemas.microsoft.com/office/drawing/2014/main" id="{6E395988-2D3F-75C0-5CF3-5817A561AF1A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842;p81">
                <a:extLst>
                  <a:ext uri="{FF2B5EF4-FFF2-40B4-BE49-F238E27FC236}">
                    <a16:creationId xmlns:a16="http://schemas.microsoft.com/office/drawing/2014/main" id="{FB18428C-ACB6-80C2-422F-CD6665708C92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843;p81">
                <a:extLst>
                  <a:ext uri="{FF2B5EF4-FFF2-40B4-BE49-F238E27FC236}">
                    <a16:creationId xmlns:a16="http://schemas.microsoft.com/office/drawing/2014/main" id="{F0425351-5B9A-BB7A-FC53-E48C36676662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844;p81">
            <a:extLst>
              <a:ext uri="{FF2B5EF4-FFF2-40B4-BE49-F238E27FC236}">
                <a16:creationId xmlns:a16="http://schemas.microsoft.com/office/drawing/2014/main" id="{04D362BC-DDAA-087C-3929-CEDBEB9B8494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845;p81">
            <a:extLst>
              <a:ext uri="{FF2B5EF4-FFF2-40B4-BE49-F238E27FC236}">
                <a16:creationId xmlns:a16="http://schemas.microsoft.com/office/drawing/2014/main" id="{A5632B05-57F6-4682-B6C3-EC228828C8C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/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9" name="Google Shape;846;p81">
            <a:extLst>
              <a:ext uri="{FF2B5EF4-FFF2-40B4-BE49-F238E27FC236}">
                <a16:creationId xmlns:a16="http://schemas.microsoft.com/office/drawing/2014/main" id="{4091BDFD-A286-C6D5-41BF-60D2916D16E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FBAAD744-164F-4977-866D-CBB2D2AD3F27}" type="slidenum">
              <a:t>‹#›</a:t>
            </a:fld>
            <a:endParaRPr lang="en-US"/>
          </a:p>
        </p:txBody>
      </p:sp>
      <p:cxnSp>
        <p:nvCxnSpPr>
          <p:cNvPr id="10" name="Google Shape;847;p81">
            <a:extLst>
              <a:ext uri="{FF2B5EF4-FFF2-40B4-BE49-F238E27FC236}">
                <a16:creationId xmlns:a16="http://schemas.microsoft.com/office/drawing/2014/main" id="{9502C0AD-E11C-2F53-4719-770F27FC9030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1" name="Google Shape;848;p81">
            <a:extLst>
              <a:ext uri="{FF2B5EF4-FFF2-40B4-BE49-F238E27FC236}">
                <a16:creationId xmlns:a16="http://schemas.microsoft.com/office/drawing/2014/main" id="{1C544841-2B39-1BB9-82F9-01942C62E4F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883913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850;p82">
            <a:extLst>
              <a:ext uri="{FF2B5EF4-FFF2-40B4-BE49-F238E27FC236}">
                <a16:creationId xmlns:a16="http://schemas.microsoft.com/office/drawing/2014/main" id="{7BB5190D-AE69-3992-D8E4-86EB6964B1F3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3" name="Google Shape;851;p82">
            <a:extLst>
              <a:ext uri="{FF2B5EF4-FFF2-40B4-BE49-F238E27FC236}">
                <a16:creationId xmlns:a16="http://schemas.microsoft.com/office/drawing/2014/main" id="{2A22AE09-A1C5-3BFE-3882-3547E2F1370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grpSp>
        <p:nvGrpSpPr>
          <p:cNvPr id="4" name="Google Shape;852;p82">
            <a:extLst>
              <a:ext uri="{FF2B5EF4-FFF2-40B4-BE49-F238E27FC236}">
                <a16:creationId xmlns:a16="http://schemas.microsoft.com/office/drawing/2014/main" id="{5BC29A43-8A07-FADF-8777-270EB249A8B0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5" name="Google Shape;853;p82">
              <a:extLst>
                <a:ext uri="{FF2B5EF4-FFF2-40B4-BE49-F238E27FC236}">
                  <a16:creationId xmlns:a16="http://schemas.microsoft.com/office/drawing/2014/main" id="{7528A06B-DC09-F563-BB4F-A1F4B1A9039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6" name="Google Shape;854;p82">
              <a:extLst>
                <a:ext uri="{FF2B5EF4-FFF2-40B4-BE49-F238E27FC236}">
                  <a16:creationId xmlns:a16="http://schemas.microsoft.com/office/drawing/2014/main" id="{D3D4877E-B119-73EB-1BFC-C37027BC480E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7" name="Google Shape;855;p82">
                <a:extLst>
                  <a:ext uri="{FF2B5EF4-FFF2-40B4-BE49-F238E27FC236}">
                    <a16:creationId xmlns:a16="http://schemas.microsoft.com/office/drawing/2014/main" id="{D1A1313B-F675-8106-4E01-44A9AE0D0D35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8" name="Google Shape;856;p82">
                <a:extLst>
                  <a:ext uri="{FF2B5EF4-FFF2-40B4-BE49-F238E27FC236}">
                    <a16:creationId xmlns:a16="http://schemas.microsoft.com/office/drawing/2014/main" id="{4FF3DDE6-E695-49B5-4606-C16A8441F4B5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9" name="Google Shape;857;p82">
            <a:extLst>
              <a:ext uri="{FF2B5EF4-FFF2-40B4-BE49-F238E27FC236}">
                <a16:creationId xmlns:a16="http://schemas.microsoft.com/office/drawing/2014/main" id="{4D76F6DC-3E41-1F93-899F-C201C94B26D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Google Shape;858;p82">
            <a:extLst>
              <a:ext uri="{FF2B5EF4-FFF2-40B4-BE49-F238E27FC236}">
                <a16:creationId xmlns:a16="http://schemas.microsoft.com/office/drawing/2014/main" id="{7C17FCEB-98C3-9E69-1267-37292C2F331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8839193" y="6356351"/>
            <a:ext cx="2743200" cy="365129"/>
          </a:xfrm>
        </p:spPr>
        <p:txBody>
          <a:bodyPr/>
          <a:lstStyle>
            <a:lvl1pPr>
              <a:defRPr/>
            </a:lvl1pPr>
          </a:lstStyle>
          <a:p>
            <a:pPr lvl="0"/>
            <a:fld id="{3E518275-67E9-4D08-966C-CCEE22CC375E}" type="slidenum">
              <a:t>‹#›</a:t>
            </a:fld>
            <a:endParaRPr lang="en-US"/>
          </a:p>
        </p:txBody>
      </p:sp>
      <p:cxnSp>
        <p:nvCxnSpPr>
          <p:cNvPr id="11" name="Google Shape;859;p82">
            <a:extLst>
              <a:ext uri="{FF2B5EF4-FFF2-40B4-BE49-F238E27FC236}">
                <a16:creationId xmlns:a16="http://schemas.microsoft.com/office/drawing/2014/main" id="{6753D82C-B49D-1D0B-5547-FF33D792CDD6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2" name="Google Shape;860;p82">
            <a:extLst>
              <a:ext uri="{FF2B5EF4-FFF2-40B4-BE49-F238E27FC236}">
                <a16:creationId xmlns:a16="http://schemas.microsoft.com/office/drawing/2014/main" id="{D50B5453-BE71-FC55-B741-F0334EA649F5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248663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862;p83">
            <a:extLst>
              <a:ext uri="{FF2B5EF4-FFF2-40B4-BE49-F238E27FC236}">
                <a16:creationId xmlns:a16="http://schemas.microsoft.com/office/drawing/2014/main" id="{E69A113E-D0EC-533F-87B3-F818A5CB09B9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863;p83">
              <a:extLst>
                <a:ext uri="{FF2B5EF4-FFF2-40B4-BE49-F238E27FC236}">
                  <a16:creationId xmlns:a16="http://schemas.microsoft.com/office/drawing/2014/main" id="{1C7CFD9E-B715-5243-B559-133F70EEC95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864;p83">
              <a:extLst>
                <a:ext uri="{FF2B5EF4-FFF2-40B4-BE49-F238E27FC236}">
                  <a16:creationId xmlns:a16="http://schemas.microsoft.com/office/drawing/2014/main" id="{D7C745F2-6581-22BA-EF41-9C4D74F1B4C5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865;p83">
                <a:extLst>
                  <a:ext uri="{FF2B5EF4-FFF2-40B4-BE49-F238E27FC236}">
                    <a16:creationId xmlns:a16="http://schemas.microsoft.com/office/drawing/2014/main" id="{BAD0EB30-D13B-5625-D95B-75AF445CA918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866;p83">
                <a:extLst>
                  <a:ext uri="{FF2B5EF4-FFF2-40B4-BE49-F238E27FC236}">
                    <a16:creationId xmlns:a16="http://schemas.microsoft.com/office/drawing/2014/main" id="{D2547BBE-36AF-5840-070C-E9EFF406D33B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867;p83">
            <a:extLst>
              <a:ext uri="{FF2B5EF4-FFF2-40B4-BE49-F238E27FC236}">
                <a16:creationId xmlns:a16="http://schemas.microsoft.com/office/drawing/2014/main" id="{36FF13C3-7752-F3BE-1F30-A02A3008D418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868;p83">
            <a:extLst>
              <a:ext uri="{FF2B5EF4-FFF2-40B4-BE49-F238E27FC236}">
                <a16:creationId xmlns:a16="http://schemas.microsoft.com/office/drawing/2014/main" id="{AA015755-6E24-992D-E9B2-328382E7B8B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681160"/>
            <a:ext cx="538797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9" name="Google Shape;869;p83">
            <a:extLst>
              <a:ext uri="{FF2B5EF4-FFF2-40B4-BE49-F238E27FC236}">
                <a16:creationId xmlns:a16="http://schemas.microsoft.com/office/drawing/2014/main" id="{986D58BB-E043-8F8E-E9DF-9F13F052AA4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2505071"/>
            <a:ext cx="5387973" cy="3684583"/>
          </a:xfrm>
          <a:solidFill>
            <a:srgbClr val="F3F6FB"/>
          </a:solidFill>
        </p:spPr>
        <p:txBody>
          <a:bodyPr lIns="182870" tIns="0" rIns="182870" bIns="0">
            <a:normAutofit/>
          </a:bodyPr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0" name="Google Shape;870;p83">
            <a:extLst>
              <a:ext uri="{FF2B5EF4-FFF2-40B4-BE49-F238E27FC236}">
                <a16:creationId xmlns:a16="http://schemas.microsoft.com/office/drawing/2014/main" id="{355CD470-FC77-0558-BE42-4C98955A3AF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681160"/>
            <a:ext cx="541020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11" name="Google Shape;871;p83">
            <a:extLst>
              <a:ext uri="{FF2B5EF4-FFF2-40B4-BE49-F238E27FC236}">
                <a16:creationId xmlns:a16="http://schemas.microsoft.com/office/drawing/2014/main" id="{48589842-C29E-D743-75A6-88BB48927AF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2505071"/>
            <a:ext cx="5410203" cy="3684583"/>
          </a:xfrm>
          <a:solidFill>
            <a:srgbClr val="F3F6FB"/>
          </a:solidFill>
        </p:spPr>
        <p:txBody>
          <a:bodyPr lIns="182870" tIns="0" rIns="182870" bIns="0"/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2" name="Google Shape;872;p83">
            <a:extLst>
              <a:ext uri="{FF2B5EF4-FFF2-40B4-BE49-F238E27FC236}">
                <a16:creationId xmlns:a16="http://schemas.microsoft.com/office/drawing/2014/main" id="{AB4642E8-F13B-3F9F-9C29-3037487A749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33B6E33B-81BB-4A2B-A698-D33B98A47F71}" type="slidenum">
              <a:t>‹#›</a:t>
            </a:fld>
            <a:endParaRPr lang="en-US"/>
          </a:p>
        </p:txBody>
      </p:sp>
      <p:cxnSp>
        <p:nvCxnSpPr>
          <p:cNvPr id="13" name="Google Shape;873;p83">
            <a:extLst>
              <a:ext uri="{FF2B5EF4-FFF2-40B4-BE49-F238E27FC236}">
                <a16:creationId xmlns:a16="http://schemas.microsoft.com/office/drawing/2014/main" id="{2C7CE293-1E56-1BA3-2CF4-F76322178332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4" name="Google Shape;874;p83">
            <a:extLst>
              <a:ext uri="{FF2B5EF4-FFF2-40B4-BE49-F238E27FC236}">
                <a16:creationId xmlns:a16="http://schemas.microsoft.com/office/drawing/2014/main" id="{C46EBDA4-3DEA-428E-3A1B-4D794328FCA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962222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876;p84">
            <a:extLst>
              <a:ext uri="{FF2B5EF4-FFF2-40B4-BE49-F238E27FC236}">
                <a16:creationId xmlns:a16="http://schemas.microsoft.com/office/drawing/2014/main" id="{52B2DC27-13FD-9EC6-7DC9-24E08F2B290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57200" y="1146255"/>
            <a:ext cx="2350172" cy="2971800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cxnSp>
        <p:nvCxnSpPr>
          <p:cNvPr id="3" name="Google Shape;877;p84">
            <a:extLst>
              <a:ext uri="{FF2B5EF4-FFF2-40B4-BE49-F238E27FC236}">
                <a16:creationId xmlns:a16="http://schemas.microsoft.com/office/drawing/2014/main" id="{9B9930AF-C04C-6CED-25FF-AC296B8D9801}"/>
              </a:ext>
            </a:extLst>
          </p:cNvPr>
          <p:cNvCxnSpPr/>
          <p:nvPr/>
        </p:nvCxnSpPr>
        <p:spPr>
          <a:xfrm>
            <a:off x="457200" y="947985"/>
            <a:ext cx="2350163" cy="0"/>
          </a:xfrm>
          <a:prstGeom prst="straightConnector1">
            <a:avLst/>
          </a:prstGeom>
          <a:noFill/>
          <a:ln w="31747" cap="flat">
            <a:solidFill>
              <a:srgbClr val="F58366"/>
            </a:solidFill>
            <a:prstDash val="solid"/>
            <a:miter/>
          </a:ln>
        </p:spPr>
      </p:cxnSp>
      <p:grpSp>
        <p:nvGrpSpPr>
          <p:cNvPr id="4" name="Google Shape;878;p84">
            <a:extLst>
              <a:ext uri="{FF2B5EF4-FFF2-40B4-BE49-F238E27FC236}">
                <a16:creationId xmlns:a16="http://schemas.microsoft.com/office/drawing/2014/main" id="{0E74E7A9-0F90-2DB9-AFA8-B8524D992764}"/>
              </a:ext>
            </a:extLst>
          </p:cNvPr>
          <p:cNvGrpSpPr/>
          <p:nvPr/>
        </p:nvGrpSpPr>
        <p:grpSpPr>
          <a:xfrm>
            <a:off x="0" y="5379424"/>
            <a:ext cx="2807363" cy="753895"/>
            <a:chOff x="0" y="5379424"/>
            <a:chExt cx="2807363" cy="753895"/>
          </a:xfrm>
        </p:grpSpPr>
        <p:sp>
          <p:nvSpPr>
            <p:cNvPr id="5" name="Google Shape;879;p84">
              <a:extLst>
                <a:ext uri="{FF2B5EF4-FFF2-40B4-BE49-F238E27FC236}">
                  <a16:creationId xmlns:a16="http://schemas.microsoft.com/office/drawing/2014/main" id="{E0408432-B9C8-3769-DF63-A0A489D52D00}"/>
                </a:ext>
              </a:extLst>
            </p:cNvPr>
            <p:cNvSpPr/>
            <p:nvPr/>
          </p:nvSpPr>
          <p:spPr>
            <a:xfrm>
              <a:off x="0" y="5532513"/>
              <a:ext cx="2807363" cy="60080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00807"/>
                <a:gd name="f5" fmla="val 429971"/>
                <a:gd name="f6" fmla="val 123998"/>
                <a:gd name="f7" fmla="val 1184765"/>
                <a:gd name="f8" fmla="val 325331"/>
                <a:gd name="f9" fmla="val 2014184"/>
                <a:gd name="f10" fmla="val 392492"/>
                <a:gd name="f11" fmla="val 2790212"/>
                <a:gd name="f12" fmla="val 235402"/>
                <a:gd name="f13" fmla="val 231522"/>
                <a:gd name="f14" fmla="val 566106"/>
                <a:gd name="f15" fmla="val 2593885"/>
                <a:gd name="f16" fmla="val 587498"/>
                <a:gd name="f17" fmla="val 1673646"/>
                <a:gd name="f18" fmla="val 651184"/>
                <a:gd name="f19" fmla="val 884869"/>
                <a:gd name="f20" fmla="val 479260"/>
                <a:gd name="f21" fmla="val 100844"/>
                <a:gd name="f22" fmla="val 222653"/>
                <a:gd name="f23" fmla="val 188389"/>
                <a:gd name="f24" fmla="*/ f0 1 2807368"/>
                <a:gd name="f25" fmla="*/ f1 1 600807"/>
                <a:gd name="f26" fmla="+- f4 0 f2"/>
                <a:gd name="f27" fmla="+- f3 0 f2"/>
                <a:gd name="f28" fmla="*/ f27 1 2807368"/>
                <a:gd name="f29" fmla="*/ f26 1 600807"/>
                <a:gd name="f30" fmla="*/ f2 1 f28"/>
                <a:gd name="f31" fmla="*/ f3 1 f28"/>
                <a:gd name="f32" fmla="*/ f2 1 f29"/>
                <a:gd name="f33" fmla="*/ f4 1 f29"/>
                <a:gd name="f34" fmla="*/ f30 f24 1"/>
                <a:gd name="f35" fmla="*/ f31 f24 1"/>
                <a:gd name="f36" fmla="*/ f33 f25 1"/>
                <a:gd name="f37" fmla="*/ f32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37" r="f35" b="f36"/>
              <a:pathLst>
                <a:path w="2807368" h="600807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lnTo>
                    <a:pt x="f3" y="f13"/>
                  </a:lnTo>
                  <a:lnTo>
                    <a:pt x="f3" y="f14"/>
                  </a:lnTo>
                  <a:lnTo>
                    <a:pt x="f15" y="f16"/>
                  </a:lnTo>
                  <a:cubicBezTo>
                    <a:pt x="f17" y="f18"/>
                    <a:pt x="f19" y="f20"/>
                    <a:pt x="f21" y="f22"/>
                  </a:cubicBezTo>
                  <a:lnTo>
                    <a:pt x="f2" y="f23"/>
                  </a:ln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6" name="Google Shape;880;p84">
              <a:extLst>
                <a:ext uri="{FF2B5EF4-FFF2-40B4-BE49-F238E27FC236}">
                  <a16:creationId xmlns:a16="http://schemas.microsoft.com/office/drawing/2014/main" id="{2011EEC3-CDA0-A1EA-C1E1-51A87A7F904A}"/>
                </a:ext>
              </a:extLst>
            </p:cNvPr>
            <p:cNvSpPr/>
            <p:nvPr/>
          </p:nvSpPr>
          <p:spPr>
            <a:xfrm>
              <a:off x="0" y="5379424"/>
              <a:ext cx="2807363" cy="64980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49803"/>
                <a:gd name="f5" fmla="val 282676"/>
                <a:gd name="f6" fmla="val 70799"/>
                <a:gd name="f7" fmla="val 435964"/>
                <a:gd name="f8" fmla="val 106085"/>
                <a:gd name="f9" fmla="val 588770"/>
                <a:gd name="f10" fmla="val 137629"/>
                <a:gd name="f11" fmla="val 740881"/>
                <a:gd name="f12" fmla="val 163828"/>
                <a:gd name="f13" fmla="val 1362800"/>
                <a:gd name="f14" fmla="val 270912"/>
                <a:gd name="f15" fmla="val 2067879"/>
                <a:gd name="f16" fmla="val 253759"/>
                <a:gd name="f17" fmla="val 2706471"/>
                <a:gd name="f18" fmla="val 96397"/>
                <a:gd name="f19" fmla="val 67250"/>
                <a:gd name="f20" fmla="val 605551"/>
                <a:gd name="f21" fmla="val 2602685"/>
                <a:gd name="f22" fmla="val 629466"/>
                <a:gd name="f23" fmla="val 1684237"/>
                <a:gd name="f24" fmla="val 708219"/>
                <a:gd name="f25" fmla="val 893252"/>
                <a:gd name="f26" fmla="val 549395"/>
                <a:gd name="f27" fmla="val 105614"/>
                <a:gd name="f28" fmla="val 305882"/>
                <a:gd name="f29" fmla="val 271926"/>
                <a:gd name="f30" fmla="*/ f0 1 2807368"/>
                <a:gd name="f31" fmla="*/ f1 1 649803"/>
                <a:gd name="f32" fmla="+- f4 0 f2"/>
                <a:gd name="f33" fmla="+- f3 0 f2"/>
                <a:gd name="f34" fmla="*/ f33 1 2807368"/>
                <a:gd name="f35" fmla="*/ f32 1 649803"/>
                <a:gd name="f36" fmla="*/ f2 1 f34"/>
                <a:gd name="f37" fmla="*/ f3 1 f34"/>
                <a:gd name="f38" fmla="*/ f2 1 f35"/>
                <a:gd name="f39" fmla="*/ f4 1 f35"/>
                <a:gd name="f40" fmla="*/ f36 f30 1"/>
                <a:gd name="f41" fmla="*/ f37 f30 1"/>
                <a:gd name="f42" fmla="*/ f39 f31 1"/>
                <a:gd name="f43" fmla="*/ f3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2807368" h="649803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19"/>
                  </a:lnTo>
                  <a:lnTo>
                    <a:pt x="f3" y="f20"/>
                  </a:lnTo>
                  <a:lnTo>
                    <a:pt x="f21" y="f22"/>
                  </a:lnTo>
                  <a:cubicBezTo>
                    <a:pt x="f23" y="f24"/>
                    <a:pt x="f25" y="f26"/>
                    <a:pt x="f27" y="f28"/>
                  </a:cubicBezTo>
                  <a:lnTo>
                    <a:pt x="f2" y="f29"/>
                  </a:ln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pic>
        <p:nvPicPr>
          <p:cNvPr id="7" name="Google Shape;882;p84">
            <a:extLst>
              <a:ext uri="{FF2B5EF4-FFF2-40B4-BE49-F238E27FC236}">
                <a16:creationId xmlns:a16="http://schemas.microsoft.com/office/drawing/2014/main" id="{ED7B7664-FEE3-79AF-E5AA-1FCAC771B42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513344" y="4385535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227769954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884;p85">
            <a:extLst>
              <a:ext uri="{FF2B5EF4-FFF2-40B4-BE49-F238E27FC236}">
                <a16:creationId xmlns:a16="http://schemas.microsoft.com/office/drawing/2014/main" id="{90874CE2-AC96-4909-2C43-21AE2CDD3FBD}"/>
              </a:ext>
            </a:extLst>
          </p:cNvPr>
          <p:cNvGrpSpPr/>
          <p:nvPr/>
        </p:nvGrpSpPr>
        <p:grpSpPr>
          <a:xfrm>
            <a:off x="0" y="0"/>
            <a:ext cx="12191996" cy="2148830"/>
            <a:chOff x="0" y="0"/>
            <a:chExt cx="12191996" cy="2148830"/>
          </a:xfrm>
        </p:grpSpPr>
        <p:sp>
          <p:nvSpPr>
            <p:cNvPr id="3" name="Google Shape;885;p85">
              <a:extLst>
                <a:ext uri="{FF2B5EF4-FFF2-40B4-BE49-F238E27FC236}">
                  <a16:creationId xmlns:a16="http://schemas.microsoft.com/office/drawing/2014/main" id="{512056C8-0334-8981-A534-CD7C363BEFBD}"/>
                </a:ext>
              </a:extLst>
            </p:cNvPr>
            <p:cNvSpPr/>
            <p:nvPr/>
          </p:nvSpPr>
          <p:spPr>
            <a:xfrm flipH="1">
              <a:off x="0" y="0"/>
              <a:ext cx="12191996" cy="214883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2148830"/>
                <a:gd name="f5" fmla="val 2318293"/>
                <a:gd name="f6" fmla="val 2110341"/>
                <a:gd name="f7" fmla="val 1952334"/>
                <a:gd name="f8" fmla="val 920"/>
                <a:gd name="f9" fmla="val 1343499"/>
                <a:gd name="f10" fmla="val 23864"/>
                <a:gd name="f11" fmla="val 752130"/>
                <a:gd name="f12" fmla="val 152982"/>
                <a:gd name="f13" fmla="val 184205"/>
                <a:gd name="f14" fmla="val 435928"/>
                <a:gd name="f15" fmla="val 536864"/>
                <a:gd name="f16" fmla="val 554713"/>
                <a:gd name="f17" fmla="val 201115"/>
                <a:gd name="f18" fmla="val 452796"/>
                <a:gd name="f19" fmla="val 776357"/>
                <a:gd name="f20" fmla="val 187336"/>
                <a:gd name="f21" fmla="val 1349828"/>
                <a:gd name="f22" fmla="val 76760"/>
                <a:gd name="f23" fmla="val 1947588"/>
                <a:gd name="f24" fmla="val 66249"/>
                <a:gd name="f25" fmla="val 2962940"/>
                <a:gd name="f26" fmla="val 48421"/>
                <a:gd name="f27" fmla="val 3890218"/>
                <a:gd name="f28" fmla="val 291317"/>
                <a:gd name="f29" fmla="val 4778140"/>
                <a:gd name="f30" fmla="val 604018"/>
                <a:gd name="f31" fmla="val 7231510"/>
                <a:gd name="f32" fmla="val 1468126"/>
                <a:gd name="f33" fmla="val 9178927"/>
                <a:gd name="f34" fmla="val 2492024"/>
                <a:gd name="f35" fmla="val 11996242"/>
                <a:gd name="f36" fmla="val 2036894"/>
                <a:gd name="f37" fmla="val 2002266"/>
                <a:gd name="f38" fmla="val 1415250"/>
                <a:gd name="f39" fmla="val 12022971"/>
                <a:gd name="f40" fmla="val 1470801"/>
                <a:gd name="f41" fmla="val 10719696"/>
                <a:gd name="f42" fmla="val 1863939"/>
                <a:gd name="f43" fmla="val 9271154"/>
                <a:gd name="f44" fmla="val 1783804"/>
                <a:gd name="f45" fmla="val 7970940"/>
                <a:gd name="f46" fmla="val 1436986"/>
                <a:gd name="f47" fmla="val 6890984"/>
                <a:gd name="f48" fmla="val 1148958"/>
                <a:gd name="f49" fmla="val 5866930"/>
                <a:gd name="f50" fmla="val 767309"/>
                <a:gd name="f51" fmla="val 4800356"/>
                <a:gd name="f52" fmla="val 456582"/>
                <a:gd name="f53" fmla="val 4068903"/>
                <a:gd name="f54" fmla="val 243471"/>
                <a:gd name="f55" fmla="val 3348204"/>
                <a:gd name="f56" fmla="val 74251"/>
                <a:gd name="f57" fmla="val 2646880"/>
                <a:gd name="f58" fmla="val 17560"/>
                <a:gd name="f59" fmla="*/ f0 1 12192000"/>
                <a:gd name="f60" fmla="*/ f1 1 2148830"/>
                <a:gd name="f61" fmla="+- f4 0 f2"/>
                <a:gd name="f62" fmla="+- f3 0 f2"/>
                <a:gd name="f63" fmla="*/ f62 1 12192000"/>
                <a:gd name="f64" fmla="*/ f61 1 2148830"/>
                <a:gd name="f65" fmla="*/ f2 1 f63"/>
                <a:gd name="f66" fmla="*/ f3 1 f63"/>
                <a:gd name="f67" fmla="*/ f2 1 f64"/>
                <a:gd name="f68" fmla="*/ f4 1 f64"/>
                <a:gd name="f69" fmla="*/ f65 f59 1"/>
                <a:gd name="f70" fmla="*/ f66 f59 1"/>
                <a:gd name="f71" fmla="*/ f68 f60 1"/>
                <a:gd name="f72" fmla="*/ f67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9" t="f72" r="f70" b="f71"/>
              <a:pathLst>
                <a:path w="12192000" h="2148830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886;p85">
              <a:extLst>
                <a:ext uri="{FF2B5EF4-FFF2-40B4-BE49-F238E27FC236}">
                  <a16:creationId xmlns:a16="http://schemas.microsoft.com/office/drawing/2014/main" id="{74467494-0C4F-F7E3-6BE4-5B8F3C8AA5C6}"/>
                </a:ext>
              </a:extLst>
            </p:cNvPr>
            <p:cNvSpPr/>
            <p:nvPr/>
          </p:nvSpPr>
          <p:spPr>
            <a:xfrm flipH="1">
              <a:off x="0" y="0"/>
              <a:ext cx="12191996" cy="19921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992138"/>
                <a:gd name="f5" fmla="val 2724271"/>
                <a:gd name="f6" fmla="val 1788442"/>
                <a:gd name="f7" fmla="val 1635403"/>
                <a:gd name="f8" fmla="val 12925"/>
                <a:gd name="f9" fmla="val 1134241"/>
                <a:gd name="f10" fmla="val 70905"/>
                <a:gd name="f11" fmla="val 647221"/>
                <a:gd name="f12" fmla="val 207817"/>
                <a:gd name="f13" fmla="val 178220"/>
                <a:gd name="f14" fmla="val 451207"/>
                <a:gd name="f15" fmla="val 552718"/>
                <a:gd name="f16" fmla="val 570885"/>
                <a:gd name="f17" fmla="val 195368"/>
                <a:gd name="f18" fmla="val 467800"/>
                <a:gd name="f19" fmla="val 765758"/>
                <a:gd name="f20" fmla="val 193094"/>
                <a:gd name="f21" fmla="val 1336955"/>
                <a:gd name="f22" fmla="val 73179"/>
                <a:gd name="f23" fmla="val 1934073"/>
                <a:gd name="f24" fmla="val 52850"/>
                <a:gd name="f25" fmla="val 2948304"/>
                <a:gd name="f26" fmla="val 18310"/>
                <a:gd name="f27" fmla="val 3878878"/>
                <a:gd name="f28" fmla="val 245747"/>
                <a:gd name="f29" fmla="val 4771217"/>
                <a:gd name="f30" fmla="val 543645"/>
                <a:gd name="f31" fmla="val 7236913"/>
                <a:gd name="f32" fmla="val 1366709"/>
                <a:gd name="f33" fmla="val 9199689"/>
                <a:gd name="f34" fmla="val 2357774"/>
                <a:gd name="f35" fmla="val 12007222"/>
                <a:gd name="f36" fmla="val 1856729"/>
                <a:gd name="f37" fmla="val 1820900"/>
                <a:gd name="f38" fmla="val 897073"/>
                <a:gd name="f39" fmla="val 12062517"/>
                <a:gd name="f40" fmla="val 950128"/>
                <a:gd name="f41" fmla="val 10950292"/>
                <a:gd name="f42" fmla="val 1376478"/>
                <a:gd name="f43" fmla="val 9595706"/>
                <a:gd name="f44" fmla="val 1466451"/>
                <a:gd name="f45" fmla="val 8435105"/>
                <a:gd name="f46" fmla="val 1266613"/>
                <a:gd name="f47" fmla="val 6618389"/>
                <a:gd name="f48" fmla="val 953715"/>
                <a:gd name="f49" fmla="val 4735222"/>
                <a:gd name="f50" fmla="val 130088"/>
                <a:gd name="f51" fmla="val 2948502"/>
                <a:gd name="f52" fmla="val 20548"/>
                <a:gd name="f53" fmla="*/ f0 1 12192000"/>
                <a:gd name="f54" fmla="*/ f1 1 1992138"/>
                <a:gd name="f55" fmla="+- f4 0 f2"/>
                <a:gd name="f56" fmla="+- f3 0 f2"/>
                <a:gd name="f57" fmla="*/ f56 1 12192000"/>
                <a:gd name="f58" fmla="*/ f55 1 1992138"/>
                <a:gd name="f59" fmla="*/ f2 1 f57"/>
                <a:gd name="f60" fmla="*/ f3 1 f57"/>
                <a:gd name="f61" fmla="*/ f2 1 f58"/>
                <a:gd name="f62" fmla="*/ f4 1 f58"/>
                <a:gd name="f63" fmla="*/ f59 f53 1"/>
                <a:gd name="f64" fmla="*/ f60 f53 1"/>
                <a:gd name="f65" fmla="*/ f62 f54 1"/>
                <a:gd name="f66" fmla="*/ f61 f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3" t="f66" r="f64" b="f65"/>
              <a:pathLst>
                <a:path w="12192000" h="1992138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lose/>
                </a:path>
              </a:pathLst>
            </a:custGeom>
            <a:solidFill>
              <a:srgbClr val="00498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sp>
        <p:nvSpPr>
          <p:cNvPr id="5" name="Google Shape;887;p85">
            <a:extLst>
              <a:ext uri="{FF2B5EF4-FFF2-40B4-BE49-F238E27FC236}">
                <a16:creationId xmlns:a16="http://schemas.microsoft.com/office/drawing/2014/main" id="{C751660E-E7A8-8855-B4DA-FF434655B85D}"/>
              </a:ext>
            </a:extLst>
          </p:cNvPr>
          <p:cNvSpPr/>
          <p:nvPr/>
        </p:nvSpPr>
        <p:spPr>
          <a:xfrm>
            <a:off x="902366" y="1517693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6" name="Google Shape;888;p85">
            <a:extLst>
              <a:ext uri="{FF2B5EF4-FFF2-40B4-BE49-F238E27FC236}">
                <a16:creationId xmlns:a16="http://schemas.microsoft.com/office/drawing/2014/main" id="{A1A8B7AC-6C84-8A59-CCE4-D5888A046D1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219196" y="3429000"/>
            <a:ext cx="5582649" cy="1413561"/>
          </a:xfrm>
        </p:spPr>
        <p:txBody>
          <a:bodyPr/>
          <a:lstStyle>
            <a:lvl1pPr indent="-228600">
              <a:buNone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7" name="Google Shape;889;p85">
            <a:extLst>
              <a:ext uri="{FF2B5EF4-FFF2-40B4-BE49-F238E27FC236}">
                <a16:creationId xmlns:a16="http://schemas.microsoft.com/office/drawing/2014/main" id="{9EDFAEEF-AA8F-BAC2-4AE9-EAB51F4AC74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19196" y="1887486"/>
            <a:ext cx="5582649" cy="1078260"/>
          </a:xfrm>
        </p:spPr>
        <p:txBody>
          <a:bodyPr/>
          <a:lstStyle>
            <a:lvl1pPr>
              <a:defRPr sz="6000"/>
            </a:lvl1pPr>
          </a:lstStyle>
          <a:p>
            <a:pPr lvl="0"/>
            <a:endParaRPr lang="en-US"/>
          </a:p>
        </p:txBody>
      </p:sp>
      <p:pic>
        <p:nvPicPr>
          <p:cNvPr id="8" name="Google Shape;890;p85">
            <a:extLst>
              <a:ext uri="{FF2B5EF4-FFF2-40B4-BE49-F238E27FC236}">
                <a16:creationId xmlns:a16="http://schemas.microsoft.com/office/drawing/2014/main" id="{5A392DD7-10C9-40EF-5285-FB97F272256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902366" y="228371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921589597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893;p86">
            <a:extLst>
              <a:ext uri="{FF2B5EF4-FFF2-40B4-BE49-F238E27FC236}">
                <a16:creationId xmlns:a16="http://schemas.microsoft.com/office/drawing/2014/main" id="{CAC445F8-6D94-2006-27D5-879F48D5402C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55783720-E6F0-41A5-862A-A56DAF901137}" type="slidenum">
              <a:t>‹#›</a:t>
            </a:fld>
            <a:endParaRPr lang="en-US"/>
          </a:p>
        </p:txBody>
      </p:sp>
      <p:cxnSp>
        <p:nvCxnSpPr>
          <p:cNvPr id="3" name="Google Shape;894;p86">
            <a:extLst>
              <a:ext uri="{FF2B5EF4-FFF2-40B4-BE49-F238E27FC236}">
                <a16:creationId xmlns:a16="http://schemas.microsoft.com/office/drawing/2014/main" id="{43F9BA50-A7BE-D9B8-A6D8-63AAEC357BCF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4" name="Google Shape;895;p86">
            <a:extLst>
              <a:ext uri="{FF2B5EF4-FFF2-40B4-BE49-F238E27FC236}">
                <a16:creationId xmlns:a16="http://schemas.microsoft.com/office/drawing/2014/main" id="{0E8285DC-5922-CD0A-C87C-70732927E60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896;p86">
            <a:extLst>
              <a:ext uri="{FF2B5EF4-FFF2-40B4-BE49-F238E27FC236}">
                <a16:creationId xmlns:a16="http://schemas.microsoft.com/office/drawing/2014/main" id="{F51FAC08-F655-4EA1-6917-DF9B76E6C8BE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6" name="Google Shape;897;p86">
              <a:extLst>
                <a:ext uri="{FF2B5EF4-FFF2-40B4-BE49-F238E27FC236}">
                  <a16:creationId xmlns:a16="http://schemas.microsoft.com/office/drawing/2014/main" id="{B782C142-FF79-0571-8778-C4F67EF75E4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7" name="Google Shape;898;p86">
              <a:extLst>
                <a:ext uri="{FF2B5EF4-FFF2-40B4-BE49-F238E27FC236}">
                  <a16:creationId xmlns:a16="http://schemas.microsoft.com/office/drawing/2014/main" id="{DA17BD7C-A9B9-6260-8DF9-CCDD178ADB41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8" name="Google Shape;899;p86">
                <a:extLst>
                  <a:ext uri="{FF2B5EF4-FFF2-40B4-BE49-F238E27FC236}">
                    <a16:creationId xmlns:a16="http://schemas.microsoft.com/office/drawing/2014/main" id="{67A7E1AF-BC1A-C5CF-CB76-1E0C6D595D17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9" name="Google Shape;900;p86">
                <a:extLst>
                  <a:ext uri="{FF2B5EF4-FFF2-40B4-BE49-F238E27FC236}">
                    <a16:creationId xmlns:a16="http://schemas.microsoft.com/office/drawing/2014/main" id="{842D19CB-192B-39EC-26F0-26D1B708D139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0320690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40144713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902;p87">
            <a:extLst>
              <a:ext uri="{FF2B5EF4-FFF2-40B4-BE49-F238E27FC236}">
                <a16:creationId xmlns:a16="http://schemas.microsoft.com/office/drawing/2014/main" id="{F8C1FD94-8F20-6BE8-4C91-102E938D6BCF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903;p87">
              <a:extLst>
                <a:ext uri="{FF2B5EF4-FFF2-40B4-BE49-F238E27FC236}">
                  <a16:creationId xmlns:a16="http://schemas.microsoft.com/office/drawing/2014/main" id="{8B312B8F-9FD2-DC0B-DD71-C098B53D15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904;p87">
              <a:extLst>
                <a:ext uri="{FF2B5EF4-FFF2-40B4-BE49-F238E27FC236}">
                  <a16:creationId xmlns:a16="http://schemas.microsoft.com/office/drawing/2014/main" id="{DBFDB1D1-65CC-1F58-497E-05CD28A7F436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905;p87">
                <a:extLst>
                  <a:ext uri="{FF2B5EF4-FFF2-40B4-BE49-F238E27FC236}">
                    <a16:creationId xmlns:a16="http://schemas.microsoft.com/office/drawing/2014/main" id="{D5AFE305-5D51-66BC-F349-AF6DCA93E8C6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906;p87">
                <a:extLst>
                  <a:ext uri="{FF2B5EF4-FFF2-40B4-BE49-F238E27FC236}">
                    <a16:creationId xmlns:a16="http://schemas.microsoft.com/office/drawing/2014/main" id="{704C945C-67A0-1C5F-971E-5BEDA6E53DA9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907;p87">
            <a:extLst>
              <a:ext uri="{FF2B5EF4-FFF2-40B4-BE49-F238E27FC236}">
                <a16:creationId xmlns:a16="http://schemas.microsoft.com/office/drawing/2014/main" id="{478FE4FE-9784-757B-FBEF-69B92411F3C9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908;p87">
            <a:extLst>
              <a:ext uri="{FF2B5EF4-FFF2-40B4-BE49-F238E27FC236}">
                <a16:creationId xmlns:a16="http://schemas.microsoft.com/office/drawing/2014/main" id="{7FED8600-3A7B-7117-3904-576786DAC16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C1582FAC-B158-49A8-BCF1-0B822E6E004C}" type="slidenum">
              <a:t>‹#›</a:t>
            </a:fld>
            <a:endParaRPr lang="en-US"/>
          </a:p>
        </p:txBody>
      </p:sp>
      <p:cxnSp>
        <p:nvCxnSpPr>
          <p:cNvPr id="9" name="Google Shape;909;p87">
            <a:extLst>
              <a:ext uri="{FF2B5EF4-FFF2-40B4-BE49-F238E27FC236}">
                <a16:creationId xmlns:a16="http://schemas.microsoft.com/office/drawing/2014/main" id="{6D3F252A-073A-6230-0207-9C1DEF9117CC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0" name="Google Shape;910;p87">
            <a:extLst>
              <a:ext uri="{FF2B5EF4-FFF2-40B4-BE49-F238E27FC236}">
                <a16:creationId xmlns:a16="http://schemas.microsoft.com/office/drawing/2014/main" id="{D302E9A3-54DE-5217-F16C-7F3D628C16E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365290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B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912;p88">
            <a:extLst>
              <a:ext uri="{FF2B5EF4-FFF2-40B4-BE49-F238E27FC236}">
                <a16:creationId xmlns:a16="http://schemas.microsoft.com/office/drawing/2014/main" id="{B79400E9-7D95-9734-1B4F-CFDD5BDD4D4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3344" y="2633536"/>
            <a:ext cx="5194432" cy="2387598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913;p88">
            <a:extLst>
              <a:ext uri="{FF2B5EF4-FFF2-40B4-BE49-F238E27FC236}">
                <a16:creationId xmlns:a16="http://schemas.microsoft.com/office/drawing/2014/main" id="{25601191-FFE3-2580-10EF-3589D1E05974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513344" y="5400327"/>
            <a:ext cx="5194432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  <p:grpSp>
        <p:nvGrpSpPr>
          <p:cNvPr id="4" name="Google Shape;914;p88">
            <a:extLst>
              <a:ext uri="{FF2B5EF4-FFF2-40B4-BE49-F238E27FC236}">
                <a16:creationId xmlns:a16="http://schemas.microsoft.com/office/drawing/2014/main" id="{47253812-0BAD-FB88-4107-6578C665FC93}"/>
              </a:ext>
            </a:extLst>
          </p:cNvPr>
          <p:cNvGrpSpPr/>
          <p:nvPr/>
        </p:nvGrpSpPr>
        <p:grpSpPr>
          <a:xfrm>
            <a:off x="0" y="0"/>
            <a:ext cx="6418722" cy="1509820"/>
            <a:chOff x="0" y="0"/>
            <a:chExt cx="6418722" cy="1509820"/>
          </a:xfrm>
        </p:grpSpPr>
        <p:sp>
          <p:nvSpPr>
            <p:cNvPr id="5" name="Google Shape;915;p88">
              <a:extLst>
                <a:ext uri="{FF2B5EF4-FFF2-40B4-BE49-F238E27FC236}">
                  <a16:creationId xmlns:a16="http://schemas.microsoft.com/office/drawing/2014/main" id="{FDB883D8-ADBF-1AE8-C281-ED9F3C6105E1}"/>
                </a:ext>
              </a:extLst>
            </p:cNvPr>
            <p:cNvSpPr/>
            <p:nvPr/>
          </p:nvSpPr>
          <p:spPr>
            <a:xfrm flipH="1">
              <a:off x="0" y="0"/>
              <a:ext cx="6418722" cy="150982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669459"/>
                <a:gd name="f4" fmla="val 1098357"/>
                <a:gd name="f5" fmla="val 393099"/>
                <a:gd name="f6" fmla="val 485580"/>
                <a:gd name="f7" fmla="val 28411"/>
                <a:gd name="f8" fmla="val 1068094"/>
                <a:gd name="f9" fmla="val 214503"/>
                <a:gd name="f10" fmla="val 1643165"/>
                <a:gd name="f11" fmla="val 412971"/>
                <a:gd name="f12" fmla="val 2241464"/>
                <a:gd name="f13" fmla="val 572540"/>
                <a:gd name="f14" fmla="val 3009808"/>
                <a:gd name="f15" fmla="val 777487"/>
                <a:gd name="f16" fmla="val 3848273"/>
                <a:gd name="f17" fmla="val 856360"/>
                <a:gd name="f18" fmla="val 4645823"/>
                <a:gd name="f19" fmla="val 731027"/>
                <a:gd name="f20" fmla="val 726784"/>
                <a:gd name="f21" fmla="val 1079503"/>
                <a:gd name="f22" fmla="val 4627787"/>
                <a:gd name="f23" fmla="val 1083679"/>
                <a:gd name="f24" fmla="val 3105555"/>
                <a:gd name="f25" fmla="val 1189027"/>
                <a:gd name="f26" fmla="val 1909512"/>
                <a:gd name="f27" fmla="val 709765"/>
                <a:gd name="f28" fmla="val 568062"/>
                <a:gd name="f29" fmla="val 207626"/>
                <a:gd name="f30" fmla="*/ f0 1 4669459"/>
                <a:gd name="f31" fmla="*/ f1 1 1098357"/>
                <a:gd name="f32" fmla="+- f4 0 f2"/>
                <a:gd name="f33" fmla="+- f3 0 f2"/>
                <a:gd name="f34" fmla="*/ f33 1 4669459"/>
                <a:gd name="f35" fmla="*/ f32 1 1098357"/>
                <a:gd name="f36" fmla="*/ f2 1 f34"/>
                <a:gd name="f37" fmla="*/ f3 1 f34"/>
                <a:gd name="f38" fmla="*/ f2 1 f35"/>
                <a:gd name="f39" fmla="*/ f4 1 f35"/>
                <a:gd name="f40" fmla="*/ f36 f30 1"/>
                <a:gd name="f41" fmla="*/ f37 f30 1"/>
                <a:gd name="f42" fmla="*/ f39 f31 1"/>
                <a:gd name="f43" fmla="*/ f3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4669459" h="1098357">
                  <a:moveTo>
                    <a:pt x="f2" y="f2"/>
                  </a:moveTo>
                  <a:lnTo>
                    <a:pt x="f5" y="f2"/>
                  </a:lnTo>
                  <a:lnTo>
                    <a:pt x="f6" y="f7"/>
                  </a:lnTo>
                  <a:cubicBezTo>
                    <a:pt x="f8" y="f9"/>
                    <a:pt x="f10" y="f11"/>
                    <a:pt x="f12" y="f13"/>
                  </a:cubicBezTo>
                  <a:cubicBezTo>
                    <a:pt x="f14" y="f15"/>
                    <a:pt x="f16" y="f17"/>
                    <a:pt x="f18" y="f19"/>
                  </a:cubicBezTo>
                  <a:lnTo>
                    <a:pt x="f3" y="f20"/>
                  </a:lnTo>
                  <a:lnTo>
                    <a:pt x="f3" y="f21"/>
                  </a:lnTo>
                  <a:lnTo>
                    <a:pt x="f22" y="f23"/>
                  </a:lnTo>
                  <a:cubicBezTo>
                    <a:pt x="f24" y="f25"/>
                    <a:pt x="f26" y="f27"/>
                    <a:pt x="f28" y="f29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6" name="Google Shape;916;p88">
              <a:extLst>
                <a:ext uri="{FF2B5EF4-FFF2-40B4-BE49-F238E27FC236}">
                  <a16:creationId xmlns:a16="http://schemas.microsoft.com/office/drawing/2014/main" id="{6262934E-78EE-6391-B432-A4228A55983F}"/>
                </a:ext>
              </a:extLst>
            </p:cNvPr>
            <p:cNvSpPr/>
            <p:nvPr/>
          </p:nvSpPr>
          <p:spPr>
            <a:xfrm flipH="1">
              <a:off x="0" y="0"/>
              <a:ext cx="6244227" cy="135202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542519"/>
                <a:gd name="f4" fmla="val 983565"/>
                <a:gd name="f5" fmla="val 957397"/>
                <a:gd name="f6" fmla="val 4542518"/>
                <a:gd name="f7" fmla="val 957403"/>
                <a:gd name="f8" fmla="val 4510552"/>
                <a:gd name="f9" fmla="val 961138"/>
                <a:gd name="f10" fmla="val 2991282"/>
                <a:gd name="f11" fmla="val 1091409"/>
                <a:gd name="f12" fmla="val 1788278"/>
                <a:gd name="f13" fmla="val 632191"/>
                <a:gd name="f14" fmla="val 439600"/>
                <a:gd name="f15" fmla="val 152515"/>
                <a:gd name="f16" fmla="*/ f0 1 4542519"/>
                <a:gd name="f17" fmla="*/ f1 1 983565"/>
                <a:gd name="f18" fmla="+- f4 0 f2"/>
                <a:gd name="f19" fmla="+- f3 0 f2"/>
                <a:gd name="f20" fmla="*/ f19 1 4542519"/>
                <a:gd name="f21" fmla="*/ f18 1 983565"/>
                <a:gd name="f22" fmla="*/ f2 1 f20"/>
                <a:gd name="f23" fmla="*/ f3 1 f20"/>
                <a:gd name="f24" fmla="*/ f2 1 f21"/>
                <a:gd name="f25" fmla="*/ f4 1 f21"/>
                <a:gd name="f26" fmla="*/ f22 f16 1"/>
                <a:gd name="f27" fmla="*/ f23 f16 1"/>
                <a:gd name="f28" fmla="*/ f25 f17 1"/>
                <a:gd name="f29" fmla="*/ f24 f1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29" r="f27" b="f28"/>
              <a:pathLst>
                <a:path w="4542519" h="983565">
                  <a:moveTo>
                    <a:pt x="f2" y="f2"/>
                  </a:moveTo>
                  <a:lnTo>
                    <a:pt x="f3" y="f2"/>
                  </a:lnTo>
                  <a:lnTo>
                    <a:pt x="f3" y="f5"/>
                  </a:lnTo>
                  <a:lnTo>
                    <a:pt x="f6" y="f7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14" y="f15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pic>
        <p:nvPicPr>
          <p:cNvPr id="7" name="Google Shape;917;p88">
            <a:extLst>
              <a:ext uri="{FF2B5EF4-FFF2-40B4-BE49-F238E27FC236}">
                <a16:creationId xmlns:a16="http://schemas.microsoft.com/office/drawing/2014/main" id="{A2552869-6A10-6EC3-C17B-F46A1FAE06E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513344" y="136529"/>
            <a:ext cx="1945203" cy="879972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213200349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919;p89">
            <a:extLst>
              <a:ext uri="{FF2B5EF4-FFF2-40B4-BE49-F238E27FC236}">
                <a16:creationId xmlns:a16="http://schemas.microsoft.com/office/drawing/2014/main" id="{A86F9E00-5466-C5BB-5B11-F2E5DBD605EB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920;p89">
            <a:extLst>
              <a:ext uri="{FF2B5EF4-FFF2-40B4-BE49-F238E27FC236}">
                <a16:creationId xmlns:a16="http://schemas.microsoft.com/office/drawing/2014/main" id="{20148A07-9283-489A-B4EC-9B77FAFFD49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921;p89">
            <a:extLst>
              <a:ext uri="{FF2B5EF4-FFF2-40B4-BE49-F238E27FC236}">
                <a16:creationId xmlns:a16="http://schemas.microsoft.com/office/drawing/2014/main" id="{78D37B62-308D-50A6-5BBE-DB12578AF80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922;p89">
            <a:extLst>
              <a:ext uri="{FF2B5EF4-FFF2-40B4-BE49-F238E27FC236}">
                <a16:creationId xmlns:a16="http://schemas.microsoft.com/office/drawing/2014/main" id="{CBFA5892-33DF-82BD-9180-D093FE6DD4E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4491BAC4-59EB-47A6-A462-08A502518AFA}" type="slidenum">
              <a:t>‹#›</a:t>
            </a:fld>
            <a:endParaRPr lang="en-US"/>
          </a:p>
        </p:txBody>
      </p:sp>
      <p:cxnSp>
        <p:nvCxnSpPr>
          <p:cNvPr id="6" name="Google Shape;923;p89">
            <a:extLst>
              <a:ext uri="{FF2B5EF4-FFF2-40B4-BE49-F238E27FC236}">
                <a16:creationId xmlns:a16="http://schemas.microsoft.com/office/drawing/2014/main" id="{EA885098-B1F0-2441-58B9-95D79AB0CEE6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924;p89">
            <a:extLst>
              <a:ext uri="{FF2B5EF4-FFF2-40B4-BE49-F238E27FC236}">
                <a16:creationId xmlns:a16="http://schemas.microsoft.com/office/drawing/2014/main" id="{C14F872C-46DD-299F-4E47-84501A8F2A6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925;p89">
            <a:extLst>
              <a:ext uri="{FF2B5EF4-FFF2-40B4-BE49-F238E27FC236}">
                <a16:creationId xmlns:a16="http://schemas.microsoft.com/office/drawing/2014/main" id="{DC066747-7C22-7103-BA49-CEE13E424292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926;p89">
              <a:extLst>
                <a:ext uri="{FF2B5EF4-FFF2-40B4-BE49-F238E27FC236}">
                  <a16:creationId xmlns:a16="http://schemas.microsoft.com/office/drawing/2014/main" id="{656F3773-1D95-43AE-FA41-76C1DC4CAEA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927;p89">
              <a:extLst>
                <a:ext uri="{FF2B5EF4-FFF2-40B4-BE49-F238E27FC236}">
                  <a16:creationId xmlns:a16="http://schemas.microsoft.com/office/drawing/2014/main" id="{0C3EE039-2CD6-DB68-615D-251003EBAA3E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928;p89">
                <a:extLst>
                  <a:ext uri="{FF2B5EF4-FFF2-40B4-BE49-F238E27FC236}">
                    <a16:creationId xmlns:a16="http://schemas.microsoft.com/office/drawing/2014/main" id="{3C7290E4-57CE-301D-3B19-263A31FAA9A5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929;p89">
                <a:extLst>
                  <a:ext uri="{FF2B5EF4-FFF2-40B4-BE49-F238E27FC236}">
                    <a16:creationId xmlns:a16="http://schemas.microsoft.com/office/drawing/2014/main" id="{D18C4F93-F886-EB4C-C393-E61FC9EF8F8F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930;p89" descr="Open quotation mark with solid fill">
            <a:extLst>
              <a:ext uri="{FF2B5EF4-FFF2-40B4-BE49-F238E27FC236}">
                <a16:creationId xmlns:a16="http://schemas.microsoft.com/office/drawing/2014/main" id="{BBFCD97C-99CC-A071-2CD6-4738171DA50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251884627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Quot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932;p90">
            <a:extLst>
              <a:ext uri="{FF2B5EF4-FFF2-40B4-BE49-F238E27FC236}">
                <a16:creationId xmlns:a16="http://schemas.microsoft.com/office/drawing/2014/main" id="{5819CDC8-124B-33C8-3706-9813E9B2D595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933;p90">
            <a:extLst>
              <a:ext uri="{FF2B5EF4-FFF2-40B4-BE49-F238E27FC236}">
                <a16:creationId xmlns:a16="http://schemas.microsoft.com/office/drawing/2014/main" id="{0BE7E8A7-97F7-E91D-C351-2A9E1890384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934;p90">
            <a:extLst>
              <a:ext uri="{FF2B5EF4-FFF2-40B4-BE49-F238E27FC236}">
                <a16:creationId xmlns:a16="http://schemas.microsoft.com/office/drawing/2014/main" id="{25C467BF-861F-B25D-AC10-235216B7FA5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935;p90">
            <a:extLst>
              <a:ext uri="{FF2B5EF4-FFF2-40B4-BE49-F238E27FC236}">
                <a16:creationId xmlns:a16="http://schemas.microsoft.com/office/drawing/2014/main" id="{B2C737D5-1727-3B7F-3D4A-90510FEB8BDC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CE191374-3754-4E6D-9546-76032B3A6708}" type="slidenum">
              <a:t>‹#›</a:t>
            </a:fld>
            <a:endParaRPr lang="en-US"/>
          </a:p>
        </p:txBody>
      </p:sp>
      <p:cxnSp>
        <p:nvCxnSpPr>
          <p:cNvPr id="6" name="Google Shape;936;p90">
            <a:extLst>
              <a:ext uri="{FF2B5EF4-FFF2-40B4-BE49-F238E27FC236}">
                <a16:creationId xmlns:a16="http://schemas.microsoft.com/office/drawing/2014/main" id="{52147F70-816F-EAEA-FEC6-11F96AF1108D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937;p90">
            <a:extLst>
              <a:ext uri="{FF2B5EF4-FFF2-40B4-BE49-F238E27FC236}">
                <a16:creationId xmlns:a16="http://schemas.microsoft.com/office/drawing/2014/main" id="{6BE91B97-5FE7-5D34-DED7-4E268440D36E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938;p90">
            <a:extLst>
              <a:ext uri="{FF2B5EF4-FFF2-40B4-BE49-F238E27FC236}">
                <a16:creationId xmlns:a16="http://schemas.microsoft.com/office/drawing/2014/main" id="{679854EC-8035-E0FB-C674-6A5634FDC6BF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939;p90">
              <a:extLst>
                <a:ext uri="{FF2B5EF4-FFF2-40B4-BE49-F238E27FC236}">
                  <a16:creationId xmlns:a16="http://schemas.microsoft.com/office/drawing/2014/main" id="{B35BA2D4-CA7C-B39B-5C90-32A3AB2CA6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940;p90">
              <a:extLst>
                <a:ext uri="{FF2B5EF4-FFF2-40B4-BE49-F238E27FC236}">
                  <a16:creationId xmlns:a16="http://schemas.microsoft.com/office/drawing/2014/main" id="{C5CC4E84-60EB-F6F8-759A-F8FA17D7B5CC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941;p90">
                <a:extLst>
                  <a:ext uri="{FF2B5EF4-FFF2-40B4-BE49-F238E27FC236}">
                    <a16:creationId xmlns:a16="http://schemas.microsoft.com/office/drawing/2014/main" id="{6A926F0C-0E18-2390-5095-0C6CEE2536F7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942;p90">
                <a:extLst>
                  <a:ext uri="{FF2B5EF4-FFF2-40B4-BE49-F238E27FC236}">
                    <a16:creationId xmlns:a16="http://schemas.microsoft.com/office/drawing/2014/main" id="{970E5371-B7BE-577B-F7FD-8CED27AE3C77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943;p90" descr="Open quotation mark with solid fill">
            <a:extLst>
              <a:ext uri="{FF2B5EF4-FFF2-40B4-BE49-F238E27FC236}">
                <a16:creationId xmlns:a16="http://schemas.microsoft.com/office/drawing/2014/main" id="{7FD75959-EE4E-48B3-846D-F03DF9D64AA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842830821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945;p91">
            <a:extLst>
              <a:ext uri="{FF2B5EF4-FFF2-40B4-BE49-F238E27FC236}">
                <a16:creationId xmlns:a16="http://schemas.microsoft.com/office/drawing/2014/main" id="{D1D118E2-CC1A-4873-C07F-3A988098143C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946;p91">
            <a:extLst>
              <a:ext uri="{FF2B5EF4-FFF2-40B4-BE49-F238E27FC236}">
                <a16:creationId xmlns:a16="http://schemas.microsoft.com/office/drawing/2014/main" id="{2DA7B8AA-A22E-5C71-7052-4423BB649B7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947;p91">
            <a:extLst>
              <a:ext uri="{FF2B5EF4-FFF2-40B4-BE49-F238E27FC236}">
                <a16:creationId xmlns:a16="http://schemas.microsoft.com/office/drawing/2014/main" id="{907A14D0-BF50-1715-ADD4-A7D3FE25793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948;p91">
            <a:extLst>
              <a:ext uri="{FF2B5EF4-FFF2-40B4-BE49-F238E27FC236}">
                <a16:creationId xmlns:a16="http://schemas.microsoft.com/office/drawing/2014/main" id="{18DD4268-8607-CD48-6202-8B27DD15E33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DBC3693B-F812-4EEA-8900-4B0C23A18F1B}" type="slidenum">
              <a:t>‹#›</a:t>
            </a:fld>
            <a:endParaRPr lang="en-US"/>
          </a:p>
        </p:txBody>
      </p:sp>
      <p:cxnSp>
        <p:nvCxnSpPr>
          <p:cNvPr id="6" name="Google Shape;949;p91">
            <a:extLst>
              <a:ext uri="{FF2B5EF4-FFF2-40B4-BE49-F238E27FC236}">
                <a16:creationId xmlns:a16="http://schemas.microsoft.com/office/drawing/2014/main" id="{93072F6F-786F-11CE-F5B1-7CA13A9BC453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950;p91">
            <a:extLst>
              <a:ext uri="{FF2B5EF4-FFF2-40B4-BE49-F238E27FC236}">
                <a16:creationId xmlns:a16="http://schemas.microsoft.com/office/drawing/2014/main" id="{7E1263E9-3C6D-62AD-8F9E-02B01352824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951;p91">
            <a:extLst>
              <a:ext uri="{FF2B5EF4-FFF2-40B4-BE49-F238E27FC236}">
                <a16:creationId xmlns:a16="http://schemas.microsoft.com/office/drawing/2014/main" id="{842083E7-CEC9-BECF-1C36-4DF02997031E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952;p91">
              <a:extLst>
                <a:ext uri="{FF2B5EF4-FFF2-40B4-BE49-F238E27FC236}">
                  <a16:creationId xmlns:a16="http://schemas.microsoft.com/office/drawing/2014/main" id="{A8A2EDF7-B524-9767-17D0-54E36CE87B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953;p91">
              <a:extLst>
                <a:ext uri="{FF2B5EF4-FFF2-40B4-BE49-F238E27FC236}">
                  <a16:creationId xmlns:a16="http://schemas.microsoft.com/office/drawing/2014/main" id="{6A670C43-AADF-6B74-CA6A-09020AAA15B9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954;p91">
                <a:extLst>
                  <a:ext uri="{FF2B5EF4-FFF2-40B4-BE49-F238E27FC236}">
                    <a16:creationId xmlns:a16="http://schemas.microsoft.com/office/drawing/2014/main" id="{9A5D3A24-335E-911D-DD97-13DAC6AE8253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955;p91">
                <a:extLst>
                  <a:ext uri="{FF2B5EF4-FFF2-40B4-BE49-F238E27FC236}">
                    <a16:creationId xmlns:a16="http://schemas.microsoft.com/office/drawing/2014/main" id="{5F3120D3-FF6C-E052-BB6C-817A37C0EA58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956;p91" descr="Open quotation mark with solid fill">
            <a:extLst>
              <a:ext uri="{FF2B5EF4-FFF2-40B4-BE49-F238E27FC236}">
                <a16:creationId xmlns:a16="http://schemas.microsoft.com/office/drawing/2014/main" id="{FB7990F1-0153-0B71-21F0-0EEFFD192DC2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700011170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ation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919;p89">
            <a:extLst>
              <a:ext uri="{FF2B5EF4-FFF2-40B4-BE49-F238E27FC236}">
                <a16:creationId xmlns:a16="http://schemas.microsoft.com/office/drawing/2014/main" id="{1B2CEF45-A958-E4C7-2E6B-ABE6084E8E36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920;p89">
            <a:extLst>
              <a:ext uri="{FF2B5EF4-FFF2-40B4-BE49-F238E27FC236}">
                <a16:creationId xmlns:a16="http://schemas.microsoft.com/office/drawing/2014/main" id="{C69F9477-69BC-FB24-D19D-4785792FB70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921;p89">
            <a:extLst>
              <a:ext uri="{FF2B5EF4-FFF2-40B4-BE49-F238E27FC236}">
                <a16:creationId xmlns:a16="http://schemas.microsoft.com/office/drawing/2014/main" id="{EBBA17AE-9DF1-2D71-0726-6DEC5F0D596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922;p89">
            <a:extLst>
              <a:ext uri="{FF2B5EF4-FFF2-40B4-BE49-F238E27FC236}">
                <a16:creationId xmlns:a16="http://schemas.microsoft.com/office/drawing/2014/main" id="{BB9955CF-69F5-9137-AD50-40160C4FDEA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48DC5FF1-1252-4B15-BFBB-C94FDC6FCBFB}" type="slidenum">
              <a:t>‹#›</a:t>
            </a:fld>
            <a:endParaRPr lang="en-US"/>
          </a:p>
        </p:txBody>
      </p:sp>
      <p:cxnSp>
        <p:nvCxnSpPr>
          <p:cNvPr id="6" name="Google Shape;923;p89">
            <a:extLst>
              <a:ext uri="{FF2B5EF4-FFF2-40B4-BE49-F238E27FC236}">
                <a16:creationId xmlns:a16="http://schemas.microsoft.com/office/drawing/2014/main" id="{E6ADAC75-F78C-CA3C-C300-D777C08750DF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924;p89">
            <a:extLst>
              <a:ext uri="{FF2B5EF4-FFF2-40B4-BE49-F238E27FC236}">
                <a16:creationId xmlns:a16="http://schemas.microsoft.com/office/drawing/2014/main" id="{050A74AE-E718-BF9A-E7B3-48C5E2DF8BB5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925;p89">
            <a:extLst>
              <a:ext uri="{FF2B5EF4-FFF2-40B4-BE49-F238E27FC236}">
                <a16:creationId xmlns:a16="http://schemas.microsoft.com/office/drawing/2014/main" id="{082E093F-DA0F-8691-2943-381DA1CEE320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926;p89">
              <a:extLst>
                <a:ext uri="{FF2B5EF4-FFF2-40B4-BE49-F238E27FC236}">
                  <a16:creationId xmlns:a16="http://schemas.microsoft.com/office/drawing/2014/main" id="{67A0615A-7AA0-FAFD-5562-F5235FB1CD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927;p89">
              <a:extLst>
                <a:ext uri="{FF2B5EF4-FFF2-40B4-BE49-F238E27FC236}">
                  <a16:creationId xmlns:a16="http://schemas.microsoft.com/office/drawing/2014/main" id="{12D82F93-0FB2-B414-961D-F1E942EF4307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928;p89">
                <a:extLst>
                  <a:ext uri="{FF2B5EF4-FFF2-40B4-BE49-F238E27FC236}">
                    <a16:creationId xmlns:a16="http://schemas.microsoft.com/office/drawing/2014/main" id="{C65B12D7-7DE7-D33C-90C5-9C761B293C70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929;p89">
                <a:extLst>
                  <a:ext uri="{FF2B5EF4-FFF2-40B4-BE49-F238E27FC236}">
                    <a16:creationId xmlns:a16="http://schemas.microsoft.com/office/drawing/2014/main" id="{466F21B9-7D80-E07B-027D-3F5816E52DAD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930;p89" descr="Open quotation mark with solid fill">
            <a:extLst>
              <a:ext uri="{FF2B5EF4-FFF2-40B4-BE49-F238E27FC236}">
                <a16:creationId xmlns:a16="http://schemas.microsoft.com/office/drawing/2014/main" id="{4FAA7C93-0CA9-D116-2AF0-05E47DBC3254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305552417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Quot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932;p90">
            <a:extLst>
              <a:ext uri="{FF2B5EF4-FFF2-40B4-BE49-F238E27FC236}">
                <a16:creationId xmlns:a16="http://schemas.microsoft.com/office/drawing/2014/main" id="{A8FD1610-05BF-2BE4-B8C8-FD6C3D9C6C17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933;p90">
            <a:extLst>
              <a:ext uri="{FF2B5EF4-FFF2-40B4-BE49-F238E27FC236}">
                <a16:creationId xmlns:a16="http://schemas.microsoft.com/office/drawing/2014/main" id="{74AB0FF4-4AC8-00B4-34CF-30269E5A563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934;p90">
            <a:extLst>
              <a:ext uri="{FF2B5EF4-FFF2-40B4-BE49-F238E27FC236}">
                <a16:creationId xmlns:a16="http://schemas.microsoft.com/office/drawing/2014/main" id="{27744974-6452-573F-8FF4-5AA6C3C35C4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935;p90">
            <a:extLst>
              <a:ext uri="{FF2B5EF4-FFF2-40B4-BE49-F238E27FC236}">
                <a16:creationId xmlns:a16="http://schemas.microsoft.com/office/drawing/2014/main" id="{CA41CDED-55DA-4190-1B90-1A4CA90AD370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F9389CA5-502B-4F72-BB4B-0D5321EF145F}" type="slidenum">
              <a:t>‹#›</a:t>
            </a:fld>
            <a:endParaRPr lang="en-US"/>
          </a:p>
        </p:txBody>
      </p:sp>
      <p:cxnSp>
        <p:nvCxnSpPr>
          <p:cNvPr id="6" name="Google Shape;936;p90">
            <a:extLst>
              <a:ext uri="{FF2B5EF4-FFF2-40B4-BE49-F238E27FC236}">
                <a16:creationId xmlns:a16="http://schemas.microsoft.com/office/drawing/2014/main" id="{AC46F124-2A08-20F4-EED3-1C3F68312C36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937;p90">
            <a:extLst>
              <a:ext uri="{FF2B5EF4-FFF2-40B4-BE49-F238E27FC236}">
                <a16:creationId xmlns:a16="http://schemas.microsoft.com/office/drawing/2014/main" id="{44A49F68-156C-BDFD-2442-B898FEB3D72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938;p90">
            <a:extLst>
              <a:ext uri="{FF2B5EF4-FFF2-40B4-BE49-F238E27FC236}">
                <a16:creationId xmlns:a16="http://schemas.microsoft.com/office/drawing/2014/main" id="{D201D2D0-A1BF-81B6-58E1-BE9B51E05BEB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939;p90">
              <a:extLst>
                <a:ext uri="{FF2B5EF4-FFF2-40B4-BE49-F238E27FC236}">
                  <a16:creationId xmlns:a16="http://schemas.microsoft.com/office/drawing/2014/main" id="{3BBE1055-C2F2-E189-3626-AD8D4CF777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940;p90">
              <a:extLst>
                <a:ext uri="{FF2B5EF4-FFF2-40B4-BE49-F238E27FC236}">
                  <a16:creationId xmlns:a16="http://schemas.microsoft.com/office/drawing/2014/main" id="{2C8BAED1-20D8-6948-E89C-7390C34A901B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941;p90">
                <a:extLst>
                  <a:ext uri="{FF2B5EF4-FFF2-40B4-BE49-F238E27FC236}">
                    <a16:creationId xmlns:a16="http://schemas.microsoft.com/office/drawing/2014/main" id="{FF365DE3-7031-0BF1-8639-10F1C86DA819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942;p90">
                <a:extLst>
                  <a:ext uri="{FF2B5EF4-FFF2-40B4-BE49-F238E27FC236}">
                    <a16:creationId xmlns:a16="http://schemas.microsoft.com/office/drawing/2014/main" id="{D516FDCB-9840-0820-69E5-EFA036B3F827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943;p90" descr="Open quotation mark with solid fill">
            <a:extLst>
              <a:ext uri="{FF2B5EF4-FFF2-40B4-BE49-F238E27FC236}">
                <a16:creationId xmlns:a16="http://schemas.microsoft.com/office/drawing/2014/main" id="{98C3096D-4CCD-6AD3-6EC1-E5D747F7F98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940327980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a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945;p91">
            <a:extLst>
              <a:ext uri="{FF2B5EF4-FFF2-40B4-BE49-F238E27FC236}">
                <a16:creationId xmlns:a16="http://schemas.microsoft.com/office/drawing/2014/main" id="{768E2D17-F106-CAC5-4B76-1359F068F246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946;p91">
            <a:extLst>
              <a:ext uri="{FF2B5EF4-FFF2-40B4-BE49-F238E27FC236}">
                <a16:creationId xmlns:a16="http://schemas.microsoft.com/office/drawing/2014/main" id="{01A8CC15-6A10-ABD2-519B-9420EE39765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947;p91">
            <a:extLst>
              <a:ext uri="{FF2B5EF4-FFF2-40B4-BE49-F238E27FC236}">
                <a16:creationId xmlns:a16="http://schemas.microsoft.com/office/drawing/2014/main" id="{7B531511-6C6B-F93D-ED81-1772F2805A5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948;p91">
            <a:extLst>
              <a:ext uri="{FF2B5EF4-FFF2-40B4-BE49-F238E27FC236}">
                <a16:creationId xmlns:a16="http://schemas.microsoft.com/office/drawing/2014/main" id="{009CCA77-4C8B-AA4D-6FDF-68FC47806C8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EB174C6F-FFC1-49CF-A12D-2620941CEB5A}" type="slidenum">
              <a:t>‹#›</a:t>
            </a:fld>
            <a:endParaRPr lang="en-US"/>
          </a:p>
        </p:txBody>
      </p:sp>
      <p:cxnSp>
        <p:nvCxnSpPr>
          <p:cNvPr id="6" name="Google Shape;949;p91">
            <a:extLst>
              <a:ext uri="{FF2B5EF4-FFF2-40B4-BE49-F238E27FC236}">
                <a16:creationId xmlns:a16="http://schemas.microsoft.com/office/drawing/2014/main" id="{31BB4D36-A15C-ACF7-8EC3-14112D31E77E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950;p91">
            <a:extLst>
              <a:ext uri="{FF2B5EF4-FFF2-40B4-BE49-F238E27FC236}">
                <a16:creationId xmlns:a16="http://schemas.microsoft.com/office/drawing/2014/main" id="{9AB3CB11-B447-4A23-CC60-43A0F37C016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951;p91">
            <a:extLst>
              <a:ext uri="{FF2B5EF4-FFF2-40B4-BE49-F238E27FC236}">
                <a16:creationId xmlns:a16="http://schemas.microsoft.com/office/drawing/2014/main" id="{E0A6DB01-E256-9F4E-5520-6CE2ED485ABF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952;p91">
              <a:extLst>
                <a:ext uri="{FF2B5EF4-FFF2-40B4-BE49-F238E27FC236}">
                  <a16:creationId xmlns:a16="http://schemas.microsoft.com/office/drawing/2014/main" id="{8321ECA7-782A-A3C5-220F-1462456D88A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953;p91">
              <a:extLst>
                <a:ext uri="{FF2B5EF4-FFF2-40B4-BE49-F238E27FC236}">
                  <a16:creationId xmlns:a16="http://schemas.microsoft.com/office/drawing/2014/main" id="{918F8A6A-C4E6-1CB1-E029-AF095C8788E9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954;p91">
                <a:extLst>
                  <a:ext uri="{FF2B5EF4-FFF2-40B4-BE49-F238E27FC236}">
                    <a16:creationId xmlns:a16="http://schemas.microsoft.com/office/drawing/2014/main" id="{BB32376F-8093-73A5-C13A-E07936C42A1F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955;p91">
                <a:extLst>
                  <a:ext uri="{FF2B5EF4-FFF2-40B4-BE49-F238E27FC236}">
                    <a16:creationId xmlns:a16="http://schemas.microsoft.com/office/drawing/2014/main" id="{EB3A3C97-1667-176F-FCE3-7DF2B2DE3440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956;p91" descr="Open quotation mark with solid fill">
            <a:extLst>
              <a:ext uri="{FF2B5EF4-FFF2-40B4-BE49-F238E27FC236}">
                <a16:creationId xmlns:a16="http://schemas.microsoft.com/office/drawing/2014/main" id="{5C8CBF9C-9417-68D0-EAE4-A6FA8D4C56B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500725215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958;p92">
            <a:extLst>
              <a:ext uri="{FF2B5EF4-FFF2-40B4-BE49-F238E27FC236}">
                <a16:creationId xmlns:a16="http://schemas.microsoft.com/office/drawing/2014/main" id="{56EBE6B6-860B-828E-CB9B-B249D1319383}"/>
              </a:ext>
            </a:extLst>
          </p:cNvPr>
          <p:cNvSpPr/>
          <p:nvPr/>
        </p:nvSpPr>
        <p:spPr>
          <a:xfrm>
            <a:off x="0" y="0"/>
            <a:ext cx="12191996" cy="6858000"/>
          </a:xfrm>
          <a:custGeom>
            <a:avLst/>
            <a:gdLst>
              <a:gd name="f0" fmla="val w"/>
              <a:gd name="f1" fmla="val h"/>
              <a:gd name="f2" fmla="val 0"/>
              <a:gd name="f3" fmla="val 12192000"/>
              <a:gd name="f4" fmla="val 6858000"/>
              <a:gd name="f5" fmla="*/ f0 1 12192000"/>
              <a:gd name="f6" fmla="*/ f1 1 6858000"/>
              <a:gd name="f7" fmla="+- f4 0 f2"/>
              <a:gd name="f8" fmla="+- f3 0 f2"/>
              <a:gd name="f9" fmla="*/ f8 1 12192000"/>
              <a:gd name="f10" fmla="*/ f7 1 6858000"/>
              <a:gd name="f11" fmla="*/ f2 1 f9"/>
              <a:gd name="f12" fmla="*/ f3 1 f9"/>
              <a:gd name="f13" fmla="*/ f2 1 f10"/>
              <a:gd name="f14" fmla="*/ f4 1 f10"/>
              <a:gd name="f15" fmla="*/ f11 f5 1"/>
              <a:gd name="f16" fmla="*/ f12 f5 1"/>
              <a:gd name="f17" fmla="*/ f14 f6 1"/>
              <a:gd name="f18" fmla="*/ f13 f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5" t="f18" r="f16" b="f17"/>
            <a:pathLst>
              <a:path w="12192000" h="6858000">
                <a:moveTo>
                  <a:pt x="f3" y="f2"/>
                </a:moveTo>
                <a:lnTo>
                  <a:pt x="f2" y="f2"/>
                </a:lnTo>
                <a:lnTo>
                  <a:pt x="f2" y="f4"/>
                </a:lnTo>
                <a:lnTo>
                  <a:pt x="f3" y="f4"/>
                </a:lnTo>
                <a:lnTo>
                  <a:pt x="f3" y="f2"/>
                </a:lnTo>
                <a:close/>
              </a:path>
            </a:pathLst>
          </a:custGeom>
          <a:solidFill>
            <a:srgbClr val="F3F6FA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444C55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959;p92">
            <a:extLst>
              <a:ext uri="{FF2B5EF4-FFF2-40B4-BE49-F238E27FC236}">
                <a16:creationId xmlns:a16="http://schemas.microsoft.com/office/drawing/2014/main" id="{D93CA5AC-8D8A-AACF-1330-C938EAD14022}"/>
              </a:ext>
            </a:extLst>
          </p:cNvPr>
          <p:cNvSpPr/>
          <p:nvPr/>
        </p:nvSpPr>
        <p:spPr>
          <a:xfrm>
            <a:off x="0" y="5100852"/>
            <a:ext cx="7111361" cy="1757677"/>
          </a:xfrm>
          <a:custGeom>
            <a:avLst/>
            <a:gdLst>
              <a:gd name="f0" fmla="val w"/>
              <a:gd name="f1" fmla="val h"/>
              <a:gd name="f2" fmla="val 0"/>
              <a:gd name="f3" fmla="val 7111365"/>
              <a:gd name="f4" fmla="val 1757679"/>
              <a:gd name="f5" fmla="val 612238"/>
              <a:gd name="f6" fmla="val 72"/>
              <a:gd name="f7" fmla="val 558414"/>
              <a:gd name="f8" fmla="val 504455"/>
              <a:gd name="f9" fmla="val 346"/>
              <a:gd name="f10" fmla="val 450360"/>
              <a:gd name="f11" fmla="val 1116"/>
              <a:gd name="f12" fmla="val 396127"/>
              <a:gd name="f13" fmla="val 2315"/>
              <a:gd name="f14" fmla="val 341757"/>
              <a:gd name="f15" fmla="val 3949"/>
              <a:gd name="f16" fmla="val 292962"/>
              <a:gd name="f17" fmla="val 5809"/>
              <a:gd name="f18" fmla="val 244267"/>
              <a:gd name="f19" fmla="val 8061"/>
              <a:gd name="f20" fmla="val 195669"/>
              <a:gd name="f21" fmla="val 10711"/>
              <a:gd name="f22" fmla="val 147165"/>
              <a:gd name="f23" fmla="val 13764"/>
              <a:gd name="f24" fmla="val 98753"/>
              <a:gd name="f25" fmla="val 17223"/>
              <a:gd name="f26" fmla="val 50431"/>
              <a:gd name="f27" fmla="val 21096"/>
              <a:gd name="f28" fmla="val 25666"/>
              <a:gd name="f29" fmla="val 1757146"/>
              <a:gd name="f30" fmla="val 7110983"/>
              <a:gd name="f31" fmla="val 6700405"/>
              <a:gd name="f32" fmla="val 1636344"/>
              <a:gd name="f33" fmla="val 6607186"/>
              <a:gd name="f34" fmla="val 1607300"/>
              <a:gd name="f35" fmla="val 6467358"/>
              <a:gd name="f36" fmla="val 1562910"/>
              <a:gd name="f37" fmla="val 6327483"/>
              <a:gd name="f38" fmla="val 1517588"/>
              <a:gd name="f39" fmla="val 6187509"/>
              <a:gd name="f40" fmla="val 1471399"/>
              <a:gd name="f41" fmla="val 6000630"/>
              <a:gd name="f42" fmla="val 1408578"/>
              <a:gd name="f43" fmla="val 5766459"/>
              <a:gd name="f44" fmla="val 1328280"/>
              <a:gd name="f45" fmla="val 5484294"/>
              <a:gd name="f46" fmla="val 1229723"/>
              <a:gd name="f47" fmla="val 4285873"/>
              <a:gd name="f48" fmla="val 804446"/>
              <a:gd name="f49" fmla="val 3990553"/>
              <a:gd name="f50" fmla="val 701631"/>
              <a:gd name="f51" fmla="val 3741532"/>
              <a:gd name="f52" fmla="val 616526"/>
              <a:gd name="f53" fmla="val 3543643"/>
              <a:gd name="f54" fmla="val 550199"/>
              <a:gd name="f55" fmla="val 3449272"/>
              <a:gd name="f56" fmla="val 519263"/>
              <a:gd name="f57" fmla="val 3354639"/>
              <a:gd name="f58" fmla="val 488840"/>
              <a:gd name="f59" fmla="val 3259736"/>
              <a:gd name="f60" fmla="val 458969"/>
              <a:gd name="f61" fmla="val 3164554"/>
              <a:gd name="f62" fmla="val 429687"/>
              <a:gd name="f63" fmla="val 3069083"/>
              <a:gd name="f64" fmla="val 401033"/>
              <a:gd name="f65" fmla="val 2973315"/>
              <a:gd name="f66" fmla="val 373045"/>
              <a:gd name="f67" fmla="val 2877241"/>
              <a:gd name="f68" fmla="val 345760"/>
              <a:gd name="f69" fmla="val 2780851"/>
              <a:gd name="f70" fmla="val 319217"/>
              <a:gd name="f71" fmla="val 2684137"/>
              <a:gd name="f72" fmla="val 293454"/>
              <a:gd name="f73" fmla="val 2587089"/>
              <a:gd name="f74" fmla="val 268509"/>
              <a:gd name="f75" fmla="val 2489699"/>
              <a:gd name="f76" fmla="val 244419"/>
              <a:gd name="f77" fmla="val 2391957"/>
              <a:gd name="f78" fmla="val 221224"/>
              <a:gd name="f79" fmla="val 2293855"/>
              <a:gd name="f80" fmla="val 198961"/>
              <a:gd name="f81" fmla="val 2244665"/>
              <a:gd name="f82" fmla="val 188191"/>
              <a:gd name="f83" fmla="val 2195383"/>
              <a:gd name="f84" fmla="val 177668"/>
              <a:gd name="f85" fmla="val 2146005"/>
              <a:gd name="f86" fmla="val 167398"/>
              <a:gd name="f87" fmla="val 2096532"/>
              <a:gd name="f88" fmla="val 157384"/>
              <a:gd name="f89" fmla="val 2046962"/>
              <a:gd name="f90" fmla="val 147632"/>
              <a:gd name="f91" fmla="val 1997294"/>
              <a:gd name="f92" fmla="val 138146"/>
              <a:gd name="f93" fmla="val 1947526"/>
              <a:gd name="f94" fmla="val 128931"/>
              <a:gd name="f95" fmla="val 1897659"/>
              <a:gd name="f96" fmla="val 119992"/>
              <a:gd name="f97" fmla="val 1847690"/>
              <a:gd name="f98" fmla="val 111333"/>
              <a:gd name="f99" fmla="val 1797618"/>
              <a:gd name="f100" fmla="val 102960"/>
              <a:gd name="f101" fmla="val 1747443"/>
              <a:gd name="f102" fmla="val 94877"/>
              <a:gd name="f103" fmla="val 1697163"/>
              <a:gd name="f104" fmla="val 87089"/>
              <a:gd name="f105" fmla="val 1646777"/>
              <a:gd name="f106" fmla="val 79601"/>
              <a:gd name="f107" fmla="val 1596283"/>
              <a:gd name="f108" fmla="val 72417"/>
              <a:gd name="f109" fmla="val 1545682"/>
              <a:gd name="f110" fmla="val 65542"/>
              <a:gd name="f111" fmla="val 1494971"/>
              <a:gd name="f112" fmla="val 58981"/>
              <a:gd name="f113" fmla="val 1444150"/>
              <a:gd name="f114" fmla="val 52739"/>
              <a:gd name="f115" fmla="val 1393217"/>
              <a:gd name="f116" fmla="val 46821"/>
              <a:gd name="f117" fmla="val 1342172"/>
              <a:gd name="f118" fmla="val 41230"/>
              <a:gd name="f119" fmla="val 1291013"/>
              <a:gd name="f120" fmla="val 35972"/>
              <a:gd name="f121" fmla="val 1239738"/>
              <a:gd name="f122" fmla="val 31052"/>
              <a:gd name="f123" fmla="val 1188348"/>
              <a:gd name="f124" fmla="val 26475"/>
              <a:gd name="f125" fmla="val 1136840"/>
              <a:gd name="f126" fmla="val 22245"/>
              <a:gd name="f127" fmla="val 1085214"/>
              <a:gd name="f128" fmla="val 18367"/>
              <a:gd name="f129" fmla="val 1033469"/>
              <a:gd name="f130" fmla="val 14845"/>
              <a:gd name="f131" fmla="val 981602"/>
              <a:gd name="f132" fmla="val 11685"/>
              <a:gd name="f133" fmla="val 929614"/>
              <a:gd name="f134" fmla="val 8891"/>
              <a:gd name="f135" fmla="val 877504"/>
              <a:gd name="f136" fmla="val 6469"/>
              <a:gd name="f137" fmla="val 825269"/>
              <a:gd name="f138" fmla="val 4422"/>
              <a:gd name="f139" fmla="val 772909"/>
              <a:gd name="f140" fmla="val 2755"/>
              <a:gd name="f141" fmla="val 719484"/>
              <a:gd name="f142" fmla="val 1455"/>
              <a:gd name="f143" fmla="val 665927"/>
              <a:gd name="f144" fmla="val 559"/>
              <a:gd name="f145" fmla="*/ f0 1 7111365"/>
              <a:gd name="f146" fmla="*/ f1 1 1757679"/>
              <a:gd name="f147" fmla="+- f4 0 f2"/>
              <a:gd name="f148" fmla="+- f3 0 f2"/>
              <a:gd name="f149" fmla="*/ f148 1 7111365"/>
              <a:gd name="f150" fmla="*/ f147 1 1757679"/>
              <a:gd name="f151" fmla="*/ f2 1 f149"/>
              <a:gd name="f152" fmla="*/ f3 1 f149"/>
              <a:gd name="f153" fmla="*/ f2 1 f150"/>
              <a:gd name="f154" fmla="*/ f4 1 f150"/>
              <a:gd name="f155" fmla="*/ f151 f145 1"/>
              <a:gd name="f156" fmla="*/ f152 f145 1"/>
              <a:gd name="f157" fmla="*/ f154 f146 1"/>
              <a:gd name="f158" fmla="*/ f153 f14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55" t="f158" r="f156" b="f157"/>
            <a:pathLst>
              <a:path w="7111365" h="1757679">
                <a:moveTo>
                  <a:pt x="f5" y="f6"/>
                </a:moveTo>
                <a:lnTo>
                  <a:pt x="f7" y="f2"/>
                </a:lnTo>
                <a:lnTo>
                  <a:pt x="f8" y="f9"/>
                </a:lnTo>
                <a:lnTo>
                  <a:pt x="f10" y="f11"/>
                </a:lnTo>
                <a:lnTo>
                  <a:pt x="f12" y="f13"/>
                </a:lnTo>
                <a:lnTo>
                  <a:pt x="f14" y="f15"/>
                </a:lnTo>
                <a:lnTo>
                  <a:pt x="f16" y="f17"/>
                </a:lnTo>
                <a:lnTo>
                  <a:pt x="f18" y="f19"/>
                </a:lnTo>
                <a:lnTo>
                  <a:pt x="f20" y="f21"/>
                </a:lnTo>
                <a:lnTo>
                  <a:pt x="f22" y="f23"/>
                </a:lnTo>
                <a:lnTo>
                  <a:pt x="f24" y="f25"/>
                </a:lnTo>
                <a:lnTo>
                  <a:pt x="f26" y="f27"/>
                </a:lnTo>
                <a:lnTo>
                  <a:pt x="f2" y="f28"/>
                </a:lnTo>
                <a:lnTo>
                  <a:pt x="f2" y="f29"/>
                </a:lnTo>
                <a:lnTo>
                  <a:pt x="f30" y="f29"/>
                </a:lnTo>
                <a:lnTo>
                  <a:pt x="f31" y="f32"/>
                </a:lnTo>
                <a:lnTo>
                  <a:pt x="f33" y="f34"/>
                </a:lnTo>
                <a:lnTo>
                  <a:pt x="f35" y="f36"/>
                </a:lnTo>
                <a:lnTo>
                  <a:pt x="f37" y="f38"/>
                </a:lnTo>
                <a:lnTo>
                  <a:pt x="f39" y="f40"/>
                </a:lnTo>
                <a:lnTo>
                  <a:pt x="f41" y="f42"/>
                </a:lnTo>
                <a:lnTo>
                  <a:pt x="f43" y="f44"/>
                </a:lnTo>
                <a:lnTo>
                  <a:pt x="f45" y="f46"/>
                </a:lnTo>
                <a:lnTo>
                  <a:pt x="f47" y="f48"/>
                </a:lnTo>
                <a:lnTo>
                  <a:pt x="f49" y="f50"/>
                </a:lnTo>
                <a:lnTo>
                  <a:pt x="f51" y="f52"/>
                </a:lnTo>
                <a:lnTo>
                  <a:pt x="f53" y="f54"/>
                </a:lnTo>
                <a:lnTo>
                  <a:pt x="f55" y="f56"/>
                </a:lnTo>
                <a:lnTo>
                  <a:pt x="f57" y="f58"/>
                </a:lnTo>
                <a:lnTo>
                  <a:pt x="f59" y="f60"/>
                </a:lnTo>
                <a:lnTo>
                  <a:pt x="f61" y="f62"/>
                </a:lnTo>
                <a:lnTo>
                  <a:pt x="f63" y="f64"/>
                </a:lnTo>
                <a:lnTo>
                  <a:pt x="f65" y="f66"/>
                </a:lnTo>
                <a:lnTo>
                  <a:pt x="f67" y="f68"/>
                </a:lnTo>
                <a:lnTo>
                  <a:pt x="f69" y="f70"/>
                </a:lnTo>
                <a:lnTo>
                  <a:pt x="f71" y="f72"/>
                </a:lnTo>
                <a:lnTo>
                  <a:pt x="f73" y="f74"/>
                </a:lnTo>
                <a:lnTo>
                  <a:pt x="f75" y="f76"/>
                </a:lnTo>
                <a:lnTo>
                  <a:pt x="f77" y="f78"/>
                </a:lnTo>
                <a:lnTo>
                  <a:pt x="f79" y="f80"/>
                </a:lnTo>
                <a:lnTo>
                  <a:pt x="f81" y="f82"/>
                </a:lnTo>
                <a:lnTo>
                  <a:pt x="f83" y="f84"/>
                </a:lnTo>
                <a:lnTo>
                  <a:pt x="f85" y="f86"/>
                </a:lnTo>
                <a:lnTo>
                  <a:pt x="f87" y="f88"/>
                </a:lnTo>
                <a:lnTo>
                  <a:pt x="f89" y="f90"/>
                </a:lnTo>
                <a:lnTo>
                  <a:pt x="f91" y="f92"/>
                </a:lnTo>
                <a:lnTo>
                  <a:pt x="f93" y="f94"/>
                </a:lnTo>
                <a:lnTo>
                  <a:pt x="f95" y="f96"/>
                </a:lnTo>
                <a:lnTo>
                  <a:pt x="f97" y="f98"/>
                </a:lnTo>
                <a:lnTo>
                  <a:pt x="f99" y="f100"/>
                </a:lnTo>
                <a:lnTo>
                  <a:pt x="f101" y="f102"/>
                </a:lnTo>
                <a:lnTo>
                  <a:pt x="f103" y="f104"/>
                </a:lnTo>
                <a:lnTo>
                  <a:pt x="f105" y="f106"/>
                </a:lnTo>
                <a:lnTo>
                  <a:pt x="f107" y="f108"/>
                </a:lnTo>
                <a:lnTo>
                  <a:pt x="f109" y="f110"/>
                </a:lnTo>
                <a:lnTo>
                  <a:pt x="f111" y="f112"/>
                </a:lnTo>
                <a:lnTo>
                  <a:pt x="f113" y="f114"/>
                </a:lnTo>
                <a:lnTo>
                  <a:pt x="f115" y="f116"/>
                </a:lnTo>
                <a:lnTo>
                  <a:pt x="f117" y="f118"/>
                </a:lnTo>
                <a:lnTo>
                  <a:pt x="f119" y="f120"/>
                </a:lnTo>
                <a:lnTo>
                  <a:pt x="f121" y="f122"/>
                </a:lnTo>
                <a:lnTo>
                  <a:pt x="f123" y="f124"/>
                </a:lnTo>
                <a:lnTo>
                  <a:pt x="f125" y="f126"/>
                </a:lnTo>
                <a:lnTo>
                  <a:pt x="f127" y="f128"/>
                </a:lnTo>
                <a:lnTo>
                  <a:pt x="f129" y="f130"/>
                </a:lnTo>
                <a:lnTo>
                  <a:pt x="f131" y="f132"/>
                </a:lnTo>
                <a:lnTo>
                  <a:pt x="f133" y="f134"/>
                </a:lnTo>
                <a:lnTo>
                  <a:pt x="f135" y="f136"/>
                </a:lnTo>
                <a:lnTo>
                  <a:pt x="f137" y="f138"/>
                </a:lnTo>
                <a:lnTo>
                  <a:pt x="f139" y="f140"/>
                </a:lnTo>
                <a:lnTo>
                  <a:pt x="f141" y="f142"/>
                </a:lnTo>
                <a:lnTo>
                  <a:pt x="f143" y="f144"/>
                </a:lnTo>
                <a:lnTo>
                  <a:pt x="f5" y="f6"/>
                </a:lnTo>
                <a:close/>
              </a:path>
            </a:pathLst>
          </a:custGeom>
          <a:solidFill>
            <a:srgbClr val="FFFFFF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444C55"/>
              </a:solidFill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4" name="Google Shape;960;p92">
            <a:extLst>
              <a:ext uri="{FF2B5EF4-FFF2-40B4-BE49-F238E27FC236}">
                <a16:creationId xmlns:a16="http://schemas.microsoft.com/office/drawing/2014/main" id="{A3A5C3FC-6955-39CE-D834-DA79D735AA1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0" y="5041901"/>
            <a:ext cx="12191996" cy="181609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5" name="Google Shape;961;p92">
            <a:extLst>
              <a:ext uri="{FF2B5EF4-FFF2-40B4-BE49-F238E27FC236}">
                <a16:creationId xmlns:a16="http://schemas.microsoft.com/office/drawing/2014/main" id="{08364557-54C4-A850-2A09-91FD9083A879}"/>
              </a:ext>
            </a:extLst>
          </p:cNvPr>
          <p:cNvSpPr/>
          <p:nvPr/>
        </p:nvSpPr>
        <p:spPr>
          <a:xfrm>
            <a:off x="0" y="5020056"/>
            <a:ext cx="12191996" cy="1838328"/>
          </a:xfrm>
          <a:custGeom>
            <a:avLst/>
            <a:gdLst>
              <a:gd name="f0" fmla="val w"/>
              <a:gd name="f1" fmla="val h"/>
              <a:gd name="f2" fmla="val 0"/>
              <a:gd name="f3" fmla="val 12192000"/>
              <a:gd name="f4" fmla="val 1838325"/>
              <a:gd name="f5" fmla="val 682693"/>
              <a:gd name="f6" fmla="val 631977"/>
              <a:gd name="f7" fmla="val 191"/>
              <a:gd name="f8" fmla="val 584149"/>
              <a:gd name="f9" fmla="val 737"/>
              <a:gd name="f10" fmla="val 536385"/>
              <a:gd name="f11" fmla="val 1641"/>
              <a:gd name="f12" fmla="val 488688"/>
              <a:gd name="f13" fmla="val 2908"/>
              <a:gd name="f14" fmla="val 441056"/>
              <a:gd name="f15" fmla="val 4541"/>
              <a:gd name="f16" fmla="val 393493"/>
              <a:gd name="f17" fmla="val 6547"/>
              <a:gd name="f18" fmla="val 345998"/>
              <a:gd name="f19" fmla="val 8929"/>
              <a:gd name="f20" fmla="val 38164"/>
              <a:gd name="f21" fmla="val 105627"/>
              <a:gd name="f22" fmla="val 50435"/>
              <a:gd name="f23" fmla="val 101057"/>
              <a:gd name="f24" fmla="val 98761"/>
              <a:gd name="f25" fmla="val 97184"/>
              <a:gd name="f26" fmla="val 147175"/>
              <a:gd name="f27" fmla="val 93724"/>
              <a:gd name="f28" fmla="val 195680"/>
              <a:gd name="f29" fmla="val 90672"/>
              <a:gd name="f30" fmla="val 244280"/>
              <a:gd name="f31" fmla="val 88022"/>
              <a:gd name="f32" fmla="val 292975"/>
              <a:gd name="f33" fmla="val 85770"/>
              <a:gd name="f34" fmla="val 341769"/>
              <a:gd name="f35" fmla="val 83910"/>
              <a:gd name="f36" fmla="val 394500"/>
              <a:gd name="f37" fmla="val 82318"/>
              <a:gd name="f38" fmla="val 447099"/>
              <a:gd name="f39" fmla="val 81134"/>
              <a:gd name="f40" fmla="val 499569"/>
              <a:gd name="f41" fmla="val 80355"/>
              <a:gd name="f42" fmla="val 551910"/>
              <a:gd name="f43" fmla="val 79975"/>
              <a:gd name="f44" fmla="val 604123"/>
              <a:gd name="f45" fmla="val 79990"/>
              <a:gd name="f46" fmla="val 656210"/>
              <a:gd name="f47" fmla="val 80395"/>
              <a:gd name="f48" fmla="val 708172"/>
              <a:gd name="f49" fmla="val 81187"/>
              <a:gd name="f50" fmla="val 760009"/>
              <a:gd name="f51" fmla="val 82360"/>
              <a:gd name="f52" fmla="val 811723"/>
              <a:gd name="f53" fmla="val 83909"/>
              <a:gd name="f54" fmla="val 863315"/>
              <a:gd name="f55" fmla="val 85830"/>
              <a:gd name="f56" fmla="val 914785"/>
              <a:gd name="f57" fmla="val 88119"/>
              <a:gd name="f58" fmla="val 966136"/>
              <a:gd name="f59" fmla="val 90771"/>
              <a:gd name="f60" fmla="val 1017368"/>
              <a:gd name="f61" fmla="val 93782"/>
              <a:gd name="f62" fmla="val 1068481"/>
              <a:gd name="f63" fmla="val 97146"/>
              <a:gd name="f64" fmla="val 1119478"/>
              <a:gd name="f65" fmla="val 100859"/>
              <a:gd name="f66" fmla="val 1170360"/>
              <a:gd name="f67" fmla="val 104917"/>
              <a:gd name="f68" fmla="val 1221127"/>
              <a:gd name="f69" fmla="val 109315"/>
              <a:gd name="f70" fmla="val 1271780"/>
              <a:gd name="f71" fmla="val 114049"/>
              <a:gd name="f72" fmla="val 1322321"/>
              <a:gd name="f73" fmla="val 119113"/>
              <a:gd name="f74" fmla="val 1372750"/>
              <a:gd name="f75" fmla="val 124504"/>
              <a:gd name="f76" fmla="val 1423070"/>
              <a:gd name="f77" fmla="val 130217"/>
              <a:gd name="f78" fmla="val 1473280"/>
              <a:gd name="f79" fmla="val 136247"/>
              <a:gd name="f80" fmla="val 1523382"/>
              <a:gd name="f81" fmla="val 142589"/>
              <a:gd name="f82" fmla="val 1573377"/>
              <a:gd name="f83" fmla="val 149239"/>
              <a:gd name="f84" fmla="val 1623266"/>
              <a:gd name="f85" fmla="val 156193"/>
              <a:gd name="f86" fmla="val 1673051"/>
              <a:gd name="f87" fmla="val 163446"/>
              <a:gd name="f88" fmla="val 1722731"/>
              <a:gd name="f89" fmla="val 170993"/>
              <a:gd name="f90" fmla="val 1772309"/>
              <a:gd name="f91" fmla="val 178830"/>
              <a:gd name="f92" fmla="val 1821786"/>
              <a:gd name="f93" fmla="val 186951"/>
              <a:gd name="f94" fmla="val 1871162"/>
              <a:gd name="f95" fmla="val 195354"/>
              <a:gd name="f96" fmla="val 1920438"/>
              <a:gd name="f97" fmla="val 204032"/>
              <a:gd name="f98" fmla="val 1969617"/>
              <a:gd name="f99" fmla="val 212982"/>
              <a:gd name="f100" fmla="val 2018698"/>
              <a:gd name="f101" fmla="val 222199"/>
              <a:gd name="f102" fmla="val 2067683"/>
              <a:gd name="f103" fmla="val 231677"/>
              <a:gd name="f104" fmla="val 2116573"/>
              <a:gd name="f105" fmla="val 241414"/>
              <a:gd name="f106" fmla="val 2165369"/>
              <a:gd name="f107" fmla="val 251404"/>
              <a:gd name="f108" fmla="val 2214072"/>
              <a:gd name="f109" fmla="val 261642"/>
              <a:gd name="f110" fmla="val 2262683"/>
              <a:gd name="f111" fmla="val 272124"/>
              <a:gd name="f112" fmla="val 2359634"/>
              <a:gd name="f113" fmla="val 293801"/>
              <a:gd name="f114" fmla="val 2456232"/>
              <a:gd name="f115" fmla="val 316400"/>
              <a:gd name="f116" fmla="val 2552484"/>
              <a:gd name="f117" fmla="val 339883"/>
              <a:gd name="f118" fmla="val 2648399"/>
              <a:gd name="f119" fmla="val 364213"/>
              <a:gd name="f120" fmla="val 2743986"/>
              <a:gd name="f121" fmla="val 389354"/>
              <a:gd name="f122" fmla="val 2839253"/>
              <a:gd name="f123" fmla="val 415270"/>
              <a:gd name="f124" fmla="val 2934210"/>
              <a:gd name="f125" fmla="val 441923"/>
              <a:gd name="f126" fmla="val 3028865"/>
              <a:gd name="f127" fmla="val 469277"/>
              <a:gd name="f128" fmla="val 3123226"/>
              <a:gd name="f129" fmla="val 497296"/>
              <a:gd name="f130" fmla="val 3217303"/>
              <a:gd name="f131" fmla="val 525943"/>
              <a:gd name="f132" fmla="val 3311104"/>
              <a:gd name="f133" fmla="val 555181"/>
              <a:gd name="f134" fmla="val 3404637"/>
              <a:gd name="f135" fmla="val 584973"/>
              <a:gd name="f136" fmla="val 3497912"/>
              <a:gd name="f137" fmla="val 615284"/>
              <a:gd name="f138" fmla="val 3590937"/>
              <a:gd name="f139" fmla="val 646075"/>
              <a:gd name="f140" fmla="val 3791774"/>
              <a:gd name="f141" fmla="val 713748"/>
              <a:gd name="f142" fmla="val 4040254"/>
              <a:gd name="f143" fmla="val 799025"/>
              <a:gd name="f144" fmla="val 4334988"/>
              <a:gd name="f145" fmla="val 901968"/>
              <a:gd name="f146" fmla="val 5625866"/>
              <a:gd name="f147" fmla="val 1359840"/>
              <a:gd name="f148" fmla="val 5907371"/>
              <a:gd name="f149" fmla="val 1457295"/>
              <a:gd name="f150" fmla="val 6094441"/>
              <a:gd name="f151" fmla="val 1520802"/>
              <a:gd name="f152" fmla="val 6281177"/>
              <a:gd name="f153" fmla="val 1582959"/>
              <a:gd name="f154" fmla="val 6421085"/>
              <a:gd name="f155" fmla="val 1628599"/>
              <a:gd name="f156" fmla="val 6560929"/>
              <a:gd name="f157" fmla="val 1673327"/>
              <a:gd name="f158" fmla="val 6700761"/>
              <a:gd name="f159" fmla="val 1717079"/>
              <a:gd name="f160" fmla="val 7111365"/>
              <a:gd name="f161" fmla="val 1837945"/>
              <a:gd name="f162" fmla="val 1008838"/>
              <a:gd name="f163" fmla="val 12147976"/>
              <a:gd name="f164" fmla="val 1027873"/>
              <a:gd name="f165" fmla="val 12103695"/>
              <a:gd name="f166" fmla="val 1046580"/>
              <a:gd name="f167" fmla="val 12059162"/>
              <a:gd name="f168" fmla="val 1064960"/>
              <a:gd name="f169" fmla="val 12014382"/>
              <a:gd name="f170" fmla="val 1083015"/>
              <a:gd name="f171" fmla="val 11969360"/>
              <a:gd name="f172" fmla="val 1100744"/>
              <a:gd name="f173" fmla="val 11924100"/>
              <a:gd name="f174" fmla="val 1118147"/>
              <a:gd name="f175" fmla="val 11878609"/>
              <a:gd name="f176" fmla="val 1135227"/>
              <a:gd name="f177" fmla="val 11832891"/>
              <a:gd name="f178" fmla="val 1151982"/>
              <a:gd name="f179" fmla="val 11786951"/>
              <a:gd name="f180" fmla="val 1168414"/>
              <a:gd name="f181" fmla="val 11740793"/>
              <a:gd name="f182" fmla="val 1184523"/>
              <a:gd name="f183" fmla="val 11694424"/>
              <a:gd name="f184" fmla="val 1200309"/>
              <a:gd name="f185" fmla="val 11647847"/>
              <a:gd name="f186" fmla="val 1215774"/>
              <a:gd name="f187" fmla="val 11601068"/>
              <a:gd name="f188" fmla="val 1230917"/>
              <a:gd name="f189" fmla="val 11554093"/>
              <a:gd name="f190" fmla="val 1245740"/>
              <a:gd name="f191" fmla="val 11506925"/>
              <a:gd name="f192" fmla="val 1260242"/>
              <a:gd name="f193" fmla="val 11459569"/>
              <a:gd name="f194" fmla="val 1274425"/>
              <a:gd name="f195" fmla="val 11412032"/>
              <a:gd name="f196" fmla="val 1288288"/>
              <a:gd name="f197" fmla="val 11364318"/>
              <a:gd name="f198" fmla="val 1301833"/>
              <a:gd name="f199" fmla="val 11316431"/>
              <a:gd name="f200" fmla="val 1315060"/>
              <a:gd name="f201" fmla="val 11268377"/>
              <a:gd name="f202" fmla="val 1327969"/>
              <a:gd name="f203" fmla="val 11220161"/>
              <a:gd name="f204" fmla="val 1340561"/>
              <a:gd name="f205" fmla="val 11171788"/>
              <a:gd name="f206" fmla="val 1352836"/>
              <a:gd name="f207" fmla="val 11123263"/>
              <a:gd name="f208" fmla="val 1364796"/>
              <a:gd name="f209" fmla="val 11074590"/>
              <a:gd name="f210" fmla="val 1376440"/>
              <a:gd name="f211" fmla="val 11025776"/>
              <a:gd name="f212" fmla="val 1387769"/>
              <a:gd name="f213" fmla="val 10976824"/>
              <a:gd name="f214" fmla="val 1398783"/>
              <a:gd name="f215" fmla="val 10927740"/>
              <a:gd name="f216" fmla="val 1409484"/>
              <a:gd name="f217" fmla="val 10878528"/>
              <a:gd name="f218" fmla="val 1419872"/>
              <a:gd name="f219" fmla="val 10829194"/>
              <a:gd name="f220" fmla="val 1429946"/>
              <a:gd name="f221" fmla="val 10779744"/>
              <a:gd name="f222" fmla="val 1439709"/>
              <a:gd name="f223" fmla="val 10730180"/>
              <a:gd name="f224" fmla="val 1449159"/>
              <a:gd name="f225" fmla="val 10680510"/>
              <a:gd name="f226" fmla="val 1458299"/>
              <a:gd name="f227" fmla="val 10630737"/>
              <a:gd name="f228" fmla="val 1467128"/>
              <a:gd name="f229" fmla="val 10580867"/>
              <a:gd name="f230" fmla="val 1475646"/>
              <a:gd name="f231" fmla="val 10530905"/>
              <a:gd name="f232" fmla="val 1483856"/>
              <a:gd name="f233" fmla="val 10480855"/>
              <a:gd name="f234" fmla="val 1491756"/>
              <a:gd name="f235" fmla="val 10430723"/>
              <a:gd name="f236" fmla="val 1499347"/>
              <a:gd name="f237" fmla="val 10380514"/>
              <a:gd name="f238" fmla="val 1506631"/>
              <a:gd name="f239" fmla="val 10330232"/>
              <a:gd name="f240" fmla="val 1513607"/>
              <a:gd name="f241" fmla="val 10279883"/>
              <a:gd name="f242" fmla="val 1520276"/>
              <a:gd name="f243" fmla="val 10229472"/>
              <a:gd name="f244" fmla="val 1526638"/>
              <a:gd name="f245" fmla="val 10179004"/>
              <a:gd name="f246" fmla="val 1532695"/>
              <a:gd name="f247" fmla="val 10128483"/>
              <a:gd name="f248" fmla="val 1538447"/>
              <a:gd name="f249" fmla="val 10077914"/>
              <a:gd name="f250" fmla="val 1543893"/>
              <a:gd name="f251" fmla="val 10027304"/>
              <a:gd name="f252" fmla="val 1549036"/>
              <a:gd name="f253" fmla="val 9976655"/>
              <a:gd name="f254" fmla="val 1553875"/>
              <a:gd name="f255" fmla="val 9925975"/>
              <a:gd name="f256" fmla="val 1558410"/>
              <a:gd name="f257" fmla="val 9875267"/>
              <a:gd name="f258" fmla="val 1562643"/>
              <a:gd name="f259" fmla="val 9824537"/>
              <a:gd name="f260" fmla="val 1566574"/>
              <a:gd name="f261" fmla="val 9773789"/>
              <a:gd name="f262" fmla="val 1570203"/>
              <a:gd name="f263" fmla="val 9723029"/>
              <a:gd name="f264" fmla="val 1573531"/>
              <a:gd name="f265" fmla="val 9672261"/>
              <a:gd name="f266" fmla="val 1576558"/>
              <a:gd name="f267" fmla="val 9621491"/>
              <a:gd name="f268" fmla="val 1579285"/>
              <a:gd name="f269" fmla="val 9570724"/>
              <a:gd name="f270" fmla="val 1581713"/>
              <a:gd name="f271" fmla="val 9519964"/>
              <a:gd name="f272" fmla="val 1583842"/>
              <a:gd name="f273" fmla="val 9469216"/>
              <a:gd name="f274" fmla="val 1585673"/>
              <a:gd name="f275" fmla="val 9418487"/>
              <a:gd name="f276" fmla="val 1587206"/>
              <a:gd name="f277" fmla="val 9367779"/>
              <a:gd name="f278" fmla="val 1588441"/>
              <a:gd name="f279" fmla="val 9317099"/>
              <a:gd name="f280" fmla="val 1589380"/>
              <a:gd name="f281" fmla="val 9266452"/>
              <a:gd name="f282" fmla="val 1590022"/>
              <a:gd name="f283" fmla="val 9215842"/>
              <a:gd name="f284" fmla="val 1590369"/>
              <a:gd name="f285" fmla="val 9165275"/>
              <a:gd name="f286" fmla="val 1590420"/>
              <a:gd name="f287" fmla="val 9114755"/>
              <a:gd name="f288" fmla="val 1590177"/>
              <a:gd name="f289" fmla="val 9064287"/>
              <a:gd name="f290" fmla="val 1589639"/>
              <a:gd name="f291" fmla="val 9013877"/>
              <a:gd name="f292" fmla="val 1588808"/>
              <a:gd name="f293" fmla="val 8963530"/>
              <a:gd name="f294" fmla="val 1587684"/>
              <a:gd name="f295" fmla="val 8913250"/>
              <a:gd name="f296" fmla="val 1586267"/>
              <a:gd name="f297" fmla="val 8863042"/>
              <a:gd name="f298" fmla="val 1584559"/>
              <a:gd name="f299" fmla="val 8812912"/>
              <a:gd name="f300" fmla="val 1582559"/>
              <a:gd name="f301" fmla="val 8762864"/>
              <a:gd name="f302" fmla="val 1580267"/>
              <a:gd name="f303" fmla="val 8712904"/>
              <a:gd name="f304" fmla="val 1577686"/>
              <a:gd name="f305" fmla="val 8663036"/>
              <a:gd name="f306" fmla="val 1574814"/>
              <a:gd name="f307" fmla="val 8613265"/>
              <a:gd name="f308" fmla="val 1571654"/>
              <a:gd name="f309" fmla="val 8563597"/>
              <a:gd name="f310" fmla="val 1568204"/>
              <a:gd name="f311" fmla="val 8514036"/>
              <a:gd name="f312" fmla="val 1564466"/>
              <a:gd name="f313" fmla="val 8464588"/>
              <a:gd name="f314" fmla="val 1560440"/>
              <a:gd name="f315" fmla="val 8415256"/>
              <a:gd name="f316" fmla="val 1556128"/>
              <a:gd name="f317" fmla="val 8366048"/>
              <a:gd name="f318" fmla="val 1551528"/>
              <a:gd name="f319" fmla="val 8316966"/>
              <a:gd name="f320" fmla="val 1546642"/>
              <a:gd name="f321" fmla="val 8268017"/>
              <a:gd name="f322" fmla="val 1541471"/>
              <a:gd name="f323" fmla="val 8219205"/>
              <a:gd name="f324" fmla="val 1536015"/>
              <a:gd name="f325" fmla="val 8170536"/>
              <a:gd name="f326" fmla="val 1530274"/>
              <a:gd name="f327" fmla="val 8122014"/>
              <a:gd name="f328" fmla="val 1524249"/>
              <a:gd name="f329" fmla="val 8073644"/>
              <a:gd name="f330" fmla="val 1517940"/>
              <a:gd name="f331" fmla="val 8025431"/>
              <a:gd name="f332" fmla="val 1511349"/>
              <a:gd name="f333" fmla="val 7977381"/>
              <a:gd name="f334" fmla="val 1504475"/>
              <a:gd name="f335" fmla="val 7929498"/>
              <a:gd name="f336" fmla="val 1497319"/>
              <a:gd name="f337" fmla="val 7881788"/>
              <a:gd name="f338" fmla="val 1489882"/>
              <a:gd name="f339" fmla="val 7834254"/>
              <a:gd name="f340" fmla="val 1482164"/>
              <a:gd name="f341" fmla="val 7786903"/>
              <a:gd name="f342" fmla="val 1474166"/>
              <a:gd name="f343" fmla="val 7738126"/>
              <a:gd name="f344" fmla="val 1465660"/>
              <a:gd name="f345" fmla="val 7640491"/>
              <a:gd name="f346" fmla="val 1448021"/>
              <a:gd name="f347" fmla="val 7542751"/>
              <a:gd name="f348" fmla="val 1429573"/>
              <a:gd name="f349" fmla="val 7444910"/>
              <a:gd name="f350" fmla="val 1410348"/>
              <a:gd name="f351" fmla="val 7346973"/>
              <a:gd name="f352" fmla="val 1390379"/>
              <a:gd name="f353" fmla="val 7248943"/>
              <a:gd name="f354" fmla="val 1369697"/>
              <a:gd name="f355" fmla="val 7150826"/>
              <a:gd name="f356" fmla="val 1348335"/>
              <a:gd name="f357" fmla="val 7052624"/>
              <a:gd name="f358" fmla="val 1326325"/>
              <a:gd name="f359" fmla="val 6954344"/>
              <a:gd name="f360" fmla="val 1303699"/>
              <a:gd name="f361" fmla="val 6855988"/>
              <a:gd name="f362" fmla="val 1280488"/>
              <a:gd name="f363" fmla="val 6757561"/>
              <a:gd name="f364" fmla="val 1256726"/>
              <a:gd name="f365" fmla="val 6609797"/>
              <a:gd name="f366" fmla="val 1220118"/>
              <a:gd name="f367" fmla="val 6461898"/>
              <a:gd name="f368" fmla="val 1182449"/>
              <a:gd name="f369" fmla="val 6313878"/>
              <a:gd name="f370" fmla="val 1143828"/>
              <a:gd name="f371" fmla="val 6116354"/>
              <a:gd name="f372" fmla="val 1091037"/>
              <a:gd name="f373" fmla="val 5918674"/>
              <a:gd name="f374" fmla="val 1037003"/>
              <a:gd name="f375" fmla="val 5671408"/>
              <a:gd name="f376" fmla="val 968101"/>
              <a:gd name="f377" fmla="val 4632326"/>
              <a:gd name="f378" fmla="val 673191"/>
              <a:gd name="f379" fmla="val 4335739"/>
              <a:gd name="f380" fmla="val 590761"/>
              <a:gd name="f381" fmla="val 4138197"/>
              <a:gd name="f382" fmla="val 537088"/>
              <a:gd name="f383" fmla="val 3940841"/>
              <a:gd name="f384" fmla="val 484740"/>
              <a:gd name="f385" fmla="val 3792966"/>
              <a:gd name="f386" fmla="val 446503"/>
              <a:gd name="f387" fmla="val 3645230"/>
              <a:gd name="f388" fmla="val 409263"/>
              <a:gd name="f389" fmla="val 3497647"/>
              <a:gd name="f390" fmla="val 373130"/>
              <a:gd name="f391" fmla="val 3399350"/>
              <a:gd name="f392" fmla="val 349710"/>
              <a:gd name="f393" fmla="val 3301131"/>
              <a:gd name="f394" fmla="val 326862"/>
              <a:gd name="f395" fmla="val 3202995"/>
              <a:gd name="f396" fmla="val 304617"/>
              <a:gd name="f397" fmla="val 3104947"/>
              <a:gd name="f398" fmla="val 283009"/>
              <a:gd name="f399" fmla="val 3006989"/>
              <a:gd name="f400" fmla="val 262069"/>
              <a:gd name="f401" fmla="val 2909128"/>
              <a:gd name="f402" fmla="val 241830"/>
              <a:gd name="f403" fmla="val 2811366"/>
              <a:gd name="f404" fmla="val 222323"/>
              <a:gd name="f405" fmla="val 2713708"/>
              <a:gd name="f406" fmla="val 203581"/>
              <a:gd name="f407" fmla="val 2616159"/>
              <a:gd name="f408" fmla="val 185635"/>
              <a:gd name="f409" fmla="val 2518722"/>
              <a:gd name="f410" fmla="val 168518"/>
              <a:gd name="f411" fmla="val 2421402"/>
              <a:gd name="f412" fmla="val 152263"/>
              <a:gd name="f413" fmla="val 2324204"/>
              <a:gd name="f414" fmla="val 136900"/>
              <a:gd name="f415" fmla="val 2227131"/>
              <a:gd name="f416" fmla="val 122463"/>
              <a:gd name="f417" fmla="val 2130188"/>
              <a:gd name="f418" fmla="val 108983"/>
              <a:gd name="f419" fmla="val 2033378"/>
              <a:gd name="f420" fmla="val 96492"/>
              <a:gd name="f421" fmla="val 1936708"/>
              <a:gd name="f422" fmla="val 85023"/>
              <a:gd name="f423" fmla="val 1888425"/>
              <a:gd name="f424" fmla="val 79682"/>
              <a:gd name="f425" fmla="val 1840179"/>
              <a:gd name="f426" fmla="val 74608"/>
              <a:gd name="f427" fmla="val 1791970"/>
              <a:gd name="f428" fmla="val 69805"/>
              <a:gd name="f429" fmla="val 1743798"/>
              <a:gd name="f430" fmla="val 65278"/>
              <a:gd name="f431" fmla="val 1695663"/>
              <a:gd name="f432" fmla="val 61030"/>
              <a:gd name="f433" fmla="val 1647567"/>
              <a:gd name="f434" fmla="val 57066"/>
              <a:gd name="f435" fmla="val 1599510"/>
              <a:gd name="f436" fmla="val 53390"/>
              <a:gd name="f437" fmla="val 1551492"/>
              <a:gd name="f438" fmla="val 50004"/>
              <a:gd name="f439" fmla="val 1503514"/>
              <a:gd name="f440" fmla="val 46915"/>
              <a:gd name="f441" fmla="val 1451727"/>
              <a:gd name="f442" fmla="val 41426"/>
              <a:gd name="f443" fmla="val 1400000"/>
              <a:gd name="f444" fmla="val 36255"/>
              <a:gd name="f445" fmla="val 1348336"/>
              <a:gd name="f446" fmla="val 31407"/>
              <a:gd name="f447" fmla="val 1296735"/>
              <a:gd name="f448" fmla="val 26886"/>
              <a:gd name="f449" fmla="val 1245197"/>
              <a:gd name="f450" fmla="val 22697"/>
              <a:gd name="f451" fmla="val 1193723"/>
              <a:gd name="f452" fmla="val 18846"/>
              <a:gd name="f453" fmla="val 1142315"/>
              <a:gd name="f454" fmla="val 15337"/>
              <a:gd name="f455" fmla="val 1090973"/>
              <a:gd name="f456" fmla="val 12176"/>
              <a:gd name="f457" fmla="val 1039697"/>
              <a:gd name="f458" fmla="val 9368"/>
              <a:gd name="f459" fmla="val 988488"/>
              <a:gd name="f460" fmla="val 6917"/>
              <a:gd name="f461" fmla="val 937348"/>
              <a:gd name="f462" fmla="val 4828"/>
              <a:gd name="f463" fmla="val 886276"/>
              <a:gd name="f464" fmla="val 3107"/>
              <a:gd name="f465" fmla="val 835274"/>
              <a:gd name="f466" fmla="val 1759"/>
              <a:gd name="f467" fmla="val 784343"/>
              <a:gd name="f468" fmla="val 788"/>
              <a:gd name="f469" fmla="val 733482"/>
              <a:gd name="f470" fmla="val 200"/>
              <a:gd name="f471" fmla="*/ f0 1 12192000"/>
              <a:gd name="f472" fmla="*/ f1 1 1838325"/>
              <a:gd name="f473" fmla="+- f4 0 f2"/>
              <a:gd name="f474" fmla="+- f3 0 f2"/>
              <a:gd name="f475" fmla="*/ f474 1 12192000"/>
              <a:gd name="f476" fmla="*/ f473 1 1838325"/>
              <a:gd name="f477" fmla="*/ f2 1 f475"/>
              <a:gd name="f478" fmla="*/ f3 1 f475"/>
              <a:gd name="f479" fmla="*/ f2 1 f476"/>
              <a:gd name="f480" fmla="*/ f4 1 f476"/>
              <a:gd name="f481" fmla="*/ f477 f471 1"/>
              <a:gd name="f482" fmla="*/ f478 f471 1"/>
              <a:gd name="f483" fmla="*/ f480 f472 1"/>
              <a:gd name="f484" fmla="*/ f479 f472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481" t="f484" r="f482" b="f483"/>
            <a:pathLst>
              <a:path w="12192000" h="1838325">
                <a:moveTo>
                  <a:pt x="f5" y="f2"/>
                </a:moveTo>
                <a:lnTo>
                  <a:pt x="f6" y="f7"/>
                </a:lnTo>
                <a:lnTo>
                  <a:pt x="f8" y="f9"/>
                </a:lnTo>
                <a:lnTo>
                  <a:pt x="f10" y="f11"/>
                </a:lnTo>
                <a:lnTo>
                  <a:pt x="f12" y="f13"/>
                </a:lnTo>
                <a:lnTo>
                  <a:pt x="f14" y="f15"/>
                </a:lnTo>
                <a:lnTo>
                  <a:pt x="f16" y="f17"/>
                </a:lnTo>
                <a:lnTo>
                  <a:pt x="f18" y="f19"/>
                </a:lnTo>
                <a:lnTo>
                  <a:pt x="f2" y="f20"/>
                </a:lnTo>
                <a:lnTo>
                  <a:pt x="f2" y="f21"/>
                </a:lnTo>
                <a:lnTo>
                  <a:pt x="f22" y="f23"/>
                </a:lnTo>
                <a:lnTo>
                  <a:pt x="f24" y="f25"/>
                </a:lnTo>
                <a:lnTo>
                  <a:pt x="f26" y="f27"/>
                </a:lnTo>
                <a:lnTo>
                  <a:pt x="f28" y="f29"/>
                </a:lnTo>
                <a:lnTo>
                  <a:pt x="f30" y="f31"/>
                </a:lnTo>
                <a:lnTo>
                  <a:pt x="f32" y="f33"/>
                </a:lnTo>
                <a:lnTo>
                  <a:pt x="f34" y="f35"/>
                </a:lnTo>
                <a:lnTo>
                  <a:pt x="f36" y="f37"/>
                </a:lnTo>
                <a:lnTo>
                  <a:pt x="f38" y="f39"/>
                </a:lnTo>
                <a:lnTo>
                  <a:pt x="f40" y="f41"/>
                </a:lnTo>
                <a:lnTo>
                  <a:pt x="f42" y="f43"/>
                </a:lnTo>
                <a:lnTo>
                  <a:pt x="f44" y="f45"/>
                </a:lnTo>
                <a:lnTo>
                  <a:pt x="f46" y="f47"/>
                </a:lnTo>
                <a:lnTo>
                  <a:pt x="f48" y="f49"/>
                </a:lnTo>
                <a:lnTo>
                  <a:pt x="f50" y="f51"/>
                </a:lnTo>
                <a:lnTo>
                  <a:pt x="f52" y="f53"/>
                </a:lnTo>
                <a:lnTo>
                  <a:pt x="f54" y="f55"/>
                </a:lnTo>
                <a:lnTo>
                  <a:pt x="f56" y="f57"/>
                </a:lnTo>
                <a:lnTo>
                  <a:pt x="f58" y="f59"/>
                </a:lnTo>
                <a:lnTo>
                  <a:pt x="f60" y="f61"/>
                </a:lnTo>
                <a:lnTo>
                  <a:pt x="f62" y="f63"/>
                </a:lnTo>
                <a:lnTo>
                  <a:pt x="f64" y="f65"/>
                </a:lnTo>
                <a:lnTo>
                  <a:pt x="f66" y="f67"/>
                </a:lnTo>
                <a:lnTo>
                  <a:pt x="f68" y="f69"/>
                </a:lnTo>
                <a:lnTo>
                  <a:pt x="f70" y="f71"/>
                </a:lnTo>
                <a:lnTo>
                  <a:pt x="f72" y="f73"/>
                </a:lnTo>
                <a:lnTo>
                  <a:pt x="f74" y="f75"/>
                </a:lnTo>
                <a:lnTo>
                  <a:pt x="f76" y="f77"/>
                </a:lnTo>
                <a:lnTo>
                  <a:pt x="f78" y="f79"/>
                </a:lnTo>
                <a:lnTo>
                  <a:pt x="f80" y="f81"/>
                </a:lnTo>
                <a:lnTo>
                  <a:pt x="f82" y="f83"/>
                </a:lnTo>
                <a:lnTo>
                  <a:pt x="f84" y="f85"/>
                </a:lnTo>
                <a:lnTo>
                  <a:pt x="f86" y="f87"/>
                </a:lnTo>
                <a:lnTo>
                  <a:pt x="f88" y="f89"/>
                </a:lnTo>
                <a:lnTo>
                  <a:pt x="f90" y="f91"/>
                </a:lnTo>
                <a:lnTo>
                  <a:pt x="f92" y="f93"/>
                </a:lnTo>
                <a:lnTo>
                  <a:pt x="f94" y="f95"/>
                </a:lnTo>
                <a:lnTo>
                  <a:pt x="f96" y="f97"/>
                </a:lnTo>
                <a:lnTo>
                  <a:pt x="f98" y="f99"/>
                </a:lnTo>
                <a:lnTo>
                  <a:pt x="f100" y="f101"/>
                </a:lnTo>
                <a:lnTo>
                  <a:pt x="f102" y="f103"/>
                </a:lnTo>
                <a:lnTo>
                  <a:pt x="f104" y="f105"/>
                </a:lnTo>
                <a:lnTo>
                  <a:pt x="f106" y="f107"/>
                </a:lnTo>
                <a:lnTo>
                  <a:pt x="f108" y="f109"/>
                </a:lnTo>
                <a:lnTo>
                  <a:pt x="f110" y="f111"/>
                </a:lnTo>
                <a:lnTo>
                  <a:pt x="f112" y="f113"/>
                </a:lnTo>
                <a:lnTo>
                  <a:pt x="f114" y="f115"/>
                </a:lnTo>
                <a:lnTo>
                  <a:pt x="f116" y="f117"/>
                </a:lnTo>
                <a:lnTo>
                  <a:pt x="f118" y="f119"/>
                </a:lnTo>
                <a:lnTo>
                  <a:pt x="f120" y="f121"/>
                </a:lnTo>
                <a:lnTo>
                  <a:pt x="f122" y="f123"/>
                </a:lnTo>
                <a:lnTo>
                  <a:pt x="f124" y="f125"/>
                </a:lnTo>
                <a:lnTo>
                  <a:pt x="f126" y="f127"/>
                </a:lnTo>
                <a:lnTo>
                  <a:pt x="f128" y="f129"/>
                </a:lnTo>
                <a:lnTo>
                  <a:pt x="f130" y="f131"/>
                </a:lnTo>
                <a:lnTo>
                  <a:pt x="f132" y="f133"/>
                </a:lnTo>
                <a:lnTo>
                  <a:pt x="f134" y="f135"/>
                </a:lnTo>
                <a:lnTo>
                  <a:pt x="f136" y="f137"/>
                </a:lnTo>
                <a:lnTo>
                  <a:pt x="f138" y="f139"/>
                </a:lnTo>
                <a:lnTo>
                  <a:pt x="f140" y="f141"/>
                </a:lnTo>
                <a:lnTo>
                  <a:pt x="f142" y="f143"/>
                </a:lnTo>
                <a:lnTo>
                  <a:pt x="f144" y="f145"/>
                </a:lnTo>
                <a:lnTo>
                  <a:pt x="f146" y="f147"/>
                </a:lnTo>
                <a:lnTo>
                  <a:pt x="f148" y="f149"/>
                </a:lnTo>
                <a:lnTo>
                  <a:pt x="f150" y="f151"/>
                </a:lnTo>
                <a:lnTo>
                  <a:pt x="f152" y="f153"/>
                </a:lnTo>
                <a:lnTo>
                  <a:pt x="f154" y="f155"/>
                </a:lnTo>
                <a:lnTo>
                  <a:pt x="f156" y="f157"/>
                </a:lnTo>
                <a:lnTo>
                  <a:pt x="f158" y="f159"/>
                </a:lnTo>
                <a:lnTo>
                  <a:pt x="f160" y="f161"/>
                </a:lnTo>
                <a:lnTo>
                  <a:pt x="f3" y="f161"/>
                </a:lnTo>
                <a:lnTo>
                  <a:pt x="f3" y="f162"/>
                </a:lnTo>
                <a:lnTo>
                  <a:pt x="f163" y="f164"/>
                </a:lnTo>
                <a:lnTo>
                  <a:pt x="f165" y="f166"/>
                </a:lnTo>
                <a:lnTo>
                  <a:pt x="f167" y="f168"/>
                </a:lnTo>
                <a:lnTo>
                  <a:pt x="f169" y="f170"/>
                </a:lnTo>
                <a:lnTo>
                  <a:pt x="f171" y="f172"/>
                </a:lnTo>
                <a:lnTo>
                  <a:pt x="f173" y="f174"/>
                </a:lnTo>
                <a:lnTo>
                  <a:pt x="f175" y="f176"/>
                </a:lnTo>
                <a:lnTo>
                  <a:pt x="f177" y="f178"/>
                </a:lnTo>
                <a:lnTo>
                  <a:pt x="f179" y="f180"/>
                </a:lnTo>
                <a:lnTo>
                  <a:pt x="f181" y="f182"/>
                </a:lnTo>
                <a:lnTo>
                  <a:pt x="f183" y="f184"/>
                </a:lnTo>
                <a:lnTo>
                  <a:pt x="f185" y="f186"/>
                </a:lnTo>
                <a:lnTo>
                  <a:pt x="f187" y="f188"/>
                </a:lnTo>
                <a:lnTo>
                  <a:pt x="f189" y="f190"/>
                </a:lnTo>
                <a:lnTo>
                  <a:pt x="f191" y="f192"/>
                </a:lnTo>
                <a:lnTo>
                  <a:pt x="f193" y="f194"/>
                </a:lnTo>
                <a:lnTo>
                  <a:pt x="f195" y="f196"/>
                </a:lnTo>
                <a:lnTo>
                  <a:pt x="f197" y="f198"/>
                </a:lnTo>
                <a:lnTo>
                  <a:pt x="f199" y="f200"/>
                </a:lnTo>
                <a:lnTo>
                  <a:pt x="f201" y="f202"/>
                </a:lnTo>
                <a:lnTo>
                  <a:pt x="f203" y="f204"/>
                </a:lnTo>
                <a:lnTo>
                  <a:pt x="f205" y="f206"/>
                </a:lnTo>
                <a:lnTo>
                  <a:pt x="f207" y="f208"/>
                </a:lnTo>
                <a:lnTo>
                  <a:pt x="f209" y="f210"/>
                </a:lnTo>
                <a:lnTo>
                  <a:pt x="f211" y="f212"/>
                </a:lnTo>
                <a:lnTo>
                  <a:pt x="f213" y="f214"/>
                </a:lnTo>
                <a:lnTo>
                  <a:pt x="f215" y="f216"/>
                </a:lnTo>
                <a:lnTo>
                  <a:pt x="f217" y="f218"/>
                </a:lnTo>
                <a:lnTo>
                  <a:pt x="f219" y="f220"/>
                </a:lnTo>
                <a:lnTo>
                  <a:pt x="f221" y="f222"/>
                </a:lnTo>
                <a:lnTo>
                  <a:pt x="f223" y="f224"/>
                </a:lnTo>
                <a:lnTo>
                  <a:pt x="f225" y="f226"/>
                </a:lnTo>
                <a:lnTo>
                  <a:pt x="f227" y="f228"/>
                </a:lnTo>
                <a:lnTo>
                  <a:pt x="f229" y="f230"/>
                </a:lnTo>
                <a:lnTo>
                  <a:pt x="f231" y="f232"/>
                </a:lnTo>
                <a:lnTo>
                  <a:pt x="f233" y="f234"/>
                </a:lnTo>
                <a:lnTo>
                  <a:pt x="f235" y="f236"/>
                </a:lnTo>
                <a:lnTo>
                  <a:pt x="f237" y="f238"/>
                </a:lnTo>
                <a:lnTo>
                  <a:pt x="f239" y="f240"/>
                </a:lnTo>
                <a:lnTo>
                  <a:pt x="f241" y="f242"/>
                </a:lnTo>
                <a:lnTo>
                  <a:pt x="f243" y="f244"/>
                </a:lnTo>
                <a:lnTo>
                  <a:pt x="f245" y="f246"/>
                </a:lnTo>
                <a:lnTo>
                  <a:pt x="f247" y="f248"/>
                </a:lnTo>
                <a:lnTo>
                  <a:pt x="f249" y="f250"/>
                </a:lnTo>
                <a:lnTo>
                  <a:pt x="f251" y="f252"/>
                </a:lnTo>
                <a:lnTo>
                  <a:pt x="f253" y="f254"/>
                </a:lnTo>
                <a:lnTo>
                  <a:pt x="f255" y="f256"/>
                </a:lnTo>
                <a:lnTo>
                  <a:pt x="f257" y="f258"/>
                </a:lnTo>
                <a:lnTo>
                  <a:pt x="f259" y="f260"/>
                </a:lnTo>
                <a:lnTo>
                  <a:pt x="f261" y="f262"/>
                </a:lnTo>
                <a:lnTo>
                  <a:pt x="f263" y="f264"/>
                </a:lnTo>
                <a:lnTo>
                  <a:pt x="f265" y="f266"/>
                </a:lnTo>
                <a:lnTo>
                  <a:pt x="f267" y="f268"/>
                </a:lnTo>
                <a:lnTo>
                  <a:pt x="f269" y="f270"/>
                </a:lnTo>
                <a:lnTo>
                  <a:pt x="f271" y="f272"/>
                </a:lnTo>
                <a:lnTo>
                  <a:pt x="f273" y="f274"/>
                </a:lnTo>
                <a:lnTo>
                  <a:pt x="f275" y="f276"/>
                </a:lnTo>
                <a:lnTo>
                  <a:pt x="f277" y="f278"/>
                </a:lnTo>
                <a:lnTo>
                  <a:pt x="f279" y="f280"/>
                </a:lnTo>
                <a:lnTo>
                  <a:pt x="f281" y="f282"/>
                </a:lnTo>
                <a:lnTo>
                  <a:pt x="f283" y="f284"/>
                </a:lnTo>
                <a:lnTo>
                  <a:pt x="f285" y="f286"/>
                </a:lnTo>
                <a:lnTo>
                  <a:pt x="f287" y="f288"/>
                </a:lnTo>
                <a:lnTo>
                  <a:pt x="f289" y="f290"/>
                </a:lnTo>
                <a:lnTo>
                  <a:pt x="f291" y="f292"/>
                </a:lnTo>
                <a:lnTo>
                  <a:pt x="f293" y="f294"/>
                </a:lnTo>
                <a:lnTo>
                  <a:pt x="f295" y="f296"/>
                </a:lnTo>
                <a:lnTo>
                  <a:pt x="f297" y="f298"/>
                </a:lnTo>
                <a:lnTo>
                  <a:pt x="f299" y="f300"/>
                </a:lnTo>
                <a:lnTo>
                  <a:pt x="f301" y="f302"/>
                </a:lnTo>
                <a:lnTo>
                  <a:pt x="f303" y="f304"/>
                </a:lnTo>
                <a:lnTo>
                  <a:pt x="f305" y="f306"/>
                </a:lnTo>
                <a:lnTo>
                  <a:pt x="f307" y="f308"/>
                </a:lnTo>
                <a:lnTo>
                  <a:pt x="f309" y="f310"/>
                </a:lnTo>
                <a:lnTo>
                  <a:pt x="f311" y="f312"/>
                </a:lnTo>
                <a:lnTo>
                  <a:pt x="f313" y="f314"/>
                </a:lnTo>
                <a:lnTo>
                  <a:pt x="f315" y="f316"/>
                </a:lnTo>
                <a:lnTo>
                  <a:pt x="f317" y="f318"/>
                </a:lnTo>
                <a:lnTo>
                  <a:pt x="f319" y="f320"/>
                </a:lnTo>
                <a:lnTo>
                  <a:pt x="f321" y="f322"/>
                </a:lnTo>
                <a:lnTo>
                  <a:pt x="f323" y="f324"/>
                </a:lnTo>
                <a:lnTo>
                  <a:pt x="f325" y="f326"/>
                </a:lnTo>
                <a:lnTo>
                  <a:pt x="f327" y="f328"/>
                </a:lnTo>
                <a:lnTo>
                  <a:pt x="f329" y="f330"/>
                </a:lnTo>
                <a:lnTo>
                  <a:pt x="f331" y="f332"/>
                </a:lnTo>
                <a:lnTo>
                  <a:pt x="f333" y="f334"/>
                </a:lnTo>
                <a:lnTo>
                  <a:pt x="f335" y="f336"/>
                </a:lnTo>
                <a:lnTo>
                  <a:pt x="f337" y="f338"/>
                </a:lnTo>
                <a:lnTo>
                  <a:pt x="f339" y="f340"/>
                </a:lnTo>
                <a:lnTo>
                  <a:pt x="f341" y="f342"/>
                </a:lnTo>
                <a:lnTo>
                  <a:pt x="f343" y="f344"/>
                </a:lnTo>
                <a:lnTo>
                  <a:pt x="f345" y="f346"/>
                </a:lnTo>
                <a:lnTo>
                  <a:pt x="f347" y="f348"/>
                </a:lnTo>
                <a:lnTo>
                  <a:pt x="f349" y="f350"/>
                </a:lnTo>
                <a:lnTo>
                  <a:pt x="f351" y="f352"/>
                </a:lnTo>
                <a:lnTo>
                  <a:pt x="f353" y="f354"/>
                </a:lnTo>
                <a:lnTo>
                  <a:pt x="f355" y="f356"/>
                </a:lnTo>
                <a:lnTo>
                  <a:pt x="f357" y="f358"/>
                </a:lnTo>
                <a:lnTo>
                  <a:pt x="f359" y="f360"/>
                </a:lnTo>
                <a:lnTo>
                  <a:pt x="f361" y="f362"/>
                </a:lnTo>
                <a:lnTo>
                  <a:pt x="f363" y="f364"/>
                </a:lnTo>
                <a:lnTo>
                  <a:pt x="f365" y="f366"/>
                </a:lnTo>
                <a:lnTo>
                  <a:pt x="f367" y="f368"/>
                </a:lnTo>
                <a:lnTo>
                  <a:pt x="f369" y="f370"/>
                </a:lnTo>
                <a:lnTo>
                  <a:pt x="f371" y="f372"/>
                </a:lnTo>
                <a:lnTo>
                  <a:pt x="f373" y="f374"/>
                </a:lnTo>
                <a:lnTo>
                  <a:pt x="f375" y="f376"/>
                </a:lnTo>
                <a:lnTo>
                  <a:pt x="f377" y="f378"/>
                </a:lnTo>
                <a:lnTo>
                  <a:pt x="f379" y="f380"/>
                </a:lnTo>
                <a:lnTo>
                  <a:pt x="f381" y="f382"/>
                </a:lnTo>
                <a:lnTo>
                  <a:pt x="f383" y="f384"/>
                </a:lnTo>
                <a:lnTo>
                  <a:pt x="f385" y="f386"/>
                </a:lnTo>
                <a:lnTo>
                  <a:pt x="f387" y="f388"/>
                </a:lnTo>
                <a:lnTo>
                  <a:pt x="f389" y="f390"/>
                </a:lnTo>
                <a:lnTo>
                  <a:pt x="f391" y="f392"/>
                </a:lnTo>
                <a:lnTo>
                  <a:pt x="f393" y="f394"/>
                </a:lnTo>
                <a:lnTo>
                  <a:pt x="f395" y="f396"/>
                </a:lnTo>
                <a:lnTo>
                  <a:pt x="f397" y="f398"/>
                </a:lnTo>
                <a:lnTo>
                  <a:pt x="f399" y="f400"/>
                </a:lnTo>
                <a:lnTo>
                  <a:pt x="f401" y="f402"/>
                </a:lnTo>
                <a:lnTo>
                  <a:pt x="f403" y="f404"/>
                </a:lnTo>
                <a:lnTo>
                  <a:pt x="f405" y="f406"/>
                </a:lnTo>
                <a:lnTo>
                  <a:pt x="f407" y="f408"/>
                </a:lnTo>
                <a:lnTo>
                  <a:pt x="f409" y="f410"/>
                </a:lnTo>
                <a:lnTo>
                  <a:pt x="f411" y="f412"/>
                </a:lnTo>
                <a:lnTo>
                  <a:pt x="f413" y="f414"/>
                </a:lnTo>
                <a:lnTo>
                  <a:pt x="f415" y="f416"/>
                </a:lnTo>
                <a:lnTo>
                  <a:pt x="f417" y="f418"/>
                </a:lnTo>
                <a:lnTo>
                  <a:pt x="f419" y="f420"/>
                </a:lnTo>
                <a:lnTo>
                  <a:pt x="f421" y="f422"/>
                </a:lnTo>
                <a:lnTo>
                  <a:pt x="f423" y="f424"/>
                </a:lnTo>
                <a:lnTo>
                  <a:pt x="f425" y="f426"/>
                </a:lnTo>
                <a:lnTo>
                  <a:pt x="f427" y="f428"/>
                </a:lnTo>
                <a:lnTo>
                  <a:pt x="f429" y="f430"/>
                </a:lnTo>
                <a:lnTo>
                  <a:pt x="f431" y="f432"/>
                </a:lnTo>
                <a:lnTo>
                  <a:pt x="f433" y="f434"/>
                </a:lnTo>
                <a:lnTo>
                  <a:pt x="f435" y="f436"/>
                </a:lnTo>
                <a:lnTo>
                  <a:pt x="f437" y="f438"/>
                </a:lnTo>
                <a:lnTo>
                  <a:pt x="f439" y="f440"/>
                </a:lnTo>
                <a:lnTo>
                  <a:pt x="f441" y="f442"/>
                </a:lnTo>
                <a:lnTo>
                  <a:pt x="f443" y="f444"/>
                </a:lnTo>
                <a:lnTo>
                  <a:pt x="f445" y="f446"/>
                </a:lnTo>
                <a:lnTo>
                  <a:pt x="f447" y="f448"/>
                </a:lnTo>
                <a:lnTo>
                  <a:pt x="f449" y="f450"/>
                </a:lnTo>
                <a:lnTo>
                  <a:pt x="f451" y="f452"/>
                </a:lnTo>
                <a:lnTo>
                  <a:pt x="f453" y="f454"/>
                </a:lnTo>
                <a:lnTo>
                  <a:pt x="f455" y="f456"/>
                </a:lnTo>
                <a:lnTo>
                  <a:pt x="f457" y="f458"/>
                </a:lnTo>
                <a:lnTo>
                  <a:pt x="f459" y="f460"/>
                </a:lnTo>
                <a:lnTo>
                  <a:pt x="f461" y="f462"/>
                </a:lnTo>
                <a:lnTo>
                  <a:pt x="f463" y="f464"/>
                </a:lnTo>
                <a:lnTo>
                  <a:pt x="f465" y="f466"/>
                </a:lnTo>
                <a:lnTo>
                  <a:pt x="f467" y="f468"/>
                </a:lnTo>
                <a:lnTo>
                  <a:pt x="f469" y="f470"/>
                </a:lnTo>
                <a:lnTo>
                  <a:pt x="f5" y="f2"/>
                </a:lnTo>
                <a:close/>
              </a:path>
            </a:pathLst>
          </a:custGeom>
          <a:solidFill>
            <a:srgbClr val="1C488A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444C55"/>
              </a:solidFill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6" name="Google Shape;962;p92">
            <a:extLst>
              <a:ext uri="{FF2B5EF4-FFF2-40B4-BE49-F238E27FC236}">
                <a16:creationId xmlns:a16="http://schemas.microsoft.com/office/drawing/2014/main" id="{B06DEDA9-DDD7-694C-FB1B-5A301B2EE0F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313959" y="5564124"/>
            <a:ext cx="2025386" cy="91135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" name="Google Shape;963;p92">
            <a:extLst>
              <a:ext uri="{FF2B5EF4-FFF2-40B4-BE49-F238E27FC236}">
                <a16:creationId xmlns:a16="http://schemas.microsoft.com/office/drawing/2014/main" id="{9C07E4CF-599C-57C0-1BE0-11538EBDEC29}"/>
              </a:ext>
            </a:extLst>
          </p:cNvPr>
          <p:cNvSpPr/>
          <p:nvPr/>
        </p:nvSpPr>
        <p:spPr>
          <a:xfrm>
            <a:off x="1520190" y="2812538"/>
            <a:ext cx="2286000" cy="0"/>
          </a:xfrm>
          <a:custGeom>
            <a:avLst/>
            <a:gdLst>
              <a:gd name="f0" fmla="val w"/>
              <a:gd name="f1" fmla="val h"/>
              <a:gd name="f2" fmla="val 0"/>
              <a:gd name="f3" fmla="val 2286000"/>
              <a:gd name="f4" fmla="val 120000"/>
              <a:gd name="f5" fmla="*/ f0 1 2286000"/>
              <a:gd name="f6" fmla="*/ f1 1 120000"/>
              <a:gd name="f7" fmla="+- f4 0 f2"/>
              <a:gd name="f8" fmla="+- f3 0 f2"/>
              <a:gd name="f9" fmla="*/ f8 1 2286000"/>
              <a:gd name="f10" fmla="*/ f7 1 120000"/>
              <a:gd name="f11" fmla="*/ f2 1 f9"/>
              <a:gd name="f12" fmla="*/ f3 1 f9"/>
              <a:gd name="f13" fmla="*/ f2 1 f10"/>
              <a:gd name="f14" fmla="*/ f4 1 f10"/>
              <a:gd name="f15" fmla="*/ f11 f5 1"/>
              <a:gd name="f16" fmla="*/ f12 f5 1"/>
              <a:gd name="f17" fmla="*/ f14 f6 1"/>
              <a:gd name="f18" fmla="*/ f13 f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5" t="f18" r="f16" b="f17"/>
            <a:pathLst>
              <a:path w="2286000" h="120000">
                <a:moveTo>
                  <a:pt x="f2" y="f2"/>
                </a:moveTo>
                <a:lnTo>
                  <a:pt x="f3" y="f2"/>
                </a:lnTo>
              </a:path>
            </a:pathLst>
          </a:custGeom>
          <a:noFill/>
          <a:ln w="32004" cap="flat">
            <a:solidFill>
              <a:srgbClr val="F58366"/>
            </a:solidFill>
            <a:prstDash val="solid"/>
            <a:round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444C55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8" name="Google Shape;964;p92">
            <a:extLst>
              <a:ext uri="{FF2B5EF4-FFF2-40B4-BE49-F238E27FC236}">
                <a16:creationId xmlns:a16="http://schemas.microsoft.com/office/drawing/2014/main" id="{E3A68DD5-DFD0-9D2B-7D99-87984CFF32F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71693" y="493922"/>
            <a:ext cx="11248619" cy="574042"/>
          </a:xfrm>
        </p:spPr>
        <p:txBody>
          <a:bodyPr lIns="0" tIns="0" rIns="0" bIns="0">
            <a:spAutoFit/>
          </a:bodyPr>
          <a:lstStyle>
            <a:lvl1pPr>
              <a:defRPr b="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9" name="Google Shape;965;p92">
            <a:extLst>
              <a:ext uri="{FF2B5EF4-FFF2-40B4-BE49-F238E27FC236}">
                <a16:creationId xmlns:a16="http://schemas.microsoft.com/office/drawing/2014/main" id="{D3A193EE-8720-093B-B427-A4194FFBA79A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828800" y="3840480"/>
            <a:ext cx="8534396" cy="1714500"/>
          </a:xfrm>
        </p:spPr>
        <p:txBody>
          <a:bodyPr lIns="0" tIns="0" rIns="0" bIns="0">
            <a:spAutoFit/>
          </a:bodyPr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10" name="Google Shape;966;p92">
            <a:extLst>
              <a:ext uri="{FF2B5EF4-FFF2-40B4-BE49-F238E27FC236}">
                <a16:creationId xmlns:a16="http://schemas.microsoft.com/office/drawing/2014/main" id="{C49334E4-9198-1E44-24C5-AEDFA14BAC28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11" name="Google Shape;967;p92">
            <a:extLst>
              <a:ext uri="{FF2B5EF4-FFF2-40B4-BE49-F238E27FC236}">
                <a16:creationId xmlns:a16="http://schemas.microsoft.com/office/drawing/2014/main" id="{8604D778-2721-1718-CC0C-824D10DD5DE5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919497"/>
                </a:solidFill>
                <a:uFillTx/>
                <a:latin typeface="Calibri"/>
                <a:ea typeface="Calibri"/>
                <a:cs typeface="Calibri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Google Shape;968;p92">
            <a:extLst>
              <a:ext uri="{FF2B5EF4-FFF2-40B4-BE49-F238E27FC236}">
                <a16:creationId xmlns:a16="http://schemas.microsoft.com/office/drawing/2014/main" id="{190D6970-47C0-D434-BF5A-665E9B364714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 lIns="0" tIns="0" rIns="0" bIns="0"/>
          <a:lstStyle>
            <a:lvl1pPr marL="38103">
              <a:lnSpc>
                <a:spcPct val="118750"/>
              </a:lnSpc>
              <a:defRPr>
                <a:solidFill>
                  <a:srgbClr val="929599"/>
                </a:solidFill>
                <a:latin typeface="Arial"/>
                <a:ea typeface="Arial"/>
                <a:cs typeface="Arial"/>
              </a:defRPr>
            </a:lvl1pPr>
          </a:lstStyle>
          <a:p>
            <a:pPr lvl="0"/>
            <a:fld id="{3E91E388-8E09-4EC2-975E-A5CCA3ED9A82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472168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Quot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970;p93">
            <a:extLst>
              <a:ext uri="{FF2B5EF4-FFF2-40B4-BE49-F238E27FC236}">
                <a16:creationId xmlns:a16="http://schemas.microsoft.com/office/drawing/2014/main" id="{494213BD-477C-1282-546E-ACAF2EFE9412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971;p93">
            <a:extLst>
              <a:ext uri="{FF2B5EF4-FFF2-40B4-BE49-F238E27FC236}">
                <a16:creationId xmlns:a16="http://schemas.microsoft.com/office/drawing/2014/main" id="{CBBD7001-FBD7-137E-3F7C-924BC3BB48A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972;p93">
            <a:extLst>
              <a:ext uri="{FF2B5EF4-FFF2-40B4-BE49-F238E27FC236}">
                <a16:creationId xmlns:a16="http://schemas.microsoft.com/office/drawing/2014/main" id="{CCE18BC8-8EF6-E967-2722-0561A4F3C51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973;p93">
            <a:extLst>
              <a:ext uri="{FF2B5EF4-FFF2-40B4-BE49-F238E27FC236}">
                <a16:creationId xmlns:a16="http://schemas.microsoft.com/office/drawing/2014/main" id="{2AE05A89-276F-84D7-C6C3-ECC71D485CDA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B9235B8A-D3ED-486C-AC82-298E0817C239}" type="slidenum">
              <a:t>‹#›</a:t>
            </a:fld>
            <a:endParaRPr lang="en-US"/>
          </a:p>
        </p:txBody>
      </p:sp>
      <p:cxnSp>
        <p:nvCxnSpPr>
          <p:cNvPr id="6" name="Google Shape;974;p93">
            <a:extLst>
              <a:ext uri="{FF2B5EF4-FFF2-40B4-BE49-F238E27FC236}">
                <a16:creationId xmlns:a16="http://schemas.microsoft.com/office/drawing/2014/main" id="{F007922F-3DC7-A024-5FD6-115ED1B3ECCA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975;p93">
            <a:extLst>
              <a:ext uri="{FF2B5EF4-FFF2-40B4-BE49-F238E27FC236}">
                <a16:creationId xmlns:a16="http://schemas.microsoft.com/office/drawing/2014/main" id="{7B7E8678-77B9-FA63-769D-47ECE53FA864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976;p93">
            <a:extLst>
              <a:ext uri="{FF2B5EF4-FFF2-40B4-BE49-F238E27FC236}">
                <a16:creationId xmlns:a16="http://schemas.microsoft.com/office/drawing/2014/main" id="{0B73408D-6DC8-1F3D-CB60-DF16F6F280D6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977;p93">
              <a:extLst>
                <a:ext uri="{FF2B5EF4-FFF2-40B4-BE49-F238E27FC236}">
                  <a16:creationId xmlns:a16="http://schemas.microsoft.com/office/drawing/2014/main" id="{DE9955D5-4EE0-CCAB-7E97-17C3B59B19E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978;p93">
              <a:extLst>
                <a:ext uri="{FF2B5EF4-FFF2-40B4-BE49-F238E27FC236}">
                  <a16:creationId xmlns:a16="http://schemas.microsoft.com/office/drawing/2014/main" id="{D08DD5B1-812C-E1A0-2298-B213C05DDDC0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979;p93">
                <a:extLst>
                  <a:ext uri="{FF2B5EF4-FFF2-40B4-BE49-F238E27FC236}">
                    <a16:creationId xmlns:a16="http://schemas.microsoft.com/office/drawing/2014/main" id="{0F10B9A8-A14A-042B-1FEA-45C30DE646F4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980;p93">
                <a:extLst>
                  <a:ext uri="{FF2B5EF4-FFF2-40B4-BE49-F238E27FC236}">
                    <a16:creationId xmlns:a16="http://schemas.microsoft.com/office/drawing/2014/main" id="{06C30C2C-B532-B541-49A7-99341C502C9D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981;p93" descr="Open quotation mark with solid fill">
            <a:extLst>
              <a:ext uri="{FF2B5EF4-FFF2-40B4-BE49-F238E27FC236}">
                <a16:creationId xmlns:a16="http://schemas.microsoft.com/office/drawing/2014/main" id="{0826B7DD-5F91-6A0E-DF30-A983CF83B8C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7333280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02645940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Quot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970;p93">
            <a:extLst>
              <a:ext uri="{FF2B5EF4-FFF2-40B4-BE49-F238E27FC236}">
                <a16:creationId xmlns:a16="http://schemas.microsoft.com/office/drawing/2014/main" id="{526F49D0-58AD-FBC3-0BF4-0DDEBD1C69C4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971;p93">
            <a:extLst>
              <a:ext uri="{FF2B5EF4-FFF2-40B4-BE49-F238E27FC236}">
                <a16:creationId xmlns:a16="http://schemas.microsoft.com/office/drawing/2014/main" id="{A560DAC0-AA45-B537-7BEB-096C5B507C9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972;p93">
            <a:extLst>
              <a:ext uri="{FF2B5EF4-FFF2-40B4-BE49-F238E27FC236}">
                <a16:creationId xmlns:a16="http://schemas.microsoft.com/office/drawing/2014/main" id="{09F9AC62-B881-F756-E343-EE241D14741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973;p93">
            <a:extLst>
              <a:ext uri="{FF2B5EF4-FFF2-40B4-BE49-F238E27FC236}">
                <a16:creationId xmlns:a16="http://schemas.microsoft.com/office/drawing/2014/main" id="{C4CCFE69-9707-3F2E-94F2-1805221AB8EC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CB7CEF48-8D2C-4CB0-9C13-B3FEC916C571}" type="slidenum">
              <a:t>‹#›</a:t>
            </a:fld>
            <a:endParaRPr lang="en-US"/>
          </a:p>
        </p:txBody>
      </p:sp>
      <p:cxnSp>
        <p:nvCxnSpPr>
          <p:cNvPr id="6" name="Google Shape;974;p93">
            <a:extLst>
              <a:ext uri="{FF2B5EF4-FFF2-40B4-BE49-F238E27FC236}">
                <a16:creationId xmlns:a16="http://schemas.microsoft.com/office/drawing/2014/main" id="{5121A296-9EDA-CE4B-B444-2B755F2EDE9D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975;p93">
            <a:extLst>
              <a:ext uri="{FF2B5EF4-FFF2-40B4-BE49-F238E27FC236}">
                <a16:creationId xmlns:a16="http://schemas.microsoft.com/office/drawing/2014/main" id="{FAAF7142-3269-8717-3ACD-C6868B068317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976;p93">
            <a:extLst>
              <a:ext uri="{FF2B5EF4-FFF2-40B4-BE49-F238E27FC236}">
                <a16:creationId xmlns:a16="http://schemas.microsoft.com/office/drawing/2014/main" id="{CF637A45-A6AA-9346-B92C-2BD1A48B9550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977;p93">
              <a:extLst>
                <a:ext uri="{FF2B5EF4-FFF2-40B4-BE49-F238E27FC236}">
                  <a16:creationId xmlns:a16="http://schemas.microsoft.com/office/drawing/2014/main" id="{8769CEEB-60C4-49C9-B978-D0515E1A55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978;p93">
              <a:extLst>
                <a:ext uri="{FF2B5EF4-FFF2-40B4-BE49-F238E27FC236}">
                  <a16:creationId xmlns:a16="http://schemas.microsoft.com/office/drawing/2014/main" id="{A924D0B0-B292-E5F8-9D90-10551D6FC1BE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979;p93">
                <a:extLst>
                  <a:ext uri="{FF2B5EF4-FFF2-40B4-BE49-F238E27FC236}">
                    <a16:creationId xmlns:a16="http://schemas.microsoft.com/office/drawing/2014/main" id="{F042AC6B-9DAC-DD84-9B63-CFCA197278EA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980;p93">
                <a:extLst>
                  <a:ext uri="{FF2B5EF4-FFF2-40B4-BE49-F238E27FC236}">
                    <a16:creationId xmlns:a16="http://schemas.microsoft.com/office/drawing/2014/main" id="{5FFFC290-A50F-1310-CE71-60F5C92059E6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981;p93" descr="Open quotation mark with solid fill">
            <a:extLst>
              <a:ext uri="{FF2B5EF4-FFF2-40B4-BE49-F238E27FC236}">
                <a16:creationId xmlns:a16="http://schemas.microsoft.com/office/drawing/2014/main" id="{3B1613D3-C5E6-36B6-B0F5-44C38BA622D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162199117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983;p94">
            <a:extLst>
              <a:ext uri="{FF2B5EF4-FFF2-40B4-BE49-F238E27FC236}">
                <a16:creationId xmlns:a16="http://schemas.microsoft.com/office/drawing/2014/main" id="{4ED7F9C7-1AD4-C712-4E15-8CC279AB9673}"/>
              </a:ext>
            </a:extLst>
          </p:cNvPr>
          <p:cNvSpPr/>
          <p:nvPr/>
        </p:nvSpPr>
        <p:spPr>
          <a:xfrm>
            <a:off x="902366" y="1294415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984;p94">
            <a:extLst>
              <a:ext uri="{FF2B5EF4-FFF2-40B4-BE49-F238E27FC236}">
                <a16:creationId xmlns:a16="http://schemas.microsoft.com/office/drawing/2014/main" id="{B860D6CD-6733-8A5E-B9B3-449928433F3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1561328"/>
            <a:ext cx="5194432" cy="1826340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985;p94">
            <a:extLst>
              <a:ext uri="{FF2B5EF4-FFF2-40B4-BE49-F238E27FC236}">
                <a16:creationId xmlns:a16="http://schemas.microsoft.com/office/drawing/2014/main" id="{0E250E33-AB71-D9CD-4020-4E34471CDB13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766861"/>
            <a:ext cx="5194432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987;p94">
            <a:extLst>
              <a:ext uri="{FF2B5EF4-FFF2-40B4-BE49-F238E27FC236}">
                <a16:creationId xmlns:a16="http://schemas.microsoft.com/office/drawing/2014/main" id="{2237F7D8-6247-232A-9C4B-4F83A6D28DAE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6" name="Google Shape;988;p94">
              <a:extLst>
                <a:ext uri="{FF2B5EF4-FFF2-40B4-BE49-F238E27FC236}">
                  <a16:creationId xmlns:a16="http://schemas.microsoft.com/office/drawing/2014/main" id="{6743B406-4ED3-CA33-30E5-F6D60E05BDE2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7" name="Google Shape;989;p94">
              <a:extLst>
                <a:ext uri="{FF2B5EF4-FFF2-40B4-BE49-F238E27FC236}">
                  <a16:creationId xmlns:a16="http://schemas.microsoft.com/office/drawing/2014/main" id="{51A2D29C-3097-A2CF-DB95-DB4120833739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8" name="Google Shape;990;p94">
              <a:extLst>
                <a:ext uri="{FF2B5EF4-FFF2-40B4-BE49-F238E27FC236}">
                  <a16:creationId xmlns:a16="http://schemas.microsoft.com/office/drawing/2014/main" id="{05178696-55D2-5E1D-6F97-4D271DD9DD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37252727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992;p95">
            <a:extLst>
              <a:ext uri="{FF2B5EF4-FFF2-40B4-BE49-F238E27FC236}">
                <a16:creationId xmlns:a16="http://schemas.microsoft.com/office/drawing/2014/main" id="{1056664A-F3D2-76CD-AE5F-32E3C6B5FF4E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3" name="Google Shape;993;p95">
              <a:extLst>
                <a:ext uri="{FF2B5EF4-FFF2-40B4-BE49-F238E27FC236}">
                  <a16:creationId xmlns:a16="http://schemas.microsoft.com/office/drawing/2014/main" id="{5FF27E3A-18A7-21F8-9380-41A13F1CA9CB}"/>
                </a:ext>
              </a:extLst>
            </p:cNvPr>
            <p:cNvSpPr/>
            <p:nvPr/>
          </p:nvSpPr>
          <p:spPr>
            <a:xfrm>
              <a:off x="0" y="5100267"/>
              <a:ext cx="7111371" cy="175773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111369"/>
                <a:gd name="f4" fmla="val 1757730"/>
                <a:gd name="f5" fmla="val 772954"/>
                <a:gd name="f6" fmla="val 2778"/>
                <a:gd name="f7" fmla="val 1769038"/>
                <a:gd name="f8" fmla="val 30799"/>
                <a:gd name="f9" fmla="val 2696750"/>
                <a:gd name="f10" fmla="val 267531"/>
                <a:gd name="f11" fmla="val 3590934"/>
                <a:gd name="f12" fmla="val 566046"/>
                <a:gd name="f13" fmla="val 4684008"/>
                <a:gd name="f14" fmla="val 930921"/>
                <a:gd name="f15" fmla="val 5690778"/>
                <a:gd name="f16" fmla="val 1324625"/>
                <a:gd name="f17" fmla="val 6700767"/>
                <a:gd name="f18" fmla="val 1636882"/>
                <a:gd name="f19" fmla="val 25690"/>
                <a:gd name="f20" fmla="val 2197"/>
                <a:gd name="f21" fmla="val 25414"/>
                <a:gd name="f22" fmla="val 114653"/>
                <a:gd name="f23" fmla="val 14905"/>
                <a:gd name="f24" fmla="val 227801"/>
                <a:gd name="f25" fmla="val 7857"/>
                <a:gd name="f26" fmla="val 341773"/>
                <a:gd name="f27" fmla="val 3976"/>
                <a:gd name="f28" fmla="val 486963"/>
                <a:gd name="f29" fmla="+- 0 0 968"/>
                <a:gd name="f30" fmla="val 630656"/>
                <a:gd name="f31" fmla="+- 0 0 1224"/>
                <a:gd name="f32" fmla="*/ f0 1 7111369"/>
                <a:gd name="f33" fmla="*/ f1 1 1757730"/>
                <a:gd name="f34" fmla="+- f4 0 f2"/>
                <a:gd name="f35" fmla="+- f3 0 f2"/>
                <a:gd name="f36" fmla="*/ f35 1 7111369"/>
                <a:gd name="f37" fmla="*/ f34 1 1757730"/>
                <a:gd name="f38" fmla="*/ f2 1 f36"/>
                <a:gd name="f39" fmla="*/ f3 1 f36"/>
                <a:gd name="f40" fmla="*/ f2 1 f37"/>
                <a:gd name="f41" fmla="*/ f4 1 f37"/>
                <a:gd name="f42" fmla="*/ f38 f32 1"/>
                <a:gd name="f43" fmla="*/ f39 f32 1"/>
                <a:gd name="f44" fmla="*/ f41 f33 1"/>
                <a:gd name="f45" fmla="*/ f40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2" t="f45" r="f43" b="f44"/>
              <a:pathLst>
                <a:path w="7111369" h="1757730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4"/>
                  </a:lnTo>
                  <a:lnTo>
                    <a:pt x="f2" y="f4"/>
                  </a:lnTo>
                  <a:lnTo>
                    <a:pt x="f2" y="f19"/>
                  </a:lnTo>
                  <a:lnTo>
                    <a:pt x="f20" y="f21"/>
                  </a:ln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5" y="f6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994;p95">
              <a:extLst>
                <a:ext uri="{FF2B5EF4-FFF2-40B4-BE49-F238E27FC236}">
                  <a16:creationId xmlns:a16="http://schemas.microsoft.com/office/drawing/2014/main" id="{206E05AF-1242-16D0-A56A-D9930CF35C25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5" name="Google Shape;995;p95">
              <a:extLst>
                <a:ext uri="{FF2B5EF4-FFF2-40B4-BE49-F238E27FC236}">
                  <a16:creationId xmlns:a16="http://schemas.microsoft.com/office/drawing/2014/main" id="{B60A3CE9-66A1-F3E9-5663-6E7EC3DFE6ED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996;p95">
              <a:extLst>
                <a:ext uri="{FF2B5EF4-FFF2-40B4-BE49-F238E27FC236}">
                  <a16:creationId xmlns:a16="http://schemas.microsoft.com/office/drawing/2014/main" id="{8D0EC7E4-DBD7-69C9-018B-6FAA50C04A6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7" name="Google Shape;997;p95">
            <a:extLst>
              <a:ext uri="{FF2B5EF4-FFF2-40B4-BE49-F238E27FC236}">
                <a16:creationId xmlns:a16="http://schemas.microsoft.com/office/drawing/2014/main" id="{04E260F1-0E9C-A99A-E860-535BA47D541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701747"/>
            <a:ext cx="9365376" cy="2014679"/>
          </a:xfrm>
        </p:spPr>
        <p:txBody>
          <a:bodyPr anchor="b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998;p95">
            <a:extLst>
              <a:ext uri="{FF2B5EF4-FFF2-40B4-BE49-F238E27FC236}">
                <a16:creationId xmlns:a16="http://schemas.microsoft.com/office/drawing/2014/main" id="{53D7B987-FDDC-66BE-B41E-06424417CF81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081637"/>
            <a:ext cx="9365376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6540696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00;p96">
            <a:extLst>
              <a:ext uri="{FF2B5EF4-FFF2-40B4-BE49-F238E27FC236}">
                <a16:creationId xmlns:a16="http://schemas.microsoft.com/office/drawing/2014/main" id="{3B8FCBF5-36D9-D10E-5B4C-AF5E293B000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57200" y="1146255"/>
            <a:ext cx="2350172" cy="2971800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cxnSp>
        <p:nvCxnSpPr>
          <p:cNvPr id="3" name="Google Shape;1001;p96">
            <a:extLst>
              <a:ext uri="{FF2B5EF4-FFF2-40B4-BE49-F238E27FC236}">
                <a16:creationId xmlns:a16="http://schemas.microsoft.com/office/drawing/2014/main" id="{D1F52A49-7059-25E1-8673-C8DCB42F44E1}"/>
              </a:ext>
            </a:extLst>
          </p:cNvPr>
          <p:cNvCxnSpPr/>
          <p:nvPr/>
        </p:nvCxnSpPr>
        <p:spPr>
          <a:xfrm>
            <a:off x="457200" y="947985"/>
            <a:ext cx="2350163" cy="0"/>
          </a:xfrm>
          <a:prstGeom prst="straightConnector1">
            <a:avLst/>
          </a:prstGeom>
          <a:noFill/>
          <a:ln w="31747" cap="flat">
            <a:solidFill>
              <a:srgbClr val="F58366"/>
            </a:solidFill>
            <a:prstDash val="solid"/>
            <a:miter/>
          </a:ln>
        </p:spPr>
      </p:cxnSp>
      <p:grpSp>
        <p:nvGrpSpPr>
          <p:cNvPr id="4" name="Google Shape;1002;p96">
            <a:extLst>
              <a:ext uri="{FF2B5EF4-FFF2-40B4-BE49-F238E27FC236}">
                <a16:creationId xmlns:a16="http://schemas.microsoft.com/office/drawing/2014/main" id="{52CADCBE-BD88-E522-0809-1FA9C4AA9AD0}"/>
              </a:ext>
            </a:extLst>
          </p:cNvPr>
          <p:cNvGrpSpPr/>
          <p:nvPr/>
        </p:nvGrpSpPr>
        <p:grpSpPr>
          <a:xfrm>
            <a:off x="0" y="5379424"/>
            <a:ext cx="2807363" cy="753895"/>
            <a:chOff x="0" y="5379424"/>
            <a:chExt cx="2807363" cy="753895"/>
          </a:xfrm>
        </p:grpSpPr>
        <p:sp>
          <p:nvSpPr>
            <p:cNvPr id="5" name="Google Shape;1003;p96">
              <a:extLst>
                <a:ext uri="{FF2B5EF4-FFF2-40B4-BE49-F238E27FC236}">
                  <a16:creationId xmlns:a16="http://schemas.microsoft.com/office/drawing/2014/main" id="{2CD5A458-D786-D791-98DA-7350F4B172E9}"/>
                </a:ext>
              </a:extLst>
            </p:cNvPr>
            <p:cNvSpPr/>
            <p:nvPr/>
          </p:nvSpPr>
          <p:spPr>
            <a:xfrm>
              <a:off x="0" y="5532513"/>
              <a:ext cx="2807363" cy="60080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00807"/>
                <a:gd name="f5" fmla="val 429971"/>
                <a:gd name="f6" fmla="val 123998"/>
                <a:gd name="f7" fmla="val 1184765"/>
                <a:gd name="f8" fmla="val 325331"/>
                <a:gd name="f9" fmla="val 2014184"/>
                <a:gd name="f10" fmla="val 392492"/>
                <a:gd name="f11" fmla="val 2790212"/>
                <a:gd name="f12" fmla="val 235402"/>
                <a:gd name="f13" fmla="val 231522"/>
                <a:gd name="f14" fmla="val 566106"/>
                <a:gd name="f15" fmla="val 2593885"/>
                <a:gd name="f16" fmla="val 587498"/>
                <a:gd name="f17" fmla="val 1673646"/>
                <a:gd name="f18" fmla="val 651184"/>
                <a:gd name="f19" fmla="val 884869"/>
                <a:gd name="f20" fmla="val 479260"/>
                <a:gd name="f21" fmla="val 100844"/>
                <a:gd name="f22" fmla="val 222653"/>
                <a:gd name="f23" fmla="val 188389"/>
                <a:gd name="f24" fmla="*/ f0 1 2807368"/>
                <a:gd name="f25" fmla="*/ f1 1 600807"/>
                <a:gd name="f26" fmla="+- f4 0 f2"/>
                <a:gd name="f27" fmla="+- f3 0 f2"/>
                <a:gd name="f28" fmla="*/ f27 1 2807368"/>
                <a:gd name="f29" fmla="*/ f26 1 600807"/>
                <a:gd name="f30" fmla="*/ f2 1 f28"/>
                <a:gd name="f31" fmla="*/ f3 1 f28"/>
                <a:gd name="f32" fmla="*/ f2 1 f29"/>
                <a:gd name="f33" fmla="*/ f4 1 f29"/>
                <a:gd name="f34" fmla="*/ f30 f24 1"/>
                <a:gd name="f35" fmla="*/ f31 f24 1"/>
                <a:gd name="f36" fmla="*/ f33 f25 1"/>
                <a:gd name="f37" fmla="*/ f32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37" r="f35" b="f36"/>
              <a:pathLst>
                <a:path w="2807368" h="600807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lnTo>
                    <a:pt x="f3" y="f13"/>
                  </a:lnTo>
                  <a:lnTo>
                    <a:pt x="f3" y="f14"/>
                  </a:lnTo>
                  <a:lnTo>
                    <a:pt x="f15" y="f16"/>
                  </a:lnTo>
                  <a:cubicBezTo>
                    <a:pt x="f17" y="f18"/>
                    <a:pt x="f19" y="f20"/>
                    <a:pt x="f21" y="f22"/>
                  </a:cubicBezTo>
                  <a:lnTo>
                    <a:pt x="f2" y="f23"/>
                  </a:ln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6" name="Google Shape;1004;p96">
              <a:extLst>
                <a:ext uri="{FF2B5EF4-FFF2-40B4-BE49-F238E27FC236}">
                  <a16:creationId xmlns:a16="http://schemas.microsoft.com/office/drawing/2014/main" id="{9B02C360-0919-4663-6B6C-56C14CBF701C}"/>
                </a:ext>
              </a:extLst>
            </p:cNvPr>
            <p:cNvSpPr/>
            <p:nvPr/>
          </p:nvSpPr>
          <p:spPr>
            <a:xfrm>
              <a:off x="0" y="5379424"/>
              <a:ext cx="2807363" cy="64980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49803"/>
                <a:gd name="f5" fmla="val 282676"/>
                <a:gd name="f6" fmla="val 70799"/>
                <a:gd name="f7" fmla="val 435964"/>
                <a:gd name="f8" fmla="val 106085"/>
                <a:gd name="f9" fmla="val 588770"/>
                <a:gd name="f10" fmla="val 137629"/>
                <a:gd name="f11" fmla="val 740881"/>
                <a:gd name="f12" fmla="val 163828"/>
                <a:gd name="f13" fmla="val 1362800"/>
                <a:gd name="f14" fmla="val 270912"/>
                <a:gd name="f15" fmla="val 2067879"/>
                <a:gd name="f16" fmla="val 253759"/>
                <a:gd name="f17" fmla="val 2706471"/>
                <a:gd name="f18" fmla="val 96397"/>
                <a:gd name="f19" fmla="val 67250"/>
                <a:gd name="f20" fmla="val 605551"/>
                <a:gd name="f21" fmla="val 2602685"/>
                <a:gd name="f22" fmla="val 629466"/>
                <a:gd name="f23" fmla="val 1684237"/>
                <a:gd name="f24" fmla="val 708219"/>
                <a:gd name="f25" fmla="val 893252"/>
                <a:gd name="f26" fmla="val 549395"/>
                <a:gd name="f27" fmla="val 105614"/>
                <a:gd name="f28" fmla="val 305882"/>
                <a:gd name="f29" fmla="val 271926"/>
                <a:gd name="f30" fmla="*/ f0 1 2807368"/>
                <a:gd name="f31" fmla="*/ f1 1 649803"/>
                <a:gd name="f32" fmla="+- f4 0 f2"/>
                <a:gd name="f33" fmla="+- f3 0 f2"/>
                <a:gd name="f34" fmla="*/ f33 1 2807368"/>
                <a:gd name="f35" fmla="*/ f32 1 649803"/>
                <a:gd name="f36" fmla="*/ f2 1 f34"/>
                <a:gd name="f37" fmla="*/ f3 1 f34"/>
                <a:gd name="f38" fmla="*/ f2 1 f35"/>
                <a:gd name="f39" fmla="*/ f4 1 f35"/>
                <a:gd name="f40" fmla="*/ f36 f30 1"/>
                <a:gd name="f41" fmla="*/ f37 f30 1"/>
                <a:gd name="f42" fmla="*/ f39 f31 1"/>
                <a:gd name="f43" fmla="*/ f3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2807368" h="649803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19"/>
                  </a:lnTo>
                  <a:lnTo>
                    <a:pt x="f3" y="f20"/>
                  </a:lnTo>
                  <a:lnTo>
                    <a:pt x="f21" y="f22"/>
                  </a:lnTo>
                  <a:cubicBezTo>
                    <a:pt x="f23" y="f24"/>
                    <a:pt x="f25" y="f26"/>
                    <a:pt x="f27" y="f28"/>
                  </a:cubicBezTo>
                  <a:lnTo>
                    <a:pt x="f2" y="f29"/>
                  </a:ln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pic>
        <p:nvPicPr>
          <p:cNvPr id="7" name="Google Shape;1006;p96">
            <a:extLst>
              <a:ext uri="{FF2B5EF4-FFF2-40B4-BE49-F238E27FC236}">
                <a16:creationId xmlns:a16="http://schemas.microsoft.com/office/drawing/2014/main" id="{05D57579-CEBD-7F3C-B9DD-150EE694075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513344" y="4385535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216044179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08;p97">
            <a:extLst>
              <a:ext uri="{FF2B5EF4-FFF2-40B4-BE49-F238E27FC236}">
                <a16:creationId xmlns:a16="http://schemas.microsoft.com/office/drawing/2014/main" id="{05E4C13B-D0A5-B9BB-084D-45C08DB0439C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009;p97">
            <a:extLst>
              <a:ext uri="{FF2B5EF4-FFF2-40B4-BE49-F238E27FC236}">
                <a16:creationId xmlns:a16="http://schemas.microsoft.com/office/drawing/2014/main" id="{2FC0FAA0-925C-194D-D999-096EB8ADAC0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010;p97">
            <a:extLst>
              <a:ext uri="{FF2B5EF4-FFF2-40B4-BE49-F238E27FC236}">
                <a16:creationId xmlns:a16="http://schemas.microsoft.com/office/drawing/2014/main" id="{4715A670-7E7C-647E-C967-C661725197A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011;p97">
            <a:extLst>
              <a:ext uri="{FF2B5EF4-FFF2-40B4-BE49-F238E27FC236}">
                <a16:creationId xmlns:a16="http://schemas.microsoft.com/office/drawing/2014/main" id="{E6EC220E-551E-98A3-D15E-7C6EE1E36C2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8685194B-9488-428F-9FA7-0CFD8D6439D6}" type="slidenum">
              <a:t>‹#›</a:t>
            </a:fld>
            <a:endParaRPr lang="en-US"/>
          </a:p>
        </p:txBody>
      </p:sp>
      <p:cxnSp>
        <p:nvCxnSpPr>
          <p:cNvPr id="6" name="Google Shape;1012;p97">
            <a:extLst>
              <a:ext uri="{FF2B5EF4-FFF2-40B4-BE49-F238E27FC236}">
                <a16:creationId xmlns:a16="http://schemas.microsoft.com/office/drawing/2014/main" id="{FE881CF8-8667-D6E8-AD01-5FAC16E58E19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013;p97">
            <a:extLst>
              <a:ext uri="{FF2B5EF4-FFF2-40B4-BE49-F238E27FC236}">
                <a16:creationId xmlns:a16="http://schemas.microsoft.com/office/drawing/2014/main" id="{70C23B4D-CD6F-E8F0-50F1-6D831E13E219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1014;p97">
            <a:extLst>
              <a:ext uri="{FF2B5EF4-FFF2-40B4-BE49-F238E27FC236}">
                <a16:creationId xmlns:a16="http://schemas.microsoft.com/office/drawing/2014/main" id="{A007200A-11A8-E868-AF62-42AE0246BFE7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1015;p97">
              <a:extLst>
                <a:ext uri="{FF2B5EF4-FFF2-40B4-BE49-F238E27FC236}">
                  <a16:creationId xmlns:a16="http://schemas.microsoft.com/office/drawing/2014/main" id="{100FAC38-FFEB-935D-56A3-9DEBB5AF3A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1016;p97">
              <a:extLst>
                <a:ext uri="{FF2B5EF4-FFF2-40B4-BE49-F238E27FC236}">
                  <a16:creationId xmlns:a16="http://schemas.microsoft.com/office/drawing/2014/main" id="{05917B50-2F6F-C08C-249B-F7B243BD4325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1017;p97">
                <a:extLst>
                  <a:ext uri="{FF2B5EF4-FFF2-40B4-BE49-F238E27FC236}">
                    <a16:creationId xmlns:a16="http://schemas.microsoft.com/office/drawing/2014/main" id="{6F16F64D-09FF-FD09-F7E0-7894D1A762FD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1018;p97">
                <a:extLst>
                  <a:ext uri="{FF2B5EF4-FFF2-40B4-BE49-F238E27FC236}">
                    <a16:creationId xmlns:a16="http://schemas.microsoft.com/office/drawing/2014/main" id="{E56A5AAB-9320-67AC-523E-A4DFE4956E2D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1019;p97" descr="Open quotation mark with solid fill">
            <a:extLst>
              <a:ext uri="{FF2B5EF4-FFF2-40B4-BE49-F238E27FC236}">
                <a16:creationId xmlns:a16="http://schemas.microsoft.com/office/drawing/2014/main" id="{EF677445-CAE4-494A-28C1-55827253737A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043234484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ation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08;p97">
            <a:extLst>
              <a:ext uri="{FF2B5EF4-FFF2-40B4-BE49-F238E27FC236}">
                <a16:creationId xmlns:a16="http://schemas.microsoft.com/office/drawing/2014/main" id="{6310B1E0-A8CC-6B66-5635-FFA7EAC35670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009;p97">
            <a:extLst>
              <a:ext uri="{FF2B5EF4-FFF2-40B4-BE49-F238E27FC236}">
                <a16:creationId xmlns:a16="http://schemas.microsoft.com/office/drawing/2014/main" id="{0A5286E8-05AA-2F63-2F06-287C9873C13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010;p97">
            <a:extLst>
              <a:ext uri="{FF2B5EF4-FFF2-40B4-BE49-F238E27FC236}">
                <a16:creationId xmlns:a16="http://schemas.microsoft.com/office/drawing/2014/main" id="{7C52D427-F0D2-7902-E933-A07ADE1ED99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011;p97">
            <a:extLst>
              <a:ext uri="{FF2B5EF4-FFF2-40B4-BE49-F238E27FC236}">
                <a16:creationId xmlns:a16="http://schemas.microsoft.com/office/drawing/2014/main" id="{CBF50DB7-08C5-C0C5-70FA-8D5324BA67F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83CFF609-905F-408D-B06C-95B55BF23200}" type="slidenum">
              <a:t>‹#›</a:t>
            </a:fld>
            <a:endParaRPr lang="en-US"/>
          </a:p>
        </p:txBody>
      </p:sp>
      <p:cxnSp>
        <p:nvCxnSpPr>
          <p:cNvPr id="6" name="Google Shape;1012;p97">
            <a:extLst>
              <a:ext uri="{FF2B5EF4-FFF2-40B4-BE49-F238E27FC236}">
                <a16:creationId xmlns:a16="http://schemas.microsoft.com/office/drawing/2014/main" id="{9864C1EE-5230-230C-59C9-A64AACF29C70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013;p97">
            <a:extLst>
              <a:ext uri="{FF2B5EF4-FFF2-40B4-BE49-F238E27FC236}">
                <a16:creationId xmlns:a16="http://schemas.microsoft.com/office/drawing/2014/main" id="{3C274B61-51E2-2109-7C3F-7754FF96E0DE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1014;p97">
            <a:extLst>
              <a:ext uri="{FF2B5EF4-FFF2-40B4-BE49-F238E27FC236}">
                <a16:creationId xmlns:a16="http://schemas.microsoft.com/office/drawing/2014/main" id="{DCCF19D4-9238-3B5C-315B-214684EC1B04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1015;p97">
              <a:extLst>
                <a:ext uri="{FF2B5EF4-FFF2-40B4-BE49-F238E27FC236}">
                  <a16:creationId xmlns:a16="http://schemas.microsoft.com/office/drawing/2014/main" id="{4DD0AD79-C089-2E00-FF3E-35FA9399EC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1016;p97">
              <a:extLst>
                <a:ext uri="{FF2B5EF4-FFF2-40B4-BE49-F238E27FC236}">
                  <a16:creationId xmlns:a16="http://schemas.microsoft.com/office/drawing/2014/main" id="{ED428288-D79A-06AC-A6FB-6F6B8FEA166D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1017;p97">
                <a:extLst>
                  <a:ext uri="{FF2B5EF4-FFF2-40B4-BE49-F238E27FC236}">
                    <a16:creationId xmlns:a16="http://schemas.microsoft.com/office/drawing/2014/main" id="{1BB6E95F-57A0-7DC2-92EB-8EA1BFC0D7DE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1018;p97">
                <a:extLst>
                  <a:ext uri="{FF2B5EF4-FFF2-40B4-BE49-F238E27FC236}">
                    <a16:creationId xmlns:a16="http://schemas.microsoft.com/office/drawing/2014/main" id="{DA0BB56B-0C2F-4F9D-8868-F6FADF4EFDC9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1019;p97" descr="Open quotation mark with solid fill">
            <a:extLst>
              <a:ext uri="{FF2B5EF4-FFF2-40B4-BE49-F238E27FC236}">
                <a16:creationId xmlns:a16="http://schemas.microsoft.com/office/drawing/2014/main" id="{E380D616-7F6D-E3EF-E09A-3518C300938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43509102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021;p98">
            <a:extLst>
              <a:ext uri="{FF2B5EF4-FFF2-40B4-BE49-F238E27FC236}">
                <a16:creationId xmlns:a16="http://schemas.microsoft.com/office/drawing/2014/main" id="{1513CD8B-7250-288D-468B-9B3077908840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022;p98">
              <a:extLst>
                <a:ext uri="{FF2B5EF4-FFF2-40B4-BE49-F238E27FC236}">
                  <a16:creationId xmlns:a16="http://schemas.microsoft.com/office/drawing/2014/main" id="{CEA1D5EC-FE71-C6FB-CD0F-47EFDD4B236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023;p98">
              <a:extLst>
                <a:ext uri="{FF2B5EF4-FFF2-40B4-BE49-F238E27FC236}">
                  <a16:creationId xmlns:a16="http://schemas.microsoft.com/office/drawing/2014/main" id="{6FCEA53C-764F-EFDA-C914-8D24BB40A57B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024;p98">
                <a:extLst>
                  <a:ext uri="{FF2B5EF4-FFF2-40B4-BE49-F238E27FC236}">
                    <a16:creationId xmlns:a16="http://schemas.microsoft.com/office/drawing/2014/main" id="{98D6509D-B6E5-D709-125B-468A6EA55A8F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025;p98">
                <a:extLst>
                  <a:ext uri="{FF2B5EF4-FFF2-40B4-BE49-F238E27FC236}">
                    <a16:creationId xmlns:a16="http://schemas.microsoft.com/office/drawing/2014/main" id="{3E525B48-90BA-B2B4-AB9E-7A537673EA9C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026;p98">
            <a:extLst>
              <a:ext uri="{FF2B5EF4-FFF2-40B4-BE49-F238E27FC236}">
                <a16:creationId xmlns:a16="http://schemas.microsoft.com/office/drawing/2014/main" id="{3F11DBBB-C321-1485-82DC-4F383951EB1B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027;p98">
            <a:extLst>
              <a:ext uri="{FF2B5EF4-FFF2-40B4-BE49-F238E27FC236}">
                <a16:creationId xmlns:a16="http://schemas.microsoft.com/office/drawing/2014/main" id="{6C179093-FE43-4F07-AC9C-167BC4F44E6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/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9" name="Google Shape;1028;p98">
            <a:extLst>
              <a:ext uri="{FF2B5EF4-FFF2-40B4-BE49-F238E27FC236}">
                <a16:creationId xmlns:a16="http://schemas.microsoft.com/office/drawing/2014/main" id="{06CA1677-C0A4-AA15-6DFE-16E62388685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3D703556-5504-4C66-96D6-84504DA12B29}" type="slidenum">
              <a:t>‹#›</a:t>
            </a:fld>
            <a:endParaRPr lang="en-US"/>
          </a:p>
        </p:txBody>
      </p:sp>
      <p:cxnSp>
        <p:nvCxnSpPr>
          <p:cNvPr id="10" name="Google Shape;1029;p98">
            <a:extLst>
              <a:ext uri="{FF2B5EF4-FFF2-40B4-BE49-F238E27FC236}">
                <a16:creationId xmlns:a16="http://schemas.microsoft.com/office/drawing/2014/main" id="{8204E1EB-E914-D63A-4418-1719690C887F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1" name="Google Shape;1030;p98">
            <a:extLst>
              <a:ext uri="{FF2B5EF4-FFF2-40B4-BE49-F238E27FC236}">
                <a16:creationId xmlns:a16="http://schemas.microsoft.com/office/drawing/2014/main" id="{7A640592-AF2C-22BD-8EDE-AF6C0BFA618E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598566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32;p99">
            <a:extLst>
              <a:ext uri="{FF2B5EF4-FFF2-40B4-BE49-F238E27FC236}">
                <a16:creationId xmlns:a16="http://schemas.microsoft.com/office/drawing/2014/main" id="{95AC635A-0D29-DE6B-A313-1CC2DD378B8A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3" name="Google Shape;1033;p99">
            <a:extLst>
              <a:ext uri="{FF2B5EF4-FFF2-40B4-BE49-F238E27FC236}">
                <a16:creationId xmlns:a16="http://schemas.microsoft.com/office/drawing/2014/main" id="{13A18E43-2420-C7C6-C654-50177F76E3C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grpSp>
        <p:nvGrpSpPr>
          <p:cNvPr id="4" name="Google Shape;1034;p99">
            <a:extLst>
              <a:ext uri="{FF2B5EF4-FFF2-40B4-BE49-F238E27FC236}">
                <a16:creationId xmlns:a16="http://schemas.microsoft.com/office/drawing/2014/main" id="{42A92C48-0AE0-FFE2-EE5D-B47E9F7F4000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5" name="Google Shape;1035;p99">
              <a:extLst>
                <a:ext uri="{FF2B5EF4-FFF2-40B4-BE49-F238E27FC236}">
                  <a16:creationId xmlns:a16="http://schemas.microsoft.com/office/drawing/2014/main" id="{1296B6AA-F7CC-1F9B-2C9C-CA7DDAE5A0B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6" name="Google Shape;1036;p99">
              <a:extLst>
                <a:ext uri="{FF2B5EF4-FFF2-40B4-BE49-F238E27FC236}">
                  <a16:creationId xmlns:a16="http://schemas.microsoft.com/office/drawing/2014/main" id="{87DE8C14-3431-DBE4-BDF1-3263F56469AF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7" name="Google Shape;1037;p99">
                <a:extLst>
                  <a:ext uri="{FF2B5EF4-FFF2-40B4-BE49-F238E27FC236}">
                    <a16:creationId xmlns:a16="http://schemas.microsoft.com/office/drawing/2014/main" id="{6C5DA822-7B78-B98F-9BD8-6F3D5415EB9D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8" name="Google Shape;1038;p99">
                <a:extLst>
                  <a:ext uri="{FF2B5EF4-FFF2-40B4-BE49-F238E27FC236}">
                    <a16:creationId xmlns:a16="http://schemas.microsoft.com/office/drawing/2014/main" id="{BFE3F967-3920-041C-46EC-67CFEE4772C8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9" name="Google Shape;1039;p99">
            <a:extLst>
              <a:ext uri="{FF2B5EF4-FFF2-40B4-BE49-F238E27FC236}">
                <a16:creationId xmlns:a16="http://schemas.microsoft.com/office/drawing/2014/main" id="{83C0292F-08B0-D985-983D-EDA8761D4DC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Google Shape;1040;p99">
            <a:extLst>
              <a:ext uri="{FF2B5EF4-FFF2-40B4-BE49-F238E27FC236}">
                <a16:creationId xmlns:a16="http://schemas.microsoft.com/office/drawing/2014/main" id="{20EC52B6-A1B6-94AD-D591-59E39225789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8839193" y="6356351"/>
            <a:ext cx="2743200" cy="365129"/>
          </a:xfrm>
        </p:spPr>
        <p:txBody>
          <a:bodyPr/>
          <a:lstStyle>
            <a:lvl1pPr>
              <a:defRPr/>
            </a:lvl1pPr>
          </a:lstStyle>
          <a:p>
            <a:pPr lvl="0"/>
            <a:fld id="{01E59C8F-A613-4D87-9BA0-5B0BE875DAB1}" type="slidenum">
              <a:t>‹#›</a:t>
            </a:fld>
            <a:endParaRPr lang="en-US"/>
          </a:p>
        </p:txBody>
      </p:sp>
      <p:cxnSp>
        <p:nvCxnSpPr>
          <p:cNvPr id="11" name="Google Shape;1041;p99">
            <a:extLst>
              <a:ext uri="{FF2B5EF4-FFF2-40B4-BE49-F238E27FC236}">
                <a16:creationId xmlns:a16="http://schemas.microsoft.com/office/drawing/2014/main" id="{C3800A4A-6D92-CE8C-ADB2-7FEC37EE5E4E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2" name="Google Shape;1042;p99">
            <a:extLst>
              <a:ext uri="{FF2B5EF4-FFF2-40B4-BE49-F238E27FC236}">
                <a16:creationId xmlns:a16="http://schemas.microsoft.com/office/drawing/2014/main" id="{FAEEF60D-B8FB-4326-3B9C-99B9AC5E610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87875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044;p100">
            <a:extLst>
              <a:ext uri="{FF2B5EF4-FFF2-40B4-BE49-F238E27FC236}">
                <a16:creationId xmlns:a16="http://schemas.microsoft.com/office/drawing/2014/main" id="{FB6A2BFD-651E-F54A-F5C3-3FF8CD43B3C5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045;p100">
              <a:extLst>
                <a:ext uri="{FF2B5EF4-FFF2-40B4-BE49-F238E27FC236}">
                  <a16:creationId xmlns:a16="http://schemas.microsoft.com/office/drawing/2014/main" id="{92114232-E1E1-5B5D-12EF-8A624B60DBE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046;p100">
              <a:extLst>
                <a:ext uri="{FF2B5EF4-FFF2-40B4-BE49-F238E27FC236}">
                  <a16:creationId xmlns:a16="http://schemas.microsoft.com/office/drawing/2014/main" id="{71C19D0F-A314-C695-7F77-8EF18544CE90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047;p100">
                <a:extLst>
                  <a:ext uri="{FF2B5EF4-FFF2-40B4-BE49-F238E27FC236}">
                    <a16:creationId xmlns:a16="http://schemas.microsoft.com/office/drawing/2014/main" id="{57F58D97-639D-6F1C-F1DD-A0B3553AA4B9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048;p100">
                <a:extLst>
                  <a:ext uri="{FF2B5EF4-FFF2-40B4-BE49-F238E27FC236}">
                    <a16:creationId xmlns:a16="http://schemas.microsoft.com/office/drawing/2014/main" id="{8DCB2F14-2A7A-A155-256D-92558A12D346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049;p100">
            <a:extLst>
              <a:ext uri="{FF2B5EF4-FFF2-40B4-BE49-F238E27FC236}">
                <a16:creationId xmlns:a16="http://schemas.microsoft.com/office/drawing/2014/main" id="{0775C318-A23E-DA16-FD0B-89F143BAE781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050;p100">
            <a:extLst>
              <a:ext uri="{FF2B5EF4-FFF2-40B4-BE49-F238E27FC236}">
                <a16:creationId xmlns:a16="http://schemas.microsoft.com/office/drawing/2014/main" id="{17985FD0-C428-79AA-352A-5CDFCD52243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681160"/>
            <a:ext cx="538797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9" name="Google Shape;1051;p100">
            <a:extLst>
              <a:ext uri="{FF2B5EF4-FFF2-40B4-BE49-F238E27FC236}">
                <a16:creationId xmlns:a16="http://schemas.microsoft.com/office/drawing/2014/main" id="{9738DF52-583F-3877-12AD-7460918624E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2505071"/>
            <a:ext cx="5387973" cy="3684583"/>
          </a:xfrm>
          <a:solidFill>
            <a:srgbClr val="F3F6FB"/>
          </a:solidFill>
        </p:spPr>
        <p:txBody>
          <a:bodyPr lIns="182870" tIns="0" rIns="182870" bIns="0">
            <a:normAutofit/>
          </a:bodyPr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0" name="Google Shape;1052;p100">
            <a:extLst>
              <a:ext uri="{FF2B5EF4-FFF2-40B4-BE49-F238E27FC236}">
                <a16:creationId xmlns:a16="http://schemas.microsoft.com/office/drawing/2014/main" id="{E7E57915-22E9-3EBD-DF64-8D0A7BFD3AA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681160"/>
            <a:ext cx="541020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11" name="Google Shape;1053;p100">
            <a:extLst>
              <a:ext uri="{FF2B5EF4-FFF2-40B4-BE49-F238E27FC236}">
                <a16:creationId xmlns:a16="http://schemas.microsoft.com/office/drawing/2014/main" id="{E96E3345-D222-EF67-BFA7-4FFF66264BA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2505071"/>
            <a:ext cx="5410203" cy="3684583"/>
          </a:xfrm>
          <a:solidFill>
            <a:srgbClr val="F3F6FB"/>
          </a:solidFill>
        </p:spPr>
        <p:txBody>
          <a:bodyPr lIns="182870" tIns="0" rIns="182870" bIns="0"/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2" name="Google Shape;1054;p100">
            <a:extLst>
              <a:ext uri="{FF2B5EF4-FFF2-40B4-BE49-F238E27FC236}">
                <a16:creationId xmlns:a16="http://schemas.microsoft.com/office/drawing/2014/main" id="{170BBAD9-CD28-E3C3-8461-BAF8124D00BC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A8F711A0-B6D3-445D-972E-734A139283F7}" type="slidenum">
              <a:t>‹#›</a:t>
            </a:fld>
            <a:endParaRPr lang="en-US"/>
          </a:p>
        </p:txBody>
      </p:sp>
      <p:cxnSp>
        <p:nvCxnSpPr>
          <p:cNvPr id="13" name="Google Shape;1055;p100">
            <a:extLst>
              <a:ext uri="{FF2B5EF4-FFF2-40B4-BE49-F238E27FC236}">
                <a16:creationId xmlns:a16="http://schemas.microsoft.com/office/drawing/2014/main" id="{2562DFDA-125E-68DE-9DA2-1FAB2C55FCE4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4" name="Google Shape;1056;p100">
            <a:extLst>
              <a:ext uri="{FF2B5EF4-FFF2-40B4-BE49-F238E27FC236}">
                <a16:creationId xmlns:a16="http://schemas.microsoft.com/office/drawing/2014/main" id="{0B561798-324F-1272-E057-81EBCD0A1E53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020293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058;p101">
            <a:extLst>
              <a:ext uri="{FF2B5EF4-FFF2-40B4-BE49-F238E27FC236}">
                <a16:creationId xmlns:a16="http://schemas.microsoft.com/office/drawing/2014/main" id="{6E30D6F9-5769-928E-6055-F19B2085CBFE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059;p101">
              <a:extLst>
                <a:ext uri="{FF2B5EF4-FFF2-40B4-BE49-F238E27FC236}">
                  <a16:creationId xmlns:a16="http://schemas.microsoft.com/office/drawing/2014/main" id="{A3DDD87F-3AEF-9FE0-58C1-83CF77BB5CA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060;p101">
              <a:extLst>
                <a:ext uri="{FF2B5EF4-FFF2-40B4-BE49-F238E27FC236}">
                  <a16:creationId xmlns:a16="http://schemas.microsoft.com/office/drawing/2014/main" id="{C1745EEC-F4D7-9916-10F7-90B5E6B92048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061;p101">
                <a:extLst>
                  <a:ext uri="{FF2B5EF4-FFF2-40B4-BE49-F238E27FC236}">
                    <a16:creationId xmlns:a16="http://schemas.microsoft.com/office/drawing/2014/main" id="{B902D9F5-F35C-514F-895F-A932EE29B307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062;p101">
                <a:extLst>
                  <a:ext uri="{FF2B5EF4-FFF2-40B4-BE49-F238E27FC236}">
                    <a16:creationId xmlns:a16="http://schemas.microsoft.com/office/drawing/2014/main" id="{0680628C-E064-5A9F-4462-41AB5A2BFDBC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063;p101">
            <a:extLst>
              <a:ext uri="{FF2B5EF4-FFF2-40B4-BE49-F238E27FC236}">
                <a16:creationId xmlns:a16="http://schemas.microsoft.com/office/drawing/2014/main" id="{939809BD-83D3-C993-4A8D-4E235DC5A5A1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064;p101">
            <a:extLst>
              <a:ext uri="{FF2B5EF4-FFF2-40B4-BE49-F238E27FC236}">
                <a16:creationId xmlns:a16="http://schemas.microsoft.com/office/drawing/2014/main" id="{3C93B423-2C1D-CEDD-F249-296A83E6B910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FA5F62AE-5E69-48B9-8317-CC1134A37E77}" type="slidenum">
              <a:t>‹#›</a:t>
            </a:fld>
            <a:endParaRPr lang="en-US"/>
          </a:p>
        </p:txBody>
      </p:sp>
      <p:cxnSp>
        <p:nvCxnSpPr>
          <p:cNvPr id="9" name="Google Shape;1065;p101">
            <a:extLst>
              <a:ext uri="{FF2B5EF4-FFF2-40B4-BE49-F238E27FC236}">
                <a16:creationId xmlns:a16="http://schemas.microsoft.com/office/drawing/2014/main" id="{79D55465-34DF-19F6-6E71-61E656B1E8E9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0" name="Google Shape;1066;p101">
            <a:extLst>
              <a:ext uri="{FF2B5EF4-FFF2-40B4-BE49-F238E27FC236}">
                <a16:creationId xmlns:a16="http://schemas.microsoft.com/office/drawing/2014/main" id="{3F26C4A9-EC98-7DE4-B487-352DE4BF3904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6854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593678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068;p102">
            <a:extLst>
              <a:ext uri="{FF2B5EF4-FFF2-40B4-BE49-F238E27FC236}">
                <a16:creationId xmlns:a16="http://schemas.microsoft.com/office/drawing/2014/main" id="{46561EFF-130B-327A-5C95-7FED39604C1C}"/>
              </a:ext>
            </a:extLst>
          </p:cNvPr>
          <p:cNvGrpSpPr/>
          <p:nvPr/>
        </p:nvGrpSpPr>
        <p:grpSpPr>
          <a:xfrm>
            <a:off x="0" y="0"/>
            <a:ext cx="12191996" cy="2148830"/>
            <a:chOff x="0" y="0"/>
            <a:chExt cx="12191996" cy="2148830"/>
          </a:xfrm>
        </p:grpSpPr>
        <p:sp>
          <p:nvSpPr>
            <p:cNvPr id="3" name="Google Shape;1069;p102">
              <a:extLst>
                <a:ext uri="{FF2B5EF4-FFF2-40B4-BE49-F238E27FC236}">
                  <a16:creationId xmlns:a16="http://schemas.microsoft.com/office/drawing/2014/main" id="{25CB19CA-121C-6D94-FB57-8F3E136F7AD7}"/>
                </a:ext>
              </a:extLst>
            </p:cNvPr>
            <p:cNvSpPr/>
            <p:nvPr/>
          </p:nvSpPr>
          <p:spPr>
            <a:xfrm flipH="1">
              <a:off x="0" y="0"/>
              <a:ext cx="12191996" cy="214883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2148830"/>
                <a:gd name="f5" fmla="val 2318293"/>
                <a:gd name="f6" fmla="val 2110341"/>
                <a:gd name="f7" fmla="val 1952334"/>
                <a:gd name="f8" fmla="val 920"/>
                <a:gd name="f9" fmla="val 1343499"/>
                <a:gd name="f10" fmla="val 23864"/>
                <a:gd name="f11" fmla="val 752130"/>
                <a:gd name="f12" fmla="val 152982"/>
                <a:gd name="f13" fmla="val 184205"/>
                <a:gd name="f14" fmla="val 435928"/>
                <a:gd name="f15" fmla="val 536864"/>
                <a:gd name="f16" fmla="val 554713"/>
                <a:gd name="f17" fmla="val 201115"/>
                <a:gd name="f18" fmla="val 452796"/>
                <a:gd name="f19" fmla="val 776357"/>
                <a:gd name="f20" fmla="val 187336"/>
                <a:gd name="f21" fmla="val 1349828"/>
                <a:gd name="f22" fmla="val 76760"/>
                <a:gd name="f23" fmla="val 1947588"/>
                <a:gd name="f24" fmla="val 66249"/>
                <a:gd name="f25" fmla="val 2962940"/>
                <a:gd name="f26" fmla="val 48421"/>
                <a:gd name="f27" fmla="val 3890218"/>
                <a:gd name="f28" fmla="val 291317"/>
                <a:gd name="f29" fmla="val 4778140"/>
                <a:gd name="f30" fmla="val 604018"/>
                <a:gd name="f31" fmla="val 7231510"/>
                <a:gd name="f32" fmla="val 1468126"/>
                <a:gd name="f33" fmla="val 9178927"/>
                <a:gd name="f34" fmla="val 2492024"/>
                <a:gd name="f35" fmla="val 11996242"/>
                <a:gd name="f36" fmla="val 2036894"/>
                <a:gd name="f37" fmla="val 2002266"/>
                <a:gd name="f38" fmla="val 1415250"/>
                <a:gd name="f39" fmla="val 12022971"/>
                <a:gd name="f40" fmla="val 1470801"/>
                <a:gd name="f41" fmla="val 10719696"/>
                <a:gd name="f42" fmla="val 1863939"/>
                <a:gd name="f43" fmla="val 9271154"/>
                <a:gd name="f44" fmla="val 1783804"/>
                <a:gd name="f45" fmla="val 7970940"/>
                <a:gd name="f46" fmla="val 1436986"/>
                <a:gd name="f47" fmla="val 6890984"/>
                <a:gd name="f48" fmla="val 1148958"/>
                <a:gd name="f49" fmla="val 5866930"/>
                <a:gd name="f50" fmla="val 767309"/>
                <a:gd name="f51" fmla="val 4800356"/>
                <a:gd name="f52" fmla="val 456582"/>
                <a:gd name="f53" fmla="val 4068903"/>
                <a:gd name="f54" fmla="val 243471"/>
                <a:gd name="f55" fmla="val 3348204"/>
                <a:gd name="f56" fmla="val 74251"/>
                <a:gd name="f57" fmla="val 2646880"/>
                <a:gd name="f58" fmla="val 17560"/>
                <a:gd name="f59" fmla="*/ f0 1 12192000"/>
                <a:gd name="f60" fmla="*/ f1 1 2148830"/>
                <a:gd name="f61" fmla="+- f4 0 f2"/>
                <a:gd name="f62" fmla="+- f3 0 f2"/>
                <a:gd name="f63" fmla="*/ f62 1 12192000"/>
                <a:gd name="f64" fmla="*/ f61 1 2148830"/>
                <a:gd name="f65" fmla="*/ f2 1 f63"/>
                <a:gd name="f66" fmla="*/ f3 1 f63"/>
                <a:gd name="f67" fmla="*/ f2 1 f64"/>
                <a:gd name="f68" fmla="*/ f4 1 f64"/>
                <a:gd name="f69" fmla="*/ f65 f59 1"/>
                <a:gd name="f70" fmla="*/ f66 f59 1"/>
                <a:gd name="f71" fmla="*/ f68 f60 1"/>
                <a:gd name="f72" fmla="*/ f67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9" t="f72" r="f70" b="f71"/>
              <a:pathLst>
                <a:path w="12192000" h="2148830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1070;p102">
              <a:extLst>
                <a:ext uri="{FF2B5EF4-FFF2-40B4-BE49-F238E27FC236}">
                  <a16:creationId xmlns:a16="http://schemas.microsoft.com/office/drawing/2014/main" id="{52479F28-16FA-8C4E-C0D7-E88724F43F87}"/>
                </a:ext>
              </a:extLst>
            </p:cNvPr>
            <p:cNvSpPr/>
            <p:nvPr/>
          </p:nvSpPr>
          <p:spPr>
            <a:xfrm flipH="1">
              <a:off x="0" y="0"/>
              <a:ext cx="12191996" cy="19921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992138"/>
                <a:gd name="f5" fmla="val 2724271"/>
                <a:gd name="f6" fmla="val 1788442"/>
                <a:gd name="f7" fmla="val 1635403"/>
                <a:gd name="f8" fmla="val 12925"/>
                <a:gd name="f9" fmla="val 1134241"/>
                <a:gd name="f10" fmla="val 70905"/>
                <a:gd name="f11" fmla="val 647221"/>
                <a:gd name="f12" fmla="val 207817"/>
                <a:gd name="f13" fmla="val 178220"/>
                <a:gd name="f14" fmla="val 451207"/>
                <a:gd name="f15" fmla="val 552718"/>
                <a:gd name="f16" fmla="val 570885"/>
                <a:gd name="f17" fmla="val 195368"/>
                <a:gd name="f18" fmla="val 467800"/>
                <a:gd name="f19" fmla="val 765758"/>
                <a:gd name="f20" fmla="val 193094"/>
                <a:gd name="f21" fmla="val 1336955"/>
                <a:gd name="f22" fmla="val 73179"/>
                <a:gd name="f23" fmla="val 1934073"/>
                <a:gd name="f24" fmla="val 52850"/>
                <a:gd name="f25" fmla="val 2948304"/>
                <a:gd name="f26" fmla="val 18310"/>
                <a:gd name="f27" fmla="val 3878878"/>
                <a:gd name="f28" fmla="val 245747"/>
                <a:gd name="f29" fmla="val 4771217"/>
                <a:gd name="f30" fmla="val 543645"/>
                <a:gd name="f31" fmla="val 7236913"/>
                <a:gd name="f32" fmla="val 1366709"/>
                <a:gd name="f33" fmla="val 9199689"/>
                <a:gd name="f34" fmla="val 2357774"/>
                <a:gd name="f35" fmla="val 12007222"/>
                <a:gd name="f36" fmla="val 1856729"/>
                <a:gd name="f37" fmla="val 1820900"/>
                <a:gd name="f38" fmla="val 897073"/>
                <a:gd name="f39" fmla="val 12062517"/>
                <a:gd name="f40" fmla="val 950128"/>
                <a:gd name="f41" fmla="val 10950292"/>
                <a:gd name="f42" fmla="val 1376478"/>
                <a:gd name="f43" fmla="val 9595706"/>
                <a:gd name="f44" fmla="val 1466451"/>
                <a:gd name="f45" fmla="val 8435105"/>
                <a:gd name="f46" fmla="val 1266613"/>
                <a:gd name="f47" fmla="val 6618389"/>
                <a:gd name="f48" fmla="val 953715"/>
                <a:gd name="f49" fmla="val 4735222"/>
                <a:gd name="f50" fmla="val 130088"/>
                <a:gd name="f51" fmla="val 2948502"/>
                <a:gd name="f52" fmla="val 20548"/>
                <a:gd name="f53" fmla="*/ f0 1 12192000"/>
                <a:gd name="f54" fmla="*/ f1 1 1992138"/>
                <a:gd name="f55" fmla="+- f4 0 f2"/>
                <a:gd name="f56" fmla="+- f3 0 f2"/>
                <a:gd name="f57" fmla="*/ f56 1 12192000"/>
                <a:gd name="f58" fmla="*/ f55 1 1992138"/>
                <a:gd name="f59" fmla="*/ f2 1 f57"/>
                <a:gd name="f60" fmla="*/ f3 1 f57"/>
                <a:gd name="f61" fmla="*/ f2 1 f58"/>
                <a:gd name="f62" fmla="*/ f4 1 f58"/>
                <a:gd name="f63" fmla="*/ f59 f53 1"/>
                <a:gd name="f64" fmla="*/ f60 f53 1"/>
                <a:gd name="f65" fmla="*/ f62 f54 1"/>
                <a:gd name="f66" fmla="*/ f61 f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3" t="f66" r="f64" b="f65"/>
              <a:pathLst>
                <a:path w="12192000" h="1992138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lose/>
                </a:path>
              </a:pathLst>
            </a:custGeom>
            <a:solidFill>
              <a:srgbClr val="00498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sp>
        <p:nvSpPr>
          <p:cNvPr id="5" name="Google Shape;1071;p102">
            <a:extLst>
              <a:ext uri="{FF2B5EF4-FFF2-40B4-BE49-F238E27FC236}">
                <a16:creationId xmlns:a16="http://schemas.microsoft.com/office/drawing/2014/main" id="{0C97B161-4C6C-8979-BA76-8B3C07270759}"/>
              </a:ext>
            </a:extLst>
          </p:cNvPr>
          <p:cNvSpPr/>
          <p:nvPr/>
        </p:nvSpPr>
        <p:spPr>
          <a:xfrm>
            <a:off x="902366" y="1517693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6" name="Google Shape;1072;p102">
            <a:extLst>
              <a:ext uri="{FF2B5EF4-FFF2-40B4-BE49-F238E27FC236}">
                <a16:creationId xmlns:a16="http://schemas.microsoft.com/office/drawing/2014/main" id="{AD2B1BA9-509F-9B50-5D54-CB52A12CC21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219196" y="3429000"/>
            <a:ext cx="5582649" cy="1413561"/>
          </a:xfrm>
        </p:spPr>
        <p:txBody>
          <a:bodyPr/>
          <a:lstStyle>
            <a:lvl1pPr indent="-228600">
              <a:buNone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7" name="Google Shape;1073;p102">
            <a:extLst>
              <a:ext uri="{FF2B5EF4-FFF2-40B4-BE49-F238E27FC236}">
                <a16:creationId xmlns:a16="http://schemas.microsoft.com/office/drawing/2014/main" id="{146A1AED-CD1D-9AEA-538F-E145B5CFFBB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19196" y="1887486"/>
            <a:ext cx="5582649" cy="1078260"/>
          </a:xfrm>
        </p:spPr>
        <p:txBody>
          <a:bodyPr/>
          <a:lstStyle>
            <a:lvl1pPr>
              <a:defRPr sz="6000"/>
            </a:lvl1pPr>
          </a:lstStyle>
          <a:p>
            <a:pPr lvl="0"/>
            <a:endParaRPr lang="en-US"/>
          </a:p>
        </p:txBody>
      </p:sp>
      <p:pic>
        <p:nvPicPr>
          <p:cNvPr id="8" name="Google Shape;1074;p102">
            <a:extLst>
              <a:ext uri="{FF2B5EF4-FFF2-40B4-BE49-F238E27FC236}">
                <a16:creationId xmlns:a16="http://schemas.microsoft.com/office/drawing/2014/main" id="{CADD3665-F5B1-E077-BB34-F928C6E60EA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902366" y="228371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4189382584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77;p103">
            <a:extLst>
              <a:ext uri="{FF2B5EF4-FFF2-40B4-BE49-F238E27FC236}">
                <a16:creationId xmlns:a16="http://schemas.microsoft.com/office/drawing/2014/main" id="{16AF3060-96DD-A852-6E91-3980A44A005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EE23B7F6-1DA1-4A09-A73D-334941155206}" type="slidenum">
              <a:t>‹#›</a:t>
            </a:fld>
            <a:endParaRPr lang="en-US"/>
          </a:p>
        </p:txBody>
      </p:sp>
      <p:cxnSp>
        <p:nvCxnSpPr>
          <p:cNvPr id="3" name="Google Shape;1078;p103">
            <a:extLst>
              <a:ext uri="{FF2B5EF4-FFF2-40B4-BE49-F238E27FC236}">
                <a16:creationId xmlns:a16="http://schemas.microsoft.com/office/drawing/2014/main" id="{529838E3-18DB-EC0E-7EC3-397F7F03998F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4" name="Google Shape;1079;p103">
            <a:extLst>
              <a:ext uri="{FF2B5EF4-FFF2-40B4-BE49-F238E27FC236}">
                <a16:creationId xmlns:a16="http://schemas.microsoft.com/office/drawing/2014/main" id="{C7C06AAB-7FFC-15C9-7823-C720A11015DE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1080;p103">
            <a:extLst>
              <a:ext uri="{FF2B5EF4-FFF2-40B4-BE49-F238E27FC236}">
                <a16:creationId xmlns:a16="http://schemas.microsoft.com/office/drawing/2014/main" id="{781C17C7-7980-141D-F4F8-E7895D30A123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6" name="Google Shape;1081;p103">
              <a:extLst>
                <a:ext uri="{FF2B5EF4-FFF2-40B4-BE49-F238E27FC236}">
                  <a16:creationId xmlns:a16="http://schemas.microsoft.com/office/drawing/2014/main" id="{CCDA52F6-0A00-A6BC-23B0-79DF1A2C9C0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7" name="Google Shape;1082;p103">
              <a:extLst>
                <a:ext uri="{FF2B5EF4-FFF2-40B4-BE49-F238E27FC236}">
                  <a16:creationId xmlns:a16="http://schemas.microsoft.com/office/drawing/2014/main" id="{8F75DE41-4655-E2BE-31FE-2425D4B3BBF3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8" name="Google Shape;1083;p103">
                <a:extLst>
                  <a:ext uri="{FF2B5EF4-FFF2-40B4-BE49-F238E27FC236}">
                    <a16:creationId xmlns:a16="http://schemas.microsoft.com/office/drawing/2014/main" id="{CDD4B090-C492-57B0-06D8-9FB8F020394A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9" name="Google Shape;1084;p103">
                <a:extLst>
                  <a:ext uri="{FF2B5EF4-FFF2-40B4-BE49-F238E27FC236}">
                    <a16:creationId xmlns:a16="http://schemas.microsoft.com/office/drawing/2014/main" id="{0CE0DDE9-B724-45A3-1CBC-64B8BA03EF22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74570226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86;p104">
            <a:extLst>
              <a:ext uri="{FF2B5EF4-FFF2-40B4-BE49-F238E27FC236}">
                <a16:creationId xmlns:a16="http://schemas.microsoft.com/office/drawing/2014/main" id="{1F33379A-395F-ABB7-DDBF-F3A3FF7962C4}"/>
              </a:ext>
            </a:extLst>
          </p:cNvPr>
          <p:cNvSpPr/>
          <p:nvPr/>
        </p:nvSpPr>
        <p:spPr>
          <a:xfrm>
            <a:off x="902366" y="1294415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087;p104">
            <a:extLst>
              <a:ext uri="{FF2B5EF4-FFF2-40B4-BE49-F238E27FC236}">
                <a16:creationId xmlns:a16="http://schemas.microsoft.com/office/drawing/2014/main" id="{CF84FCF1-FFF4-EB51-A199-921F8128594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1561328"/>
            <a:ext cx="5194432" cy="1826340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088;p104">
            <a:extLst>
              <a:ext uri="{FF2B5EF4-FFF2-40B4-BE49-F238E27FC236}">
                <a16:creationId xmlns:a16="http://schemas.microsoft.com/office/drawing/2014/main" id="{B27DCCF0-D23A-A77E-CEB6-617C6245B040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766861"/>
            <a:ext cx="5194432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1090;p104">
            <a:extLst>
              <a:ext uri="{FF2B5EF4-FFF2-40B4-BE49-F238E27FC236}">
                <a16:creationId xmlns:a16="http://schemas.microsoft.com/office/drawing/2014/main" id="{409310A9-782B-7DFF-5298-18D446FD2204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6" name="Google Shape;1091;p104">
              <a:extLst>
                <a:ext uri="{FF2B5EF4-FFF2-40B4-BE49-F238E27FC236}">
                  <a16:creationId xmlns:a16="http://schemas.microsoft.com/office/drawing/2014/main" id="{7672EB50-5EEC-D86A-0C3E-D4D3BE6AF734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7" name="Google Shape;1092;p104">
              <a:extLst>
                <a:ext uri="{FF2B5EF4-FFF2-40B4-BE49-F238E27FC236}">
                  <a16:creationId xmlns:a16="http://schemas.microsoft.com/office/drawing/2014/main" id="{EE6A59C2-4777-A1AB-7926-33B3C79791A2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8" name="Google Shape;1093;p104">
              <a:extLst>
                <a:ext uri="{FF2B5EF4-FFF2-40B4-BE49-F238E27FC236}">
                  <a16:creationId xmlns:a16="http://schemas.microsoft.com/office/drawing/2014/main" id="{AB07926C-AB36-DBF2-FCAC-0761786F5E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453685522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095;p105">
            <a:extLst>
              <a:ext uri="{FF2B5EF4-FFF2-40B4-BE49-F238E27FC236}">
                <a16:creationId xmlns:a16="http://schemas.microsoft.com/office/drawing/2014/main" id="{6DEDD40A-9D89-346F-9089-52F5CDAE62AA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3" name="Google Shape;1096;p105">
              <a:extLst>
                <a:ext uri="{FF2B5EF4-FFF2-40B4-BE49-F238E27FC236}">
                  <a16:creationId xmlns:a16="http://schemas.microsoft.com/office/drawing/2014/main" id="{A0CDBF32-CF69-F355-CEAE-795993D36022}"/>
                </a:ext>
              </a:extLst>
            </p:cNvPr>
            <p:cNvSpPr/>
            <p:nvPr/>
          </p:nvSpPr>
          <p:spPr>
            <a:xfrm>
              <a:off x="0" y="5100267"/>
              <a:ext cx="7111371" cy="175773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111369"/>
                <a:gd name="f4" fmla="val 1757730"/>
                <a:gd name="f5" fmla="val 772954"/>
                <a:gd name="f6" fmla="val 2778"/>
                <a:gd name="f7" fmla="val 1769038"/>
                <a:gd name="f8" fmla="val 30799"/>
                <a:gd name="f9" fmla="val 2696750"/>
                <a:gd name="f10" fmla="val 267531"/>
                <a:gd name="f11" fmla="val 3590934"/>
                <a:gd name="f12" fmla="val 566046"/>
                <a:gd name="f13" fmla="val 4684008"/>
                <a:gd name="f14" fmla="val 930921"/>
                <a:gd name="f15" fmla="val 5690778"/>
                <a:gd name="f16" fmla="val 1324625"/>
                <a:gd name="f17" fmla="val 6700767"/>
                <a:gd name="f18" fmla="val 1636882"/>
                <a:gd name="f19" fmla="val 25690"/>
                <a:gd name="f20" fmla="val 2197"/>
                <a:gd name="f21" fmla="val 25414"/>
                <a:gd name="f22" fmla="val 114653"/>
                <a:gd name="f23" fmla="val 14905"/>
                <a:gd name="f24" fmla="val 227801"/>
                <a:gd name="f25" fmla="val 7857"/>
                <a:gd name="f26" fmla="val 341773"/>
                <a:gd name="f27" fmla="val 3976"/>
                <a:gd name="f28" fmla="val 486963"/>
                <a:gd name="f29" fmla="+- 0 0 968"/>
                <a:gd name="f30" fmla="val 630656"/>
                <a:gd name="f31" fmla="+- 0 0 1224"/>
                <a:gd name="f32" fmla="*/ f0 1 7111369"/>
                <a:gd name="f33" fmla="*/ f1 1 1757730"/>
                <a:gd name="f34" fmla="+- f4 0 f2"/>
                <a:gd name="f35" fmla="+- f3 0 f2"/>
                <a:gd name="f36" fmla="*/ f35 1 7111369"/>
                <a:gd name="f37" fmla="*/ f34 1 1757730"/>
                <a:gd name="f38" fmla="*/ f2 1 f36"/>
                <a:gd name="f39" fmla="*/ f3 1 f36"/>
                <a:gd name="f40" fmla="*/ f2 1 f37"/>
                <a:gd name="f41" fmla="*/ f4 1 f37"/>
                <a:gd name="f42" fmla="*/ f38 f32 1"/>
                <a:gd name="f43" fmla="*/ f39 f32 1"/>
                <a:gd name="f44" fmla="*/ f41 f33 1"/>
                <a:gd name="f45" fmla="*/ f40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2" t="f45" r="f43" b="f44"/>
              <a:pathLst>
                <a:path w="7111369" h="1757730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4"/>
                  </a:lnTo>
                  <a:lnTo>
                    <a:pt x="f2" y="f4"/>
                  </a:lnTo>
                  <a:lnTo>
                    <a:pt x="f2" y="f19"/>
                  </a:lnTo>
                  <a:lnTo>
                    <a:pt x="f20" y="f21"/>
                  </a:ln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5" y="f6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1097;p105">
              <a:extLst>
                <a:ext uri="{FF2B5EF4-FFF2-40B4-BE49-F238E27FC236}">
                  <a16:creationId xmlns:a16="http://schemas.microsoft.com/office/drawing/2014/main" id="{B4556C9B-722F-E50A-ACB3-5E4F42ACAFFC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5" name="Google Shape;1098;p105">
              <a:extLst>
                <a:ext uri="{FF2B5EF4-FFF2-40B4-BE49-F238E27FC236}">
                  <a16:creationId xmlns:a16="http://schemas.microsoft.com/office/drawing/2014/main" id="{82B12CA6-C604-623E-7C8C-6D1181A78227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1099;p105">
              <a:extLst>
                <a:ext uri="{FF2B5EF4-FFF2-40B4-BE49-F238E27FC236}">
                  <a16:creationId xmlns:a16="http://schemas.microsoft.com/office/drawing/2014/main" id="{656F088A-0427-A540-9248-B3F88E7C3C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7" name="Google Shape;1100;p105">
            <a:extLst>
              <a:ext uri="{FF2B5EF4-FFF2-40B4-BE49-F238E27FC236}">
                <a16:creationId xmlns:a16="http://schemas.microsoft.com/office/drawing/2014/main" id="{E5E58A42-F8AB-DD61-2172-421ED3B10A7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701747"/>
            <a:ext cx="9365376" cy="2014679"/>
          </a:xfrm>
        </p:spPr>
        <p:txBody>
          <a:bodyPr anchor="b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101;p105">
            <a:extLst>
              <a:ext uri="{FF2B5EF4-FFF2-40B4-BE49-F238E27FC236}">
                <a16:creationId xmlns:a16="http://schemas.microsoft.com/office/drawing/2014/main" id="{6C90C77A-48A4-5281-C55F-6FD7AFD0AC11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081637"/>
            <a:ext cx="9365376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401359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103;p106">
            <a:extLst>
              <a:ext uri="{FF2B5EF4-FFF2-40B4-BE49-F238E27FC236}">
                <a16:creationId xmlns:a16="http://schemas.microsoft.com/office/drawing/2014/main" id="{9BA0C9C6-B923-C42A-35B4-FE94A015A48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57200" y="1146255"/>
            <a:ext cx="2350172" cy="2971800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cxnSp>
        <p:nvCxnSpPr>
          <p:cNvPr id="3" name="Google Shape;1104;p106">
            <a:extLst>
              <a:ext uri="{FF2B5EF4-FFF2-40B4-BE49-F238E27FC236}">
                <a16:creationId xmlns:a16="http://schemas.microsoft.com/office/drawing/2014/main" id="{CCDB12C0-A091-CF08-0B9A-0E88625F67D7}"/>
              </a:ext>
            </a:extLst>
          </p:cNvPr>
          <p:cNvCxnSpPr/>
          <p:nvPr/>
        </p:nvCxnSpPr>
        <p:spPr>
          <a:xfrm>
            <a:off x="457200" y="947985"/>
            <a:ext cx="2350163" cy="0"/>
          </a:xfrm>
          <a:prstGeom prst="straightConnector1">
            <a:avLst/>
          </a:prstGeom>
          <a:noFill/>
          <a:ln w="31747" cap="flat">
            <a:solidFill>
              <a:srgbClr val="F58366"/>
            </a:solidFill>
            <a:prstDash val="solid"/>
            <a:miter/>
          </a:ln>
        </p:spPr>
      </p:cxnSp>
      <p:grpSp>
        <p:nvGrpSpPr>
          <p:cNvPr id="4" name="Google Shape;1105;p106">
            <a:extLst>
              <a:ext uri="{FF2B5EF4-FFF2-40B4-BE49-F238E27FC236}">
                <a16:creationId xmlns:a16="http://schemas.microsoft.com/office/drawing/2014/main" id="{C9F4915E-B7A0-8E70-0B82-65F586D5A9C3}"/>
              </a:ext>
            </a:extLst>
          </p:cNvPr>
          <p:cNvGrpSpPr/>
          <p:nvPr/>
        </p:nvGrpSpPr>
        <p:grpSpPr>
          <a:xfrm>
            <a:off x="0" y="5379424"/>
            <a:ext cx="2807363" cy="753895"/>
            <a:chOff x="0" y="5379424"/>
            <a:chExt cx="2807363" cy="753895"/>
          </a:xfrm>
        </p:grpSpPr>
        <p:sp>
          <p:nvSpPr>
            <p:cNvPr id="5" name="Google Shape;1106;p106">
              <a:extLst>
                <a:ext uri="{FF2B5EF4-FFF2-40B4-BE49-F238E27FC236}">
                  <a16:creationId xmlns:a16="http://schemas.microsoft.com/office/drawing/2014/main" id="{3B22EEBA-B5BE-2A1C-FEBD-9C25A2CBA9F5}"/>
                </a:ext>
              </a:extLst>
            </p:cNvPr>
            <p:cNvSpPr/>
            <p:nvPr/>
          </p:nvSpPr>
          <p:spPr>
            <a:xfrm>
              <a:off x="0" y="5532513"/>
              <a:ext cx="2807363" cy="60080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00807"/>
                <a:gd name="f5" fmla="val 429971"/>
                <a:gd name="f6" fmla="val 123998"/>
                <a:gd name="f7" fmla="val 1184765"/>
                <a:gd name="f8" fmla="val 325331"/>
                <a:gd name="f9" fmla="val 2014184"/>
                <a:gd name="f10" fmla="val 392492"/>
                <a:gd name="f11" fmla="val 2790212"/>
                <a:gd name="f12" fmla="val 235402"/>
                <a:gd name="f13" fmla="val 231522"/>
                <a:gd name="f14" fmla="val 566106"/>
                <a:gd name="f15" fmla="val 2593885"/>
                <a:gd name="f16" fmla="val 587498"/>
                <a:gd name="f17" fmla="val 1673646"/>
                <a:gd name="f18" fmla="val 651184"/>
                <a:gd name="f19" fmla="val 884869"/>
                <a:gd name="f20" fmla="val 479260"/>
                <a:gd name="f21" fmla="val 100844"/>
                <a:gd name="f22" fmla="val 222653"/>
                <a:gd name="f23" fmla="val 188389"/>
                <a:gd name="f24" fmla="*/ f0 1 2807368"/>
                <a:gd name="f25" fmla="*/ f1 1 600807"/>
                <a:gd name="f26" fmla="+- f4 0 f2"/>
                <a:gd name="f27" fmla="+- f3 0 f2"/>
                <a:gd name="f28" fmla="*/ f27 1 2807368"/>
                <a:gd name="f29" fmla="*/ f26 1 600807"/>
                <a:gd name="f30" fmla="*/ f2 1 f28"/>
                <a:gd name="f31" fmla="*/ f3 1 f28"/>
                <a:gd name="f32" fmla="*/ f2 1 f29"/>
                <a:gd name="f33" fmla="*/ f4 1 f29"/>
                <a:gd name="f34" fmla="*/ f30 f24 1"/>
                <a:gd name="f35" fmla="*/ f31 f24 1"/>
                <a:gd name="f36" fmla="*/ f33 f25 1"/>
                <a:gd name="f37" fmla="*/ f32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37" r="f35" b="f36"/>
              <a:pathLst>
                <a:path w="2807368" h="600807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lnTo>
                    <a:pt x="f3" y="f13"/>
                  </a:lnTo>
                  <a:lnTo>
                    <a:pt x="f3" y="f14"/>
                  </a:lnTo>
                  <a:lnTo>
                    <a:pt x="f15" y="f16"/>
                  </a:lnTo>
                  <a:cubicBezTo>
                    <a:pt x="f17" y="f18"/>
                    <a:pt x="f19" y="f20"/>
                    <a:pt x="f21" y="f22"/>
                  </a:cubicBezTo>
                  <a:lnTo>
                    <a:pt x="f2" y="f23"/>
                  </a:ln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6" name="Google Shape;1107;p106">
              <a:extLst>
                <a:ext uri="{FF2B5EF4-FFF2-40B4-BE49-F238E27FC236}">
                  <a16:creationId xmlns:a16="http://schemas.microsoft.com/office/drawing/2014/main" id="{EDB590BB-4F7C-EECA-A0E2-ECB205352ECE}"/>
                </a:ext>
              </a:extLst>
            </p:cNvPr>
            <p:cNvSpPr/>
            <p:nvPr/>
          </p:nvSpPr>
          <p:spPr>
            <a:xfrm>
              <a:off x="0" y="5379424"/>
              <a:ext cx="2807363" cy="64980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49803"/>
                <a:gd name="f5" fmla="val 282676"/>
                <a:gd name="f6" fmla="val 70799"/>
                <a:gd name="f7" fmla="val 435964"/>
                <a:gd name="f8" fmla="val 106085"/>
                <a:gd name="f9" fmla="val 588770"/>
                <a:gd name="f10" fmla="val 137629"/>
                <a:gd name="f11" fmla="val 740881"/>
                <a:gd name="f12" fmla="val 163828"/>
                <a:gd name="f13" fmla="val 1362800"/>
                <a:gd name="f14" fmla="val 270912"/>
                <a:gd name="f15" fmla="val 2067879"/>
                <a:gd name="f16" fmla="val 253759"/>
                <a:gd name="f17" fmla="val 2706471"/>
                <a:gd name="f18" fmla="val 96397"/>
                <a:gd name="f19" fmla="val 67250"/>
                <a:gd name="f20" fmla="val 605551"/>
                <a:gd name="f21" fmla="val 2602685"/>
                <a:gd name="f22" fmla="val 629466"/>
                <a:gd name="f23" fmla="val 1684237"/>
                <a:gd name="f24" fmla="val 708219"/>
                <a:gd name="f25" fmla="val 893252"/>
                <a:gd name="f26" fmla="val 549395"/>
                <a:gd name="f27" fmla="val 105614"/>
                <a:gd name="f28" fmla="val 305882"/>
                <a:gd name="f29" fmla="val 271926"/>
                <a:gd name="f30" fmla="*/ f0 1 2807368"/>
                <a:gd name="f31" fmla="*/ f1 1 649803"/>
                <a:gd name="f32" fmla="+- f4 0 f2"/>
                <a:gd name="f33" fmla="+- f3 0 f2"/>
                <a:gd name="f34" fmla="*/ f33 1 2807368"/>
                <a:gd name="f35" fmla="*/ f32 1 649803"/>
                <a:gd name="f36" fmla="*/ f2 1 f34"/>
                <a:gd name="f37" fmla="*/ f3 1 f34"/>
                <a:gd name="f38" fmla="*/ f2 1 f35"/>
                <a:gd name="f39" fmla="*/ f4 1 f35"/>
                <a:gd name="f40" fmla="*/ f36 f30 1"/>
                <a:gd name="f41" fmla="*/ f37 f30 1"/>
                <a:gd name="f42" fmla="*/ f39 f31 1"/>
                <a:gd name="f43" fmla="*/ f3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2807368" h="649803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19"/>
                  </a:lnTo>
                  <a:lnTo>
                    <a:pt x="f3" y="f20"/>
                  </a:lnTo>
                  <a:lnTo>
                    <a:pt x="f21" y="f22"/>
                  </a:lnTo>
                  <a:cubicBezTo>
                    <a:pt x="f23" y="f24"/>
                    <a:pt x="f25" y="f26"/>
                    <a:pt x="f27" y="f28"/>
                  </a:cubicBezTo>
                  <a:lnTo>
                    <a:pt x="f2" y="f29"/>
                  </a:ln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pic>
        <p:nvPicPr>
          <p:cNvPr id="7" name="Google Shape;1109;p106">
            <a:extLst>
              <a:ext uri="{FF2B5EF4-FFF2-40B4-BE49-F238E27FC236}">
                <a16:creationId xmlns:a16="http://schemas.microsoft.com/office/drawing/2014/main" id="{B1BEA714-6A9E-296E-1C19-D00021BD5CB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513344" y="4385535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843475026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111;p107">
            <a:extLst>
              <a:ext uri="{FF2B5EF4-FFF2-40B4-BE49-F238E27FC236}">
                <a16:creationId xmlns:a16="http://schemas.microsoft.com/office/drawing/2014/main" id="{EC43552C-0950-4AAF-6709-9B632B53BAE4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112;p107">
            <a:extLst>
              <a:ext uri="{FF2B5EF4-FFF2-40B4-BE49-F238E27FC236}">
                <a16:creationId xmlns:a16="http://schemas.microsoft.com/office/drawing/2014/main" id="{1B6CF5B7-B0B5-5D7F-0748-55B78275A8A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113;p107">
            <a:extLst>
              <a:ext uri="{FF2B5EF4-FFF2-40B4-BE49-F238E27FC236}">
                <a16:creationId xmlns:a16="http://schemas.microsoft.com/office/drawing/2014/main" id="{88EB0AA9-2333-C387-7735-D103C0599BE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114;p107">
            <a:extLst>
              <a:ext uri="{FF2B5EF4-FFF2-40B4-BE49-F238E27FC236}">
                <a16:creationId xmlns:a16="http://schemas.microsoft.com/office/drawing/2014/main" id="{3C42EC17-2779-B54C-2F2E-7B6DA663EE9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FC378875-235F-4C57-8248-ECB06B772F43}" type="slidenum">
              <a:t>‹#›</a:t>
            </a:fld>
            <a:endParaRPr lang="en-US"/>
          </a:p>
        </p:txBody>
      </p:sp>
      <p:cxnSp>
        <p:nvCxnSpPr>
          <p:cNvPr id="6" name="Google Shape;1115;p107">
            <a:extLst>
              <a:ext uri="{FF2B5EF4-FFF2-40B4-BE49-F238E27FC236}">
                <a16:creationId xmlns:a16="http://schemas.microsoft.com/office/drawing/2014/main" id="{6F5DAC16-7D88-8C64-C8AC-E12253397D57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116;p107">
            <a:extLst>
              <a:ext uri="{FF2B5EF4-FFF2-40B4-BE49-F238E27FC236}">
                <a16:creationId xmlns:a16="http://schemas.microsoft.com/office/drawing/2014/main" id="{0A1757ED-FCA5-66CB-A420-033B3D5977C8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1117;p107">
            <a:extLst>
              <a:ext uri="{FF2B5EF4-FFF2-40B4-BE49-F238E27FC236}">
                <a16:creationId xmlns:a16="http://schemas.microsoft.com/office/drawing/2014/main" id="{9D97EB07-8331-AC1F-E72D-4F1691B200B6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1118;p107">
              <a:extLst>
                <a:ext uri="{FF2B5EF4-FFF2-40B4-BE49-F238E27FC236}">
                  <a16:creationId xmlns:a16="http://schemas.microsoft.com/office/drawing/2014/main" id="{9D6D8778-4459-0112-3885-02530CB945F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1119;p107">
              <a:extLst>
                <a:ext uri="{FF2B5EF4-FFF2-40B4-BE49-F238E27FC236}">
                  <a16:creationId xmlns:a16="http://schemas.microsoft.com/office/drawing/2014/main" id="{CF53B2B3-0B9F-AC75-142E-E151EF752B4F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1120;p107">
                <a:extLst>
                  <a:ext uri="{FF2B5EF4-FFF2-40B4-BE49-F238E27FC236}">
                    <a16:creationId xmlns:a16="http://schemas.microsoft.com/office/drawing/2014/main" id="{C5D59400-3CEB-2A8D-C114-B294BBD8214A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1121;p107">
                <a:extLst>
                  <a:ext uri="{FF2B5EF4-FFF2-40B4-BE49-F238E27FC236}">
                    <a16:creationId xmlns:a16="http://schemas.microsoft.com/office/drawing/2014/main" id="{E8A278D5-D0D3-BD86-571F-31102EA3C568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1122;p107" descr="Open quotation mark with solid fill">
            <a:extLst>
              <a:ext uri="{FF2B5EF4-FFF2-40B4-BE49-F238E27FC236}">
                <a16:creationId xmlns:a16="http://schemas.microsoft.com/office/drawing/2014/main" id="{10EB3D73-70A1-465C-C8DD-C231B923476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552450753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124;p108">
            <a:extLst>
              <a:ext uri="{FF2B5EF4-FFF2-40B4-BE49-F238E27FC236}">
                <a16:creationId xmlns:a16="http://schemas.microsoft.com/office/drawing/2014/main" id="{ACBB621A-3ED0-2DC6-FA90-A3F3966A4FDD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125;p108">
              <a:extLst>
                <a:ext uri="{FF2B5EF4-FFF2-40B4-BE49-F238E27FC236}">
                  <a16:creationId xmlns:a16="http://schemas.microsoft.com/office/drawing/2014/main" id="{D04EA8A9-F3DB-054E-44B0-01A04FE2873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126;p108">
              <a:extLst>
                <a:ext uri="{FF2B5EF4-FFF2-40B4-BE49-F238E27FC236}">
                  <a16:creationId xmlns:a16="http://schemas.microsoft.com/office/drawing/2014/main" id="{CDC1C783-F45C-0970-78A2-FA378ED8360D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127;p108">
                <a:extLst>
                  <a:ext uri="{FF2B5EF4-FFF2-40B4-BE49-F238E27FC236}">
                    <a16:creationId xmlns:a16="http://schemas.microsoft.com/office/drawing/2014/main" id="{510DAE3C-E8ED-3C00-436D-D9ABDC1BA50C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128;p108">
                <a:extLst>
                  <a:ext uri="{FF2B5EF4-FFF2-40B4-BE49-F238E27FC236}">
                    <a16:creationId xmlns:a16="http://schemas.microsoft.com/office/drawing/2014/main" id="{8DE4316D-BA37-68FB-64DC-BD5AAE93E855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129;p108">
            <a:extLst>
              <a:ext uri="{FF2B5EF4-FFF2-40B4-BE49-F238E27FC236}">
                <a16:creationId xmlns:a16="http://schemas.microsoft.com/office/drawing/2014/main" id="{A56C212D-B1B7-FA2C-37B8-B2012381DA60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130;p108">
            <a:extLst>
              <a:ext uri="{FF2B5EF4-FFF2-40B4-BE49-F238E27FC236}">
                <a16:creationId xmlns:a16="http://schemas.microsoft.com/office/drawing/2014/main" id="{ED36240D-CBAE-C63A-78B6-245A57354FA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/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9" name="Google Shape;1131;p108">
            <a:extLst>
              <a:ext uri="{FF2B5EF4-FFF2-40B4-BE49-F238E27FC236}">
                <a16:creationId xmlns:a16="http://schemas.microsoft.com/office/drawing/2014/main" id="{90BDE90B-3D3E-2FCA-9B7A-290C5316D55C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EA6D9D82-6F4C-43B5-9E56-0FECF8B9E88E}" type="slidenum">
              <a:t>‹#›</a:t>
            </a:fld>
            <a:endParaRPr lang="en-US"/>
          </a:p>
        </p:txBody>
      </p:sp>
      <p:cxnSp>
        <p:nvCxnSpPr>
          <p:cNvPr id="10" name="Google Shape;1132;p108">
            <a:extLst>
              <a:ext uri="{FF2B5EF4-FFF2-40B4-BE49-F238E27FC236}">
                <a16:creationId xmlns:a16="http://schemas.microsoft.com/office/drawing/2014/main" id="{C4A3570C-E992-22C8-92F4-24961468E149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1" name="Google Shape;1133;p108">
            <a:extLst>
              <a:ext uri="{FF2B5EF4-FFF2-40B4-BE49-F238E27FC236}">
                <a16:creationId xmlns:a16="http://schemas.microsoft.com/office/drawing/2014/main" id="{EDF34164-D242-614D-354F-D3A7FBC62456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6777143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135;p109">
            <a:extLst>
              <a:ext uri="{FF2B5EF4-FFF2-40B4-BE49-F238E27FC236}">
                <a16:creationId xmlns:a16="http://schemas.microsoft.com/office/drawing/2014/main" id="{A4D55696-4C1D-FDC1-46C8-989276E580F2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3" name="Google Shape;1136;p109">
            <a:extLst>
              <a:ext uri="{FF2B5EF4-FFF2-40B4-BE49-F238E27FC236}">
                <a16:creationId xmlns:a16="http://schemas.microsoft.com/office/drawing/2014/main" id="{AEEE63F7-CA68-4996-C22C-5FB4B1AC244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grpSp>
        <p:nvGrpSpPr>
          <p:cNvPr id="4" name="Google Shape;1137;p109">
            <a:extLst>
              <a:ext uri="{FF2B5EF4-FFF2-40B4-BE49-F238E27FC236}">
                <a16:creationId xmlns:a16="http://schemas.microsoft.com/office/drawing/2014/main" id="{A61A88F9-B19C-716B-3BA4-A135C43A96A3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5" name="Google Shape;1138;p109">
              <a:extLst>
                <a:ext uri="{FF2B5EF4-FFF2-40B4-BE49-F238E27FC236}">
                  <a16:creationId xmlns:a16="http://schemas.microsoft.com/office/drawing/2014/main" id="{8D33DAD4-4532-3DEF-7935-9770A1E54D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6" name="Google Shape;1139;p109">
              <a:extLst>
                <a:ext uri="{FF2B5EF4-FFF2-40B4-BE49-F238E27FC236}">
                  <a16:creationId xmlns:a16="http://schemas.microsoft.com/office/drawing/2014/main" id="{6835EEAE-8BA2-632E-E279-A36D4757EC3F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7" name="Google Shape;1140;p109">
                <a:extLst>
                  <a:ext uri="{FF2B5EF4-FFF2-40B4-BE49-F238E27FC236}">
                    <a16:creationId xmlns:a16="http://schemas.microsoft.com/office/drawing/2014/main" id="{A814BB94-1328-3F7B-0C7E-532A8389F0AC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8" name="Google Shape;1141;p109">
                <a:extLst>
                  <a:ext uri="{FF2B5EF4-FFF2-40B4-BE49-F238E27FC236}">
                    <a16:creationId xmlns:a16="http://schemas.microsoft.com/office/drawing/2014/main" id="{0503DDF2-667C-45DD-865D-A141FD4AD52F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9" name="Google Shape;1142;p109">
            <a:extLst>
              <a:ext uri="{FF2B5EF4-FFF2-40B4-BE49-F238E27FC236}">
                <a16:creationId xmlns:a16="http://schemas.microsoft.com/office/drawing/2014/main" id="{D8BCCC72-53C5-62A9-91A9-A09DE224D09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Google Shape;1143;p109">
            <a:extLst>
              <a:ext uri="{FF2B5EF4-FFF2-40B4-BE49-F238E27FC236}">
                <a16:creationId xmlns:a16="http://schemas.microsoft.com/office/drawing/2014/main" id="{4DB1F086-25FD-4BE7-E7B2-A0CA399F2272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8839193" y="6356351"/>
            <a:ext cx="2743200" cy="365129"/>
          </a:xfrm>
        </p:spPr>
        <p:txBody>
          <a:bodyPr/>
          <a:lstStyle>
            <a:lvl1pPr>
              <a:defRPr/>
            </a:lvl1pPr>
          </a:lstStyle>
          <a:p>
            <a:pPr lvl="0"/>
            <a:fld id="{910C41BD-D333-4784-8B9D-47017A3CEC3D}" type="slidenum">
              <a:t>‹#›</a:t>
            </a:fld>
            <a:endParaRPr lang="en-US"/>
          </a:p>
        </p:txBody>
      </p:sp>
      <p:cxnSp>
        <p:nvCxnSpPr>
          <p:cNvPr id="11" name="Google Shape;1144;p109">
            <a:extLst>
              <a:ext uri="{FF2B5EF4-FFF2-40B4-BE49-F238E27FC236}">
                <a16:creationId xmlns:a16="http://schemas.microsoft.com/office/drawing/2014/main" id="{FFBE7883-B789-216D-B041-FC8148EDBB34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2" name="Google Shape;1145;p109">
            <a:extLst>
              <a:ext uri="{FF2B5EF4-FFF2-40B4-BE49-F238E27FC236}">
                <a16:creationId xmlns:a16="http://schemas.microsoft.com/office/drawing/2014/main" id="{FF5944E7-03BE-9AB3-0AF9-FA071FD5AB6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189627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147;p110">
            <a:extLst>
              <a:ext uri="{FF2B5EF4-FFF2-40B4-BE49-F238E27FC236}">
                <a16:creationId xmlns:a16="http://schemas.microsoft.com/office/drawing/2014/main" id="{874913A6-777D-F19E-6F1D-9EAC3A1C252C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148;p110">
              <a:extLst>
                <a:ext uri="{FF2B5EF4-FFF2-40B4-BE49-F238E27FC236}">
                  <a16:creationId xmlns:a16="http://schemas.microsoft.com/office/drawing/2014/main" id="{38DD441B-91EF-4FBF-6B84-BD1BA507ED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149;p110">
              <a:extLst>
                <a:ext uri="{FF2B5EF4-FFF2-40B4-BE49-F238E27FC236}">
                  <a16:creationId xmlns:a16="http://schemas.microsoft.com/office/drawing/2014/main" id="{ACBC07DF-9A48-76BB-B00D-F8010B6150C5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150;p110">
                <a:extLst>
                  <a:ext uri="{FF2B5EF4-FFF2-40B4-BE49-F238E27FC236}">
                    <a16:creationId xmlns:a16="http://schemas.microsoft.com/office/drawing/2014/main" id="{9D2A7C12-C449-5A09-FFA5-DDB717FD44F8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151;p110">
                <a:extLst>
                  <a:ext uri="{FF2B5EF4-FFF2-40B4-BE49-F238E27FC236}">
                    <a16:creationId xmlns:a16="http://schemas.microsoft.com/office/drawing/2014/main" id="{854CCDEF-CA71-BEF1-3A64-E70880952ED3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152;p110">
            <a:extLst>
              <a:ext uri="{FF2B5EF4-FFF2-40B4-BE49-F238E27FC236}">
                <a16:creationId xmlns:a16="http://schemas.microsoft.com/office/drawing/2014/main" id="{2555D605-5177-AF4F-F715-99E6100F5070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153;p110">
            <a:extLst>
              <a:ext uri="{FF2B5EF4-FFF2-40B4-BE49-F238E27FC236}">
                <a16:creationId xmlns:a16="http://schemas.microsoft.com/office/drawing/2014/main" id="{5ECCEFC5-B31E-97F0-C780-DEA046926F6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681160"/>
            <a:ext cx="538797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9" name="Google Shape;1154;p110">
            <a:extLst>
              <a:ext uri="{FF2B5EF4-FFF2-40B4-BE49-F238E27FC236}">
                <a16:creationId xmlns:a16="http://schemas.microsoft.com/office/drawing/2014/main" id="{87E62954-DBDC-11E1-4CDF-60DA6BCDE8C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2505071"/>
            <a:ext cx="5387973" cy="3684583"/>
          </a:xfrm>
          <a:solidFill>
            <a:srgbClr val="F3F6FB"/>
          </a:solidFill>
        </p:spPr>
        <p:txBody>
          <a:bodyPr lIns="182870" tIns="0" rIns="182870" bIns="0">
            <a:normAutofit/>
          </a:bodyPr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0" name="Google Shape;1155;p110">
            <a:extLst>
              <a:ext uri="{FF2B5EF4-FFF2-40B4-BE49-F238E27FC236}">
                <a16:creationId xmlns:a16="http://schemas.microsoft.com/office/drawing/2014/main" id="{6C2EF329-204F-3C56-F53A-69FFC18987D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681160"/>
            <a:ext cx="541020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11" name="Google Shape;1156;p110">
            <a:extLst>
              <a:ext uri="{FF2B5EF4-FFF2-40B4-BE49-F238E27FC236}">
                <a16:creationId xmlns:a16="http://schemas.microsoft.com/office/drawing/2014/main" id="{7AAC2344-9990-1B88-8AA3-8AA70CD0279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2505071"/>
            <a:ext cx="5410203" cy="3684583"/>
          </a:xfrm>
          <a:solidFill>
            <a:srgbClr val="F3F6FB"/>
          </a:solidFill>
        </p:spPr>
        <p:txBody>
          <a:bodyPr lIns="182870" tIns="0" rIns="182870" bIns="0"/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2" name="Google Shape;1157;p110">
            <a:extLst>
              <a:ext uri="{FF2B5EF4-FFF2-40B4-BE49-F238E27FC236}">
                <a16:creationId xmlns:a16="http://schemas.microsoft.com/office/drawing/2014/main" id="{6A25AF5C-4F18-DC2F-3581-4BC9386D9204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2F55078E-A38A-495A-B5E6-F6596E677DB8}" type="slidenum">
              <a:t>‹#›</a:t>
            </a:fld>
            <a:endParaRPr lang="en-US"/>
          </a:p>
        </p:txBody>
      </p:sp>
      <p:cxnSp>
        <p:nvCxnSpPr>
          <p:cNvPr id="13" name="Google Shape;1158;p110">
            <a:extLst>
              <a:ext uri="{FF2B5EF4-FFF2-40B4-BE49-F238E27FC236}">
                <a16:creationId xmlns:a16="http://schemas.microsoft.com/office/drawing/2014/main" id="{C956FCFD-A707-1BDF-E8A9-ABDDA5EA5820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4" name="Google Shape;1159;p110">
            <a:extLst>
              <a:ext uri="{FF2B5EF4-FFF2-40B4-BE49-F238E27FC236}">
                <a16:creationId xmlns:a16="http://schemas.microsoft.com/office/drawing/2014/main" id="{F4BD2974-E2E1-5216-C690-C3DE3FBA90FE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188684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161;p111">
            <a:extLst>
              <a:ext uri="{FF2B5EF4-FFF2-40B4-BE49-F238E27FC236}">
                <a16:creationId xmlns:a16="http://schemas.microsoft.com/office/drawing/2014/main" id="{F2A2982E-BB3D-3583-DC6B-81473ECF4E43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162;p111">
              <a:extLst>
                <a:ext uri="{FF2B5EF4-FFF2-40B4-BE49-F238E27FC236}">
                  <a16:creationId xmlns:a16="http://schemas.microsoft.com/office/drawing/2014/main" id="{4A27B61D-8ADE-7C3D-09B1-69FCE76423A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163;p111">
              <a:extLst>
                <a:ext uri="{FF2B5EF4-FFF2-40B4-BE49-F238E27FC236}">
                  <a16:creationId xmlns:a16="http://schemas.microsoft.com/office/drawing/2014/main" id="{A3BA571B-F4FA-CC71-9EBC-B0DB98CA89FF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164;p111">
                <a:extLst>
                  <a:ext uri="{FF2B5EF4-FFF2-40B4-BE49-F238E27FC236}">
                    <a16:creationId xmlns:a16="http://schemas.microsoft.com/office/drawing/2014/main" id="{AC136315-7F0B-7A23-0A09-6D55E793ED3D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165;p111">
                <a:extLst>
                  <a:ext uri="{FF2B5EF4-FFF2-40B4-BE49-F238E27FC236}">
                    <a16:creationId xmlns:a16="http://schemas.microsoft.com/office/drawing/2014/main" id="{B239324D-2084-AF83-E5D0-B818F7A157C1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166;p111">
            <a:extLst>
              <a:ext uri="{FF2B5EF4-FFF2-40B4-BE49-F238E27FC236}">
                <a16:creationId xmlns:a16="http://schemas.microsoft.com/office/drawing/2014/main" id="{6957FD43-D094-01F8-A402-0EC53B4BECCD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167;p111">
            <a:extLst>
              <a:ext uri="{FF2B5EF4-FFF2-40B4-BE49-F238E27FC236}">
                <a16:creationId xmlns:a16="http://schemas.microsoft.com/office/drawing/2014/main" id="{06B2D8CE-3ED1-92E1-05A9-AEB822EF78BD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A0C213A3-B086-4FB1-A428-52736A6FA078}" type="slidenum">
              <a:t>‹#›</a:t>
            </a:fld>
            <a:endParaRPr lang="en-US"/>
          </a:p>
        </p:txBody>
      </p:sp>
      <p:cxnSp>
        <p:nvCxnSpPr>
          <p:cNvPr id="9" name="Google Shape;1168;p111">
            <a:extLst>
              <a:ext uri="{FF2B5EF4-FFF2-40B4-BE49-F238E27FC236}">
                <a16:creationId xmlns:a16="http://schemas.microsoft.com/office/drawing/2014/main" id="{3D5CDD35-EF15-21B1-8686-FCD6A977D655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0" name="Google Shape;1169;p111">
            <a:extLst>
              <a:ext uri="{FF2B5EF4-FFF2-40B4-BE49-F238E27FC236}">
                <a16:creationId xmlns:a16="http://schemas.microsoft.com/office/drawing/2014/main" id="{657DC0B8-FA3A-9F96-9EFA-CCBF27680AD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8077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29201658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171;p112">
            <a:extLst>
              <a:ext uri="{FF2B5EF4-FFF2-40B4-BE49-F238E27FC236}">
                <a16:creationId xmlns:a16="http://schemas.microsoft.com/office/drawing/2014/main" id="{6194016E-2617-212A-8493-83ADF96A3DFC}"/>
              </a:ext>
            </a:extLst>
          </p:cNvPr>
          <p:cNvGrpSpPr/>
          <p:nvPr/>
        </p:nvGrpSpPr>
        <p:grpSpPr>
          <a:xfrm>
            <a:off x="0" y="0"/>
            <a:ext cx="12191996" cy="2148830"/>
            <a:chOff x="0" y="0"/>
            <a:chExt cx="12191996" cy="2148830"/>
          </a:xfrm>
        </p:grpSpPr>
        <p:sp>
          <p:nvSpPr>
            <p:cNvPr id="3" name="Google Shape;1172;p112">
              <a:extLst>
                <a:ext uri="{FF2B5EF4-FFF2-40B4-BE49-F238E27FC236}">
                  <a16:creationId xmlns:a16="http://schemas.microsoft.com/office/drawing/2014/main" id="{5A8F4719-4D46-5BFF-85FE-ABF43956E5AD}"/>
                </a:ext>
              </a:extLst>
            </p:cNvPr>
            <p:cNvSpPr/>
            <p:nvPr/>
          </p:nvSpPr>
          <p:spPr>
            <a:xfrm flipH="1">
              <a:off x="0" y="0"/>
              <a:ext cx="12191996" cy="214883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2148830"/>
                <a:gd name="f5" fmla="val 2318293"/>
                <a:gd name="f6" fmla="val 2110341"/>
                <a:gd name="f7" fmla="val 1952334"/>
                <a:gd name="f8" fmla="val 920"/>
                <a:gd name="f9" fmla="val 1343499"/>
                <a:gd name="f10" fmla="val 23864"/>
                <a:gd name="f11" fmla="val 752130"/>
                <a:gd name="f12" fmla="val 152982"/>
                <a:gd name="f13" fmla="val 184205"/>
                <a:gd name="f14" fmla="val 435928"/>
                <a:gd name="f15" fmla="val 536864"/>
                <a:gd name="f16" fmla="val 554713"/>
                <a:gd name="f17" fmla="val 201115"/>
                <a:gd name="f18" fmla="val 452796"/>
                <a:gd name="f19" fmla="val 776357"/>
                <a:gd name="f20" fmla="val 187336"/>
                <a:gd name="f21" fmla="val 1349828"/>
                <a:gd name="f22" fmla="val 76760"/>
                <a:gd name="f23" fmla="val 1947588"/>
                <a:gd name="f24" fmla="val 66249"/>
                <a:gd name="f25" fmla="val 2962940"/>
                <a:gd name="f26" fmla="val 48421"/>
                <a:gd name="f27" fmla="val 3890218"/>
                <a:gd name="f28" fmla="val 291317"/>
                <a:gd name="f29" fmla="val 4778140"/>
                <a:gd name="f30" fmla="val 604018"/>
                <a:gd name="f31" fmla="val 7231510"/>
                <a:gd name="f32" fmla="val 1468126"/>
                <a:gd name="f33" fmla="val 9178927"/>
                <a:gd name="f34" fmla="val 2492024"/>
                <a:gd name="f35" fmla="val 11996242"/>
                <a:gd name="f36" fmla="val 2036894"/>
                <a:gd name="f37" fmla="val 2002266"/>
                <a:gd name="f38" fmla="val 1415250"/>
                <a:gd name="f39" fmla="val 12022971"/>
                <a:gd name="f40" fmla="val 1470801"/>
                <a:gd name="f41" fmla="val 10719696"/>
                <a:gd name="f42" fmla="val 1863939"/>
                <a:gd name="f43" fmla="val 9271154"/>
                <a:gd name="f44" fmla="val 1783804"/>
                <a:gd name="f45" fmla="val 7970940"/>
                <a:gd name="f46" fmla="val 1436986"/>
                <a:gd name="f47" fmla="val 6890984"/>
                <a:gd name="f48" fmla="val 1148958"/>
                <a:gd name="f49" fmla="val 5866930"/>
                <a:gd name="f50" fmla="val 767309"/>
                <a:gd name="f51" fmla="val 4800356"/>
                <a:gd name="f52" fmla="val 456582"/>
                <a:gd name="f53" fmla="val 4068903"/>
                <a:gd name="f54" fmla="val 243471"/>
                <a:gd name="f55" fmla="val 3348204"/>
                <a:gd name="f56" fmla="val 74251"/>
                <a:gd name="f57" fmla="val 2646880"/>
                <a:gd name="f58" fmla="val 17560"/>
                <a:gd name="f59" fmla="*/ f0 1 12192000"/>
                <a:gd name="f60" fmla="*/ f1 1 2148830"/>
                <a:gd name="f61" fmla="+- f4 0 f2"/>
                <a:gd name="f62" fmla="+- f3 0 f2"/>
                <a:gd name="f63" fmla="*/ f62 1 12192000"/>
                <a:gd name="f64" fmla="*/ f61 1 2148830"/>
                <a:gd name="f65" fmla="*/ f2 1 f63"/>
                <a:gd name="f66" fmla="*/ f3 1 f63"/>
                <a:gd name="f67" fmla="*/ f2 1 f64"/>
                <a:gd name="f68" fmla="*/ f4 1 f64"/>
                <a:gd name="f69" fmla="*/ f65 f59 1"/>
                <a:gd name="f70" fmla="*/ f66 f59 1"/>
                <a:gd name="f71" fmla="*/ f68 f60 1"/>
                <a:gd name="f72" fmla="*/ f67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9" t="f72" r="f70" b="f71"/>
              <a:pathLst>
                <a:path w="12192000" h="2148830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1173;p112">
              <a:extLst>
                <a:ext uri="{FF2B5EF4-FFF2-40B4-BE49-F238E27FC236}">
                  <a16:creationId xmlns:a16="http://schemas.microsoft.com/office/drawing/2014/main" id="{C46299E4-C40E-34E7-D984-7EB142E6DC91}"/>
                </a:ext>
              </a:extLst>
            </p:cNvPr>
            <p:cNvSpPr/>
            <p:nvPr/>
          </p:nvSpPr>
          <p:spPr>
            <a:xfrm flipH="1">
              <a:off x="0" y="0"/>
              <a:ext cx="12191996" cy="19921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992138"/>
                <a:gd name="f5" fmla="val 2724271"/>
                <a:gd name="f6" fmla="val 1788442"/>
                <a:gd name="f7" fmla="val 1635403"/>
                <a:gd name="f8" fmla="val 12925"/>
                <a:gd name="f9" fmla="val 1134241"/>
                <a:gd name="f10" fmla="val 70905"/>
                <a:gd name="f11" fmla="val 647221"/>
                <a:gd name="f12" fmla="val 207817"/>
                <a:gd name="f13" fmla="val 178220"/>
                <a:gd name="f14" fmla="val 451207"/>
                <a:gd name="f15" fmla="val 552718"/>
                <a:gd name="f16" fmla="val 570885"/>
                <a:gd name="f17" fmla="val 195368"/>
                <a:gd name="f18" fmla="val 467800"/>
                <a:gd name="f19" fmla="val 765758"/>
                <a:gd name="f20" fmla="val 193094"/>
                <a:gd name="f21" fmla="val 1336955"/>
                <a:gd name="f22" fmla="val 73179"/>
                <a:gd name="f23" fmla="val 1934073"/>
                <a:gd name="f24" fmla="val 52850"/>
                <a:gd name="f25" fmla="val 2948304"/>
                <a:gd name="f26" fmla="val 18310"/>
                <a:gd name="f27" fmla="val 3878878"/>
                <a:gd name="f28" fmla="val 245747"/>
                <a:gd name="f29" fmla="val 4771217"/>
                <a:gd name="f30" fmla="val 543645"/>
                <a:gd name="f31" fmla="val 7236913"/>
                <a:gd name="f32" fmla="val 1366709"/>
                <a:gd name="f33" fmla="val 9199689"/>
                <a:gd name="f34" fmla="val 2357774"/>
                <a:gd name="f35" fmla="val 12007222"/>
                <a:gd name="f36" fmla="val 1856729"/>
                <a:gd name="f37" fmla="val 1820900"/>
                <a:gd name="f38" fmla="val 897073"/>
                <a:gd name="f39" fmla="val 12062517"/>
                <a:gd name="f40" fmla="val 950128"/>
                <a:gd name="f41" fmla="val 10950292"/>
                <a:gd name="f42" fmla="val 1376478"/>
                <a:gd name="f43" fmla="val 9595706"/>
                <a:gd name="f44" fmla="val 1466451"/>
                <a:gd name="f45" fmla="val 8435105"/>
                <a:gd name="f46" fmla="val 1266613"/>
                <a:gd name="f47" fmla="val 6618389"/>
                <a:gd name="f48" fmla="val 953715"/>
                <a:gd name="f49" fmla="val 4735222"/>
                <a:gd name="f50" fmla="val 130088"/>
                <a:gd name="f51" fmla="val 2948502"/>
                <a:gd name="f52" fmla="val 20548"/>
                <a:gd name="f53" fmla="*/ f0 1 12192000"/>
                <a:gd name="f54" fmla="*/ f1 1 1992138"/>
                <a:gd name="f55" fmla="+- f4 0 f2"/>
                <a:gd name="f56" fmla="+- f3 0 f2"/>
                <a:gd name="f57" fmla="*/ f56 1 12192000"/>
                <a:gd name="f58" fmla="*/ f55 1 1992138"/>
                <a:gd name="f59" fmla="*/ f2 1 f57"/>
                <a:gd name="f60" fmla="*/ f3 1 f57"/>
                <a:gd name="f61" fmla="*/ f2 1 f58"/>
                <a:gd name="f62" fmla="*/ f4 1 f58"/>
                <a:gd name="f63" fmla="*/ f59 f53 1"/>
                <a:gd name="f64" fmla="*/ f60 f53 1"/>
                <a:gd name="f65" fmla="*/ f62 f54 1"/>
                <a:gd name="f66" fmla="*/ f61 f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3" t="f66" r="f64" b="f65"/>
              <a:pathLst>
                <a:path w="12192000" h="1992138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lose/>
                </a:path>
              </a:pathLst>
            </a:custGeom>
            <a:solidFill>
              <a:srgbClr val="00498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sp>
        <p:nvSpPr>
          <p:cNvPr id="5" name="Google Shape;1174;p112">
            <a:extLst>
              <a:ext uri="{FF2B5EF4-FFF2-40B4-BE49-F238E27FC236}">
                <a16:creationId xmlns:a16="http://schemas.microsoft.com/office/drawing/2014/main" id="{7AB74EC0-B656-03AB-1687-CBDC5075D638}"/>
              </a:ext>
            </a:extLst>
          </p:cNvPr>
          <p:cNvSpPr/>
          <p:nvPr/>
        </p:nvSpPr>
        <p:spPr>
          <a:xfrm>
            <a:off x="902366" y="1517693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6" name="Google Shape;1175;p112">
            <a:extLst>
              <a:ext uri="{FF2B5EF4-FFF2-40B4-BE49-F238E27FC236}">
                <a16:creationId xmlns:a16="http://schemas.microsoft.com/office/drawing/2014/main" id="{8500446B-4E9B-91FA-9346-8C63F691777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219196" y="3429000"/>
            <a:ext cx="5582649" cy="1413561"/>
          </a:xfrm>
        </p:spPr>
        <p:txBody>
          <a:bodyPr/>
          <a:lstStyle>
            <a:lvl1pPr indent="-228600">
              <a:buNone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7" name="Google Shape;1176;p112">
            <a:extLst>
              <a:ext uri="{FF2B5EF4-FFF2-40B4-BE49-F238E27FC236}">
                <a16:creationId xmlns:a16="http://schemas.microsoft.com/office/drawing/2014/main" id="{BFDD5AAD-1CDA-D429-D944-B1EFB2094F5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19196" y="1887486"/>
            <a:ext cx="5582649" cy="1078260"/>
          </a:xfrm>
        </p:spPr>
        <p:txBody>
          <a:bodyPr/>
          <a:lstStyle>
            <a:lvl1pPr>
              <a:defRPr sz="6000"/>
            </a:lvl1pPr>
          </a:lstStyle>
          <a:p>
            <a:pPr lvl="0"/>
            <a:endParaRPr lang="en-US"/>
          </a:p>
        </p:txBody>
      </p:sp>
      <p:pic>
        <p:nvPicPr>
          <p:cNvPr id="8" name="Google Shape;1177;p112">
            <a:extLst>
              <a:ext uri="{FF2B5EF4-FFF2-40B4-BE49-F238E27FC236}">
                <a16:creationId xmlns:a16="http://schemas.microsoft.com/office/drawing/2014/main" id="{3FB1A8A7-2EBC-C039-2444-DCACA9558A5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902366" y="228371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108606613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180;p113">
            <a:extLst>
              <a:ext uri="{FF2B5EF4-FFF2-40B4-BE49-F238E27FC236}">
                <a16:creationId xmlns:a16="http://schemas.microsoft.com/office/drawing/2014/main" id="{414AF2D6-A0C6-4170-2A0F-5C2A64187167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E3E654DC-B8BF-489E-A08F-9F0948F16620}" type="slidenum">
              <a:t>‹#›</a:t>
            </a:fld>
            <a:endParaRPr lang="en-US"/>
          </a:p>
        </p:txBody>
      </p:sp>
      <p:cxnSp>
        <p:nvCxnSpPr>
          <p:cNvPr id="3" name="Google Shape;1181;p113">
            <a:extLst>
              <a:ext uri="{FF2B5EF4-FFF2-40B4-BE49-F238E27FC236}">
                <a16:creationId xmlns:a16="http://schemas.microsoft.com/office/drawing/2014/main" id="{B3D5FE74-6F9E-D104-1904-90C5B687EC95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4" name="Google Shape;1182;p113">
            <a:extLst>
              <a:ext uri="{FF2B5EF4-FFF2-40B4-BE49-F238E27FC236}">
                <a16:creationId xmlns:a16="http://schemas.microsoft.com/office/drawing/2014/main" id="{616784C6-0B29-C351-BFBF-8EF912CE045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1183;p113">
            <a:extLst>
              <a:ext uri="{FF2B5EF4-FFF2-40B4-BE49-F238E27FC236}">
                <a16:creationId xmlns:a16="http://schemas.microsoft.com/office/drawing/2014/main" id="{9F872C5D-5C2B-B065-F096-4894484FE90D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6" name="Google Shape;1184;p113">
              <a:extLst>
                <a:ext uri="{FF2B5EF4-FFF2-40B4-BE49-F238E27FC236}">
                  <a16:creationId xmlns:a16="http://schemas.microsoft.com/office/drawing/2014/main" id="{C7A51308-89C1-957F-CCED-A7F781E52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7" name="Google Shape;1185;p113">
              <a:extLst>
                <a:ext uri="{FF2B5EF4-FFF2-40B4-BE49-F238E27FC236}">
                  <a16:creationId xmlns:a16="http://schemas.microsoft.com/office/drawing/2014/main" id="{E31909F1-FFCB-E2A6-E4AF-AAF16F2884C1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8" name="Google Shape;1186;p113">
                <a:extLst>
                  <a:ext uri="{FF2B5EF4-FFF2-40B4-BE49-F238E27FC236}">
                    <a16:creationId xmlns:a16="http://schemas.microsoft.com/office/drawing/2014/main" id="{51C7A63B-F625-2089-625F-1A43DC805A9D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9" name="Google Shape;1187;p113">
                <a:extLst>
                  <a:ext uri="{FF2B5EF4-FFF2-40B4-BE49-F238E27FC236}">
                    <a16:creationId xmlns:a16="http://schemas.microsoft.com/office/drawing/2014/main" id="{FC293C6D-80C6-AF19-C04B-45344431901C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35221500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Quot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189;p114">
            <a:extLst>
              <a:ext uri="{FF2B5EF4-FFF2-40B4-BE49-F238E27FC236}">
                <a16:creationId xmlns:a16="http://schemas.microsoft.com/office/drawing/2014/main" id="{A9DE54CF-0D70-5686-C761-1B5BBDCD649D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190;p114">
            <a:extLst>
              <a:ext uri="{FF2B5EF4-FFF2-40B4-BE49-F238E27FC236}">
                <a16:creationId xmlns:a16="http://schemas.microsoft.com/office/drawing/2014/main" id="{2F9C992F-BE31-FDFB-D1C8-11CC9033EB4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191;p114">
            <a:extLst>
              <a:ext uri="{FF2B5EF4-FFF2-40B4-BE49-F238E27FC236}">
                <a16:creationId xmlns:a16="http://schemas.microsoft.com/office/drawing/2014/main" id="{F7E02704-D1C8-E5B9-7A61-006A678FA7D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192;p114">
            <a:extLst>
              <a:ext uri="{FF2B5EF4-FFF2-40B4-BE49-F238E27FC236}">
                <a16:creationId xmlns:a16="http://schemas.microsoft.com/office/drawing/2014/main" id="{10D7A799-01FB-B6A2-B61D-76CFB0D44FD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19847A1F-9B38-4BB8-B066-90747396C0ED}" type="slidenum">
              <a:t>‹#›</a:t>
            </a:fld>
            <a:endParaRPr lang="en-US"/>
          </a:p>
        </p:txBody>
      </p:sp>
      <p:cxnSp>
        <p:nvCxnSpPr>
          <p:cNvPr id="6" name="Google Shape;1193;p114">
            <a:extLst>
              <a:ext uri="{FF2B5EF4-FFF2-40B4-BE49-F238E27FC236}">
                <a16:creationId xmlns:a16="http://schemas.microsoft.com/office/drawing/2014/main" id="{CDCA7EAB-0EFB-E96C-C172-0759D835C45D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194;p114">
            <a:extLst>
              <a:ext uri="{FF2B5EF4-FFF2-40B4-BE49-F238E27FC236}">
                <a16:creationId xmlns:a16="http://schemas.microsoft.com/office/drawing/2014/main" id="{F02DD766-2DED-01DE-5842-9A886DBB7535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1195;p114">
            <a:extLst>
              <a:ext uri="{FF2B5EF4-FFF2-40B4-BE49-F238E27FC236}">
                <a16:creationId xmlns:a16="http://schemas.microsoft.com/office/drawing/2014/main" id="{4A099ACB-C0DB-1B64-3934-9F55F54B2803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1196;p114">
              <a:extLst>
                <a:ext uri="{FF2B5EF4-FFF2-40B4-BE49-F238E27FC236}">
                  <a16:creationId xmlns:a16="http://schemas.microsoft.com/office/drawing/2014/main" id="{204FEE4D-A7F8-47C4-6D48-323F9281D26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1197;p114">
              <a:extLst>
                <a:ext uri="{FF2B5EF4-FFF2-40B4-BE49-F238E27FC236}">
                  <a16:creationId xmlns:a16="http://schemas.microsoft.com/office/drawing/2014/main" id="{E0BDAEC1-C8C0-EA4C-8119-ED565A9FE30D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1198;p114">
                <a:extLst>
                  <a:ext uri="{FF2B5EF4-FFF2-40B4-BE49-F238E27FC236}">
                    <a16:creationId xmlns:a16="http://schemas.microsoft.com/office/drawing/2014/main" id="{684073C7-31C9-F2CA-2ECF-080F0CA1E9C6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1199;p114">
                <a:extLst>
                  <a:ext uri="{FF2B5EF4-FFF2-40B4-BE49-F238E27FC236}">
                    <a16:creationId xmlns:a16="http://schemas.microsoft.com/office/drawing/2014/main" id="{4DE65ED5-DF5C-8CA5-62BF-69F7B04EF2A1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1200;p114" descr="Open quotation mark with solid fill">
            <a:extLst>
              <a:ext uri="{FF2B5EF4-FFF2-40B4-BE49-F238E27FC236}">
                <a16:creationId xmlns:a16="http://schemas.microsoft.com/office/drawing/2014/main" id="{F34C720E-7222-CFF9-490B-B11A6E3E4CA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39969207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86;p104">
            <a:extLst>
              <a:ext uri="{FF2B5EF4-FFF2-40B4-BE49-F238E27FC236}">
                <a16:creationId xmlns:a16="http://schemas.microsoft.com/office/drawing/2014/main" id="{96A5B776-BF53-B299-925B-06141A2B9F3D}"/>
              </a:ext>
            </a:extLst>
          </p:cNvPr>
          <p:cNvSpPr/>
          <p:nvPr/>
        </p:nvSpPr>
        <p:spPr>
          <a:xfrm>
            <a:off x="902366" y="1294415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087;p104">
            <a:extLst>
              <a:ext uri="{FF2B5EF4-FFF2-40B4-BE49-F238E27FC236}">
                <a16:creationId xmlns:a16="http://schemas.microsoft.com/office/drawing/2014/main" id="{C7B73A22-9AAB-B4A5-9DCF-C66E492AC4E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1561328"/>
            <a:ext cx="5194432" cy="1826340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088;p104">
            <a:extLst>
              <a:ext uri="{FF2B5EF4-FFF2-40B4-BE49-F238E27FC236}">
                <a16:creationId xmlns:a16="http://schemas.microsoft.com/office/drawing/2014/main" id="{4225F521-E898-A77C-C211-D3E0AF09DABE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766861"/>
            <a:ext cx="5194432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1090;p104">
            <a:extLst>
              <a:ext uri="{FF2B5EF4-FFF2-40B4-BE49-F238E27FC236}">
                <a16:creationId xmlns:a16="http://schemas.microsoft.com/office/drawing/2014/main" id="{0A73D1D3-D832-454D-66EC-6F88C3FAE086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6" name="Google Shape;1091;p104">
              <a:extLst>
                <a:ext uri="{FF2B5EF4-FFF2-40B4-BE49-F238E27FC236}">
                  <a16:creationId xmlns:a16="http://schemas.microsoft.com/office/drawing/2014/main" id="{ED9D091C-61C2-5DE5-59D1-F318449B9DBC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7" name="Google Shape;1092;p104">
              <a:extLst>
                <a:ext uri="{FF2B5EF4-FFF2-40B4-BE49-F238E27FC236}">
                  <a16:creationId xmlns:a16="http://schemas.microsoft.com/office/drawing/2014/main" id="{D389699C-6088-9843-C451-F713D4CE16DD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8" name="Google Shape;1093;p104">
              <a:extLst>
                <a:ext uri="{FF2B5EF4-FFF2-40B4-BE49-F238E27FC236}">
                  <a16:creationId xmlns:a16="http://schemas.microsoft.com/office/drawing/2014/main" id="{7DF4EC33-9899-5C94-13BB-37B7BD38F57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18674471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095;p105">
            <a:extLst>
              <a:ext uri="{FF2B5EF4-FFF2-40B4-BE49-F238E27FC236}">
                <a16:creationId xmlns:a16="http://schemas.microsoft.com/office/drawing/2014/main" id="{E7A6E07B-AF2D-1CE3-6D26-78FE7B62C5F7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3" name="Google Shape;1096;p105">
              <a:extLst>
                <a:ext uri="{FF2B5EF4-FFF2-40B4-BE49-F238E27FC236}">
                  <a16:creationId xmlns:a16="http://schemas.microsoft.com/office/drawing/2014/main" id="{84EF02ED-AAFC-66EC-A160-2F7995AC4467}"/>
                </a:ext>
              </a:extLst>
            </p:cNvPr>
            <p:cNvSpPr/>
            <p:nvPr/>
          </p:nvSpPr>
          <p:spPr>
            <a:xfrm>
              <a:off x="0" y="5100267"/>
              <a:ext cx="7111371" cy="175773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111369"/>
                <a:gd name="f4" fmla="val 1757730"/>
                <a:gd name="f5" fmla="val 772954"/>
                <a:gd name="f6" fmla="val 2778"/>
                <a:gd name="f7" fmla="val 1769038"/>
                <a:gd name="f8" fmla="val 30799"/>
                <a:gd name="f9" fmla="val 2696750"/>
                <a:gd name="f10" fmla="val 267531"/>
                <a:gd name="f11" fmla="val 3590934"/>
                <a:gd name="f12" fmla="val 566046"/>
                <a:gd name="f13" fmla="val 4684008"/>
                <a:gd name="f14" fmla="val 930921"/>
                <a:gd name="f15" fmla="val 5690778"/>
                <a:gd name="f16" fmla="val 1324625"/>
                <a:gd name="f17" fmla="val 6700767"/>
                <a:gd name="f18" fmla="val 1636882"/>
                <a:gd name="f19" fmla="val 25690"/>
                <a:gd name="f20" fmla="val 2197"/>
                <a:gd name="f21" fmla="val 25414"/>
                <a:gd name="f22" fmla="val 114653"/>
                <a:gd name="f23" fmla="val 14905"/>
                <a:gd name="f24" fmla="val 227801"/>
                <a:gd name="f25" fmla="val 7857"/>
                <a:gd name="f26" fmla="val 341773"/>
                <a:gd name="f27" fmla="val 3976"/>
                <a:gd name="f28" fmla="val 486963"/>
                <a:gd name="f29" fmla="+- 0 0 968"/>
                <a:gd name="f30" fmla="val 630656"/>
                <a:gd name="f31" fmla="+- 0 0 1224"/>
                <a:gd name="f32" fmla="*/ f0 1 7111369"/>
                <a:gd name="f33" fmla="*/ f1 1 1757730"/>
                <a:gd name="f34" fmla="+- f4 0 f2"/>
                <a:gd name="f35" fmla="+- f3 0 f2"/>
                <a:gd name="f36" fmla="*/ f35 1 7111369"/>
                <a:gd name="f37" fmla="*/ f34 1 1757730"/>
                <a:gd name="f38" fmla="*/ f2 1 f36"/>
                <a:gd name="f39" fmla="*/ f3 1 f36"/>
                <a:gd name="f40" fmla="*/ f2 1 f37"/>
                <a:gd name="f41" fmla="*/ f4 1 f37"/>
                <a:gd name="f42" fmla="*/ f38 f32 1"/>
                <a:gd name="f43" fmla="*/ f39 f32 1"/>
                <a:gd name="f44" fmla="*/ f41 f33 1"/>
                <a:gd name="f45" fmla="*/ f40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2" t="f45" r="f43" b="f44"/>
              <a:pathLst>
                <a:path w="7111369" h="1757730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4"/>
                  </a:lnTo>
                  <a:lnTo>
                    <a:pt x="f2" y="f4"/>
                  </a:lnTo>
                  <a:lnTo>
                    <a:pt x="f2" y="f19"/>
                  </a:lnTo>
                  <a:lnTo>
                    <a:pt x="f20" y="f21"/>
                  </a:ln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5" y="f6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1097;p105">
              <a:extLst>
                <a:ext uri="{FF2B5EF4-FFF2-40B4-BE49-F238E27FC236}">
                  <a16:creationId xmlns:a16="http://schemas.microsoft.com/office/drawing/2014/main" id="{E316C82B-6A20-BD92-DDBE-DDA062CE89B8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5" name="Google Shape;1098;p105">
              <a:extLst>
                <a:ext uri="{FF2B5EF4-FFF2-40B4-BE49-F238E27FC236}">
                  <a16:creationId xmlns:a16="http://schemas.microsoft.com/office/drawing/2014/main" id="{55BB0252-53B8-3974-5514-CDA21495687B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1099;p105">
              <a:extLst>
                <a:ext uri="{FF2B5EF4-FFF2-40B4-BE49-F238E27FC236}">
                  <a16:creationId xmlns:a16="http://schemas.microsoft.com/office/drawing/2014/main" id="{8EBBCEA7-F5D1-B6D2-7A1A-42B9949478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7" name="Google Shape;1100;p105">
            <a:extLst>
              <a:ext uri="{FF2B5EF4-FFF2-40B4-BE49-F238E27FC236}">
                <a16:creationId xmlns:a16="http://schemas.microsoft.com/office/drawing/2014/main" id="{BF0C4FC2-4D8B-571C-B8B4-C98F33EE56D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701747"/>
            <a:ext cx="9365376" cy="2014679"/>
          </a:xfrm>
        </p:spPr>
        <p:txBody>
          <a:bodyPr anchor="b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101;p105">
            <a:extLst>
              <a:ext uri="{FF2B5EF4-FFF2-40B4-BE49-F238E27FC236}">
                <a16:creationId xmlns:a16="http://schemas.microsoft.com/office/drawing/2014/main" id="{507E6662-212F-735E-30B6-3C1F6534FC93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081637"/>
            <a:ext cx="9365376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545110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 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103;p106">
            <a:extLst>
              <a:ext uri="{FF2B5EF4-FFF2-40B4-BE49-F238E27FC236}">
                <a16:creationId xmlns:a16="http://schemas.microsoft.com/office/drawing/2014/main" id="{D609223D-089B-CF44-1A27-3129C4B5B17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57200" y="1146255"/>
            <a:ext cx="2350172" cy="2971800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cxnSp>
        <p:nvCxnSpPr>
          <p:cNvPr id="3" name="Google Shape;1104;p106">
            <a:extLst>
              <a:ext uri="{FF2B5EF4-FFF2-40B4-BE49-F238E27FC236}">
                <a16:creationId xmlns:a16="http://schemas.microsoft.com/office/drawing/2014/main" id="{3D8A5784-C648-6215-98F6-84FC5EEDD8DC}"/>
              </a:ext>
            </a:extLst>
          </p:cNvPr>
          <p:cNvCxnSpPr/>
          <p:nvPr/>
        </p:nvCxnSpPr>
        <p:spPr>
          <a:xfrm>
            <a:off x="457200" y="947985"/>
            <a:ext cx="2350163" cy="0"/>
          </a:xfrm>
          <a:prstGeom prst="straightConnector1">
            <a:avLst/>
          </a:prstGeom>
          <a:noFill/>
          <a:ln w="31747" cap="flat">
            <a:solidFill>
              <a:srgbClr val="F58366"/>
            </a:solidFill>
            <a:prstDash val="solid"/>
            <a:miter/>
          </a:ln>
        </p:spPr>
      </p:cxnSp>
      <p:grpSp>
        <p:nvGrpSpPr>
          <p:cNvPr id="4" name="Google Shape;1105;p106">
            <a:extLst>
              <a:ext uri="{FF2B5EF4-FFF2-40B4-BE49-F238E27FC236}">
                <a16:creationId xmlns:a16="http://schemas.microsoft.com/office/drawing/2014/main" id="{C46B0C8A-0EF2-AF8C-573B-0B3564166C5C}"/>
              </a:ext>
            </a:extLst>
          </p:cNvPr>
          <p:cNvGrpSpPr/>
          <p:nvPr/>
        </p:nvGrpSpPr>
        <p:grpSpPr>
          <a:xfrm>
            <a:off x="0" y="5379424"/>
            <a:ext cx="2807363" cy="753895"/>
            <a:chOff x="0" y="5379424"/>
            <a:chExt cx="2807363" cy="753895"/>
          </a:xfrm>
        </p:grpSpPr>
        <p:sp>
          <p:nvSpPr>
            <p:cNvPr id="5" name="Google Shape;1106;p106">
              <a:extLst>
                <a:ext uri="{FF2B5EF4-FFF2-40B4-BE49-F238E27FC236}">
                  <a16:creationId xmlns:a16="http://schemas.microsoft.com/office/drawing/2014/main" id="{35C53CCC-F28F-1DD4-4A33-D267C50357B6}"/>
                </a:ext>
              </a:extLst>
            </p:cNvPr>
            <p:cNvSpPr/>
            <p:nvPr/>
          </p:nvSpPr>
          <p:spPr>
            <a:xfrm>
              <a:off x="0" y="5532513"/>
              <a:ext cx="2807363" cy="60080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00807"/>
                <a:gd name="f5" fmla="val 429971"/>
                <a:gd name="f6" fmla="val 123998"/>
                <a:gd name="f7" fmla="val 1184765"/>
                <a:gd name="f8" fmla="val 325331"/>
                <a:gd name="f9" fmla="val 2014184"/>
                <a:gd name="f10" fmla="val 392492"/>
                <a:gd name="f11" fmla="val 2790212"/>
                <a:gd name="f12" fmla="val 235402"/>
                <a:gd name="f13" fmla="val 231522"/>
                <a:gd name="f14" fmla="val 566106"/>
                <a:gd name="f15" fmla="val 2593885"/>
                <a:gd name="f16" fmla="val 587498"/>
                <a:gd name="f17" fmla="val 1673646"/>
                <a:gd name="f18" fmla="val 651184"/>
                <a:gd name="f19" fmla="val 884869"/>
                <a:gd name="f20" fmla="val 479260"/>
                <a:gd name="f21" fmla="val 100844"/>
                <a:gd name="f22" fmla="val 222653"/>
                <a:gd name="f23" fmla="val 188389"/>
                <a:gd name="f24" fmla="*/ f0 1 2807368"/>
                <a:gd name="f25" fmla="*/ f1 1 600807"/>
                <a:gd name="f26" fmla="+- f4 0 f2"/>
                <a:gd name="f27" fmla="+- f3 0 f2"/>
                <a:gd name="f28" fmla="*/ f27 1 2807368"/>
                <a:gd name="f29" fmla="*/ f26 1 600807"/>
                <a:gd name="f30" fmla="*/ f2 1 f28"/>
                <a:gd name="f31" fmla="*/ f3 1 f28"/>
                <a:gd name="f32" fmla="*/ f2 1 f29"/>
                <a:gd name="f33" fmla="*/ f4 1 f29"/>
                <a:gd name="f34" fmla="*/ f30 f24 1"/>
                <a:gd name="f35" fmla="*/ f31 f24 1"/>
                <a:gd name="f36" fmla="*/ f33 f25 1"/>
                <a:gd name="f37" fmla="*/ f32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37" r="f35" b="f36"/>
              <a:pathLst>
                <a:path w="2807368" h="600807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lnTo>
                    <a:pt x="f3" y="f13"/>
                  </a:lnTo>
                  <a:lnTo>
                    <a:pt x="f3" y="f14"/>
                  </a:lnTo>
                  <a:lnTo>
                    <a:pt x="f15" y="f16"/>
                  </a:lnTo>
                  <a:cubicBezTo>
                    <a:pt x="f17" y="f18"/>
                    <a:pt x="f19" y="f20"/>
                    <a:pt x="f21" y="f22"/>
                  </a:cubicBezTo>
                  <a:lnTo>
                    <a:pt x="f2" y="f23"/>
                  </a:ln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6" name="Google Shape;1107;p106">
              <a:extLst>
                <a:ext uri="{FF2B5EF4-FFF2-40B4-BE49-F238E27FC236}">
                  <a16:creationId xmlns:a16="http://schemas.microsoft.com/office/drawing/2014/main" id="{69521E1A-094F-51B3-652B-01BFE378D556}"/>
                </a:ext>
              </a:extLst>
            </p:cNvPr>
            <p:cNvSpPr/>
            <p:nvPr/>
          </p:nvSpPr>
          <p:spPr>
            <a:xfrm>
              <a:off x="0" y="5379424"/>
              <a:ext cx="2807363" cy="64980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49803"/>
                <a:gd name="f5" fmla="val 282676"/>
                <a:gd name="f6" fmla="val 70799"/>
                <a:gd name="f7" fmla="val 435964"/>
                <a:gd name="f8" fmla="val 106085"/>
                <a:gd name="f9" fmla="val 588770"/>
                <a:gd name="f10" fmla="val 137629"/>
                <a:gd name="f11" fmla="val 740881"/>
                <a:gd name="f12" fmla="val 163828"/>
                <a:gd name="f13" fmla="val 1362800"/>
                <a:gd name="f14" fmla="val 270912"/>
                <a:gd name="f15" fmla="val 2067879"/>
                <a:gd name="f16" fmla="val 253759"/>
                <a:gd name="f17" fmla="val 2706471"/>
                <a:gd name="f18" fmla="val 96397"/>
                <a:gd name="f19" fmla="val 67250"/>
                <a:gd name="f20" fmla="val 605551"/>
                <a:gd name="f21" fmla="val 2602685"/>
                <a:gd name="f22" fmla="val 629466"/>
                <a:gd name="f23" fmla="val 1684237"/>
                <a:gd name="f24" fmla="val 708219"/>
                <a:gd name="f25" fmla="val 893252"/>
                <a:gd name="f26" fmla="val 549395"/>
                <a:gd name="f27" fmla="val 105614"/>
                <a:gd name="f28" fmla="val 305882"/>
                <a:gd name="f29" fmla="val 271926"/>
                <a:gd name="f30" fmla="*/ f0 1 2807368"/>
                <a:gd name="f31" fmla="*/ f1 1 649803"/>
                <a:gd name="f32" fmla="+- f4 0 f2"/>
                <a:gd name="f33" fmla="+- f3 0 f2"/>
                <a:gd name="f34" fmla="*/ f33 1 2807368"/>
                <a:gd name="f35" fmla="*/ f32 1 649803"/>
                <a:gd name="f36" fmla="*/ f2 1 f34"/>
                <a:gd name="f37" fmla="*/ f3 1 f34"/>
                <a:gd name="f38" fmla="*/ f2 1 f35"/>
                <a:gd name="f39" fmla="*/ f4 1 f35"/>
                <a:gd name="f40" fmla="*/ f36 f30 1"/>
                <a:gd name="f41" fmla="*/ f37 f30 1"/>
                <a:gd name="f42" fmla="*/ f39 f31 1"/>
                <a:gd name="f43" fmla="*/ f3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2807368" h="649803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19"/>
                  </a:lnTo>
                  <a:lnTo>
                    <a:pt x="f3" y="f20"/>
                  </a:lnTo>
                  <a:lnTo>
                    <a:pt x="f21" y="f22"/>
                  </a:lnTo>
                  <a:cubicBezTo>
                    <a:pt x="f23" y="f24"/>
                    <a:pt x="f25" y="f26"/>
                    <a:pt x="f27" y="f28"/>
                  </a:cubicBezTo>
                  <a:lnTo>
                    <a:pt x="f2" y="f29"/>
                  </a:ln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pic>
        <p:nvPicPr>
          <p:cNvPr id="7" name="Google Shape;1109;p106">
            <a:extLst>
              <a:ext uri="{FF2B5EF4-FFF2-40B4-BE49-F238E27FC236}">
                <a16:creationId xmlns:a16="http://schemas.microsoft.com/office/drawing/2014/main" id="{52F40893-5DD6-484F-B5EC-5FD146DC11B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513344" y="4385535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834028050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ation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111;p107">
            <a:extLst>
              <a:ext uri="{FF2B5EF4-FFF2-40B4-BE49-F238E27FC236}">
                <a16:creationId xmlns:a16="http://schemas.microsoft.com/office/drawing/2014/main" id="{E885D2B3-2976-5AC3-B1B9-E7EA882FBE4F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112;p107">
            <a:extLst>
              <a:ext uri="{FF2B5EF4-FFF2-40B4-BE49-F238E27FC236}">
                <a16:creationId xmlns:a16="http://schemas.microsoft.com/office/drawing/2014/main" id="{C2625CC2-4411-2A82-6EE5-F5A69DBD402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113;p107">
            <a:extLst>
              <a:ext uri="{FF2B5EF4-FFF2-40B4-BE49-F238E27FC236}">
                <a16:creationId xmlns:a16="http://schemas.microsoft.com/office/drawing/2014/main" id="{15284C58-2B13-488D-0E3B-50A8D027D04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114;p107">
            <a:extLst>
              <a:ext uri="{FF2B5EF4-FFF2-40B4-BE49-F238E27FC236}">
                <a16:creationId xmlns:a16="http://schemas.microsoft.com/office/drawing/2014/main" id="{89061F8F-76FC-2DD2-8ECD-86BD15EFD3F4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701135F7-9BE0-4044-B9CA-E521BE954035}" type="slidenum">
              <a:t>‹#›</a:t>
            </a:fld>
            <a:endParaRPr lang="en-US"/>
          </a:p>
        </p:txBody>
      </p:sp>
      <p:cxnSp>
        <p:nvCxnSpPr>
          <p:cNvPr id="6" name="Google Shape;1115;p107">
            <a:extLst>
              <a:ext uri="{FF2B5EF4-FFF2-40B4-BE49-F238E27FC236}">
                <a16:creationId xmlns:a16="http://schemas.microsoft.com/office/drawing/2014/main" id="{CB7D0DDF-FA03-A20C-D877-1134E8D46555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116;p107">
            <a:extLst>
              <a:ext uri="{FF2B5EF4-FFF2-40B4-BE49-F238E27FC236}">
                <a16:creationId xmlns:a16="http://schemas.microsoft.com/office/drawing/2014/main" id="{D1FE31CD-6DA5-53ED-D0D8-5FEFC9E45460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1117;p107">
            <a:extLst>
              <a:ext uri="{FF2B5EF4-FFF2-40B4-BE49-F238E27FC236}">
                <a16:creationId xmlns:a16="http://schemas.microsoft.com/office/drawing/2014/main" id="{77C5033F-176A-0456-30A1-67EA89F95AD1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1118;p107">
              <a:extLst>
                <a:ext uri="{FF2B5EF4-FFF2-40B4-BE49-F238E27FC236}">
                  <a16:creationId xmlns:a16="http://schemas.microsoft.com/office/drawing/2014/main" id="{8597D611-6234-22BF-5F35-B619B00427C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1119;p107">
              <a:extLst>
                <a:ext uri="{FF2B5EF4-FFF2-40B4-BE49-F238E27FC236}">
                  <a16:creationId xmlns:a16="http://schemas.microsoft.com/office/drawing/2014/main" id="{63DC5AE7-36B4-CEE2-0E66-166DDFEF35C1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1120;p107">
                <a:extLst>
                  <a:ext uri="{FF2B5EF4-FFF2-40B4-BE49-F238E27FC236}">
                    <a16:creationId xmlns:a16="http://schemas.microsoft.com/office/drawing/2014/main" id="{9CCE522B-0C6C-0DFB-A2AD-AE6A2B0E23C2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1121;p107">
                <a:extLst>
                  <a:ext uri="{FF2B5EF4-FFF2-40B4-BE49-F238E27FC236}">
                    <a16:creationId xmlns:a16="http://schemas.microsoft.com/office/drawing/2014/main" id="{07EFF702-FACF-1FA2-D963-8AFD7128832D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1122;p107" descr="Open quotation mark with solid fill">
            <a:extLst>
              <a:ext uri="{FF2B5EF4-FFF2-40B4-BE49-F238E27FC236}">
                <a16:creationId xmlns:a16="http://schemas.microsoft.com/office/drawing/2014/main" id="{54C3BD38-9869-5BDD-CD55-C65880233D9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032717407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124;p108">
            <a:extLst>
              <a:ext uri="{FF2B5EF4-FFF2-40B4-BE49-F238E27FC236}">
                <a16:creationId xmlns:a16="http://schemas.microsoft.com/office/drawing/2014/main" id="{E9907660-563E-BAAC-8630-093DC7E94EC3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125;p108">
              <a:extLst>
                <a:ext uri="{FF2B5EF4-FFF2-40B4-BE49-F238E27FC236}">
                  <a16:creationId xmlns:a16="http://schemas.microsoft.com/office/drawing/2014/main" id="{D70075C5-5A84-A362-D0F6-191EA371C0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126;p108">
              <a:extLst>
                <a:ext uri="{FF2B5EF4-FFF2-40B4-BE49-F238E27FC236}">
                  <a16:creationId xmlns:a16="http://schemas.microsoft.com/office/drawing/2014/main" id="{3A3699AD-76BD-BA83-41E1-4273762CE33A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127;p108">
                <a:extLst>
                  <a:ext uri="{FF2B5EF4-FFF2-40B4-BE49-F238E27FC236}">
                    <a16:creationId xmlns:a16="http://schemas.microsoft.com/office/drawing/2014/main" id="{26B4826D-E0B3-2A0F-87CC-C03E907CE4EC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128;p108">
                <a:extLst>
                  <a:ext uri="{FF2B5EF4-FFF2-40B4-BE49-F238E27FC236}">
                    <a16:creationId xmlns:a16="http://schemas.microsoft.com/office/drawing/2014/main" id="{0FC5BE12-C00A-3665-0F5A-58AC0FD08B4C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129;p108">
            <a:extLst>
              <a:ext uri="{FF2B5EF4-FFF2-40B4-BE49-F238E27FC236}">
                <a16:creationId xmlns:a16="http://schemas.microsoft.com/office/drawing/2014/main" id="{629BC566-8EC0-23CF-D446-96DB6771ECD5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130;p108">
            <a:extLst>
              <a:ext uri="{FF2B5EF4-FFF2-40B4-BE49-F238E27FC236}">
                <a16:creationId xmlns:a16="http://schemas.microsoft.com/office/drawing/2014/main" id="{5871CAEA-7ED3-E7EA-9435-617A1826023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/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9" name="Google Shape;1131;p108">
            <a:extLst>
              <a:ext uri="{FF2B5EF4-FFF2-40B4-BE49-F238E27FC236}">
                <a16:creationId xmlns:a16="http://schemas.microsoft.com/office/drawing/2014/main" id="{8F720A45-8EE1-8B6A-3D72-CC9F4AE07E4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8E6172CE-B524-4924-86B3-F91C2692F1BC}" type="slidenum">
              <a:t>‹#›</a:t>
            </a:fld>
            <a:endParaRPr lang="en-US"/>
          </a:p>
        </p:txBody>
      </p:sp>
      <p:cxnSp>
        <p:nvCxnSpPr>
          <p:cNvPr id="10" name="Google Shape;1132;p108">
            <a:extLst>
              <a:ext uri="{FF2B5EF4-FFF2-40B4-BE49-F238E27FC236}">
                <a16:creationId xmlns:a16="http://schemas.microsoft.com/office/drawing/2014/main" id="{7E6815C5-E80D-13F1-F63A-5B363896EEC1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1" name="Google Shape;1133;p108">
            <a:extLst>
              <a:ext uri="{FF2B5EF4-FFF2-40B4-BE49-F238E27FC236}">
                <a16:creationId xmlns:a16="http://schemas.microsoft.com/office/drawing/2014/main" id="{1A4B315E-1923-8EAC-B77C-ED081F75835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6835363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135;p109">
            <a:extLst>
              <a:ext uri="{FF2B5EF4-FFF2-40B4-BE49-F238E27FC236}">
                <a16:creationId xmlns:a16="http://schemas.microsoft.com/office/drawing/2014/main" id="{EB3CA0B6-9395-D53F-6AB8-21B9167133D2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3" name="Google Shape;1136;p109">
            <a:extLst>
              <a:ext uri="{FF2B5EF4-FFF2-40B4-BE49-F238E27FC236}">
                <a16:creationId xmlns:a16="http://schemas.microsoft.com/office/drawing/2014/main" id="{79E77E6D-0194-A4E1-2664-B738DF9E921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grpSp>
        <p:nvGrpSpPr>
          <p:cNvPr id="4" name="Google Shape;1137;p109">
            <a:extLst>
              <a:ext uri="{FF2B5EF4-FFF2-40B4-BE49-F238E27FC236}">
                <a16:creationId xmlns:a16="http://schemas.microsoft.com/office/drawing/2014/main" id="{AE8BDCE5-94BC-2C39-6D4D-EC239948B3C9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5" name="Google Shape;1138;p109">
              <a:extLst>
                <a:ext uri="{FF2B5EF4-FFF2-40B4-BE49-F238E27FC236}">
                  <a16:creationId xmlns:a16="http://schemas.microsoft.com/office/drawing/2014/main" id="{DAA69F4C-B9B3-B0D7-51FD-02FBF69B005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6" name="Google Shape;1139;p109">
              <a:extLst>
                <a:ext uri="{FF2B5EF4-FFF2-40B4-BE49-F238E27FC236}">
                  <a16:creationId xmlns:a16="http://schemas.microsoft.com/office/drawing/2014/main" id="{4FB38C13-22C5-799A-1499-A5698997EAC9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7" name="Google Shape;1140;p109">
                <a:extLst>
                  <a:ext uri="{FF2B5EF4-FFF2-40B4-BE49-F238E27FC236}">
                    <a16:creationId xmlns:a16="http://schemas.microsoft.com/office/drawing/2014/main" id="{BA9AC1D1-F3B2-142D-D4C5-91C6A47A10DA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8" name="Google Shape;1141;p109">
                <a:extLst>
                  <a:ext uri="{FF2B5EF4-FFF2-40B4-BE49-F238E27FC236}">
                    <a16:creationId xmlns:a16="http://schemas.microsoft.com/office/drawing/2014/main" id="{34354D3B-034C-7360-2D0D-57C1D06E3518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9" name="Google Shape;1142;p109">
            <a:extLst>
              <a:ext uri="{FF2B5EF4-FFF2-40B4-BE49-F238E27FC236}">
                <a16:creationId xmlns:a16="http://schemas.microsoft.com/office/drawing/2014/main" id="{50ED653B-D9BA-480A-DEB5-B599A9440CB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Google Shape;1143;p109">
            <a:extLst>
              <a:ext uri="{FF2B5EF4-FFF2-40B4-BE49-F238E27FC236}">
                <a16:creationId xmlns:a16="http://schemas.microsoft.com/office/drawing/2014/main" id="{B75D6302-7BB6-7BE0-3533-5EABA12FEA6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8839193" y="6356351"/>
            <a:ext cx="2743200" cy="365129"/>
          </a:xfrm>
        </p:spPr>
        <p:txBody>
          <a:bodyPr/>
          <a:lstStyle>
            <a:lvl1pPr>
              <a:defRPr/>
            </a:lvl1pPr>
          </a:lstStyle>
          <a:p>
            <a:pPr lvl="0"/>
            <a:fld id="{ECBE6676-D6BB-43EE-B4B5-1DF4B6A0385E}" type="slidenum">
              <a:t>‹#›</a:t>
            </a:fld>
            <a:endParaRPr lang="en-US"/>
          </a:p>
        </p:txBody>
      </p:sp>
      <p:cxnSp>
        <p:nvCxnSpPr>
          <p:cNvPr id="11" name="Google Shape;1144;p109">
            <a:extLst>
              <a:ext uri="{FF2B5EF4-FFF2-40B4-BE49-F238E27FC236}">
                <a16:creationId xmlns:a16="http://schemas.microsoft.com/office/drawing/2014/main" id="{1D4C787A-8C07-F42F-C486-F8D81E1ECC85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2" name="Google Shape;1145;p109">
            <a:extLst>
              <a:ext uri="{FF2B5EF4-FFF2-40B4-BE49-F238E27FC236}">
                <a16:creationId xmlns:a16="http://schemas.microsoft.com/office/drawing/2014/main" id="{BC89C2AD-B98D-4072-DAAC-1FE55B6CF1E8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812030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147;p110">
            <a:extLst>
              <a:ext uri="{FF2B5EF4-FFF2-40B4-BE49-F238E27FC236}">
                <a16:creationId xmlns:a16="http://schemas.microsoft.com/office/drawing/2014/main" id="{126F6320-8EC4-9A1E-BD9D-96C795716EAA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148;p110">
              <a:extLst>
                <a:ext uri="{FF2B5EF4-FFF2-40B4-BE49-F238E27FC236}">
                  <a16:creationId xmlns:a16="http://schemas.microsoft.com/office/drawing/2014/main" id="{8AAB2AF3-26B5-A852-9A0E-007D599ABB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149;p110">
              <a:extLst>
                <a:ext uri="{FF2B5EF4-FFF2-40B4-BE49-F238E27FC236}">
                  <a16:creationId xmlns:a16="http://schemas.microsoft.com/office/drawing/2014/main" id="{50B00DE8-73A9-F2B1-501D-0038C1A3D251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150;p110">
                <a:extLst>
                  <a:ext uri="{FF2B5EF4-FFF2-40B4-BE49-F238E27FC236}">
                    <a16:creationId xmlns:a16="http://schemas.microsoft.com/office/drawing/2014/main" id="{D28486B2-B13B-B995-68B8-D0D3153F6A89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151;p110">
                <a:extLst>
                  <a:ext uri="{FF2B5EF4-FFF2-40B4-BE49-F238E27FC236}">
                    <a16:creationId xmlns:a16="http://schemas.microsoft.com/office/drawing/2014/main" id="{64E3688E-4769-02E2-23E4-213069185441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152;p110">
            <a:extLst>
              <a:ext uri="{FF2B5EF4-FFF2-40B4-BE49-F238E27FC236}">
                <a16:creationId xmlns:a16="http://schemas.microsoft.com/office/drawing/2014/main" id="{12032FB3-5F8B-37AA-AB14-BFD4E0ED1ADB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153;p110">
            <a:extLst>
              <a:ext uri="{FF2B5EF4-FFF2-40B4-BE49-F238E27FC236}">
                <a16:creationId xmlns:a16="http://schemas.microsoft.com/office/drawing/2014/main" id="{B2275FD8-CE3C-0E63-3D29-8136C488F3A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681160"/>
            <a:ext cx="538797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9" name="Google Shape;1154;p110">
            <a:extLst>
              <a:ext uri="{FF2B5EF4-FFF2-40B4-BE49-F238E27FC236}">
                <a16:creationId xmlns:a16="http://schemas.microsoft.com/office/drawing/2014/main" id="{F05E4E60-6388-D803-EED0-82F62FF2E36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2505071"/>
            <a:ext cx="5387973" cy="3684583"/>
          </a:xfrm>
          <a:solidFill>
            <a:srgbClr val="F3F6FB"/>
          </a:solidFill>
        </p:spPr>
        <p:txBody>
          <a:bodyPr lIns="182870" tIns="0" rIns="182870" bIns="0">
            <a:normAutofit/>
          </a:bodyPr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0" name="Google Shape;1155;p110">
            <a:extLst>
              <a:ext uri="{FF2B5EF4-FFF2-40B4-BE49-F238E27FC236}">
                <a16:creationId xmlns:a16="http://schemas.microsoft.com/office/drawing/2014/main" id="{15432F79-8007-DEC1-4421-7A6C941B197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681160"/>
            <a:ext cx="541020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11" name="Google Shape;1156;p110">
            <a:extLst>
              <a:ext uri="{FF2B5EF4-FFF2-40B4-BE49-F238E27FC236}">
                <a16:creationId xmlns:a16="http://schemas.microsoft.com/office/drawing/2014/main" id="{B35E34C7-5180-C1B8-5B9A-397080BCC5A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2505071"/>
            <a:ext cx="5410203" cy="3684583"/>
          </a:xfrm>
          <a:solidFill>
            <a:srgbClr val="F3F6FB"/>
          </a:solidFill>
        </p:spPr>
        <p:txBody>
          <a:bodyPr lIns="182870" tIns="0" rIns="182870" bIns="0"/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2" name="Google Shape;1157;p110">
            <a:extLst>
              <a:ext uri="{FF2B5EF4-FFF2-40B4-BE49-F238E27FC236}">
                <a16:creationId xmlns:a16="http://schemas.microsoft.com/office/drawing/2014/main" id="{B1C62FF1-725D-88EF-1F25-94F4E328C70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5BC6D287-4663-457F-A380-BAC4D629581C}" type="slidenum">
              <a:t>‹#›</a:t>
            </a:fld>
            <a:endParaRPr lang="en-US"/>
          </a:p>
        </p:txBody>
      </p:sp>
      <p:cxnSp>
        <p:nvCxnSpPr>
          <p:cNvPr id="13" name="Google Shape;1158;p110">
            <a:extLst>
              <a:ext uri="{FF2B5EF4-FFF2-40B4-BE49-F238E27FC236}">
                <a16:creationId xmlns:a16="http://schemas.microsoft.com/office/drawing/2014/main" id="{B844CA58-BFCF-4C54-77DC-06FF27483B82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4" name="Google Shape;1159;p110">
            <a:extLst>
              <a:ext uri="{FF2B5EF4-FFF2-40B4-BE49-F238E27FC236}">
                <a16:creationId xmlns:a16="http://schemas.microsoft.com/office/drawing/2014/main" id="{3D6390E6-D3EA-3231-BA90-386B5A2A585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726761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465542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161;p111">
            <a:extLst>
              <a:ext uri="{FF2B5EF4-FFF2-40B4-BE49-F238E27FC236}">
                <a16:creationId xmlns:a16="http://schemas.microsoft.com/office/drawing/2014/main" id="{BFE67248-8A23-5377-C4E1-94A8C58A9221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162;p111">
              <a:extLst>
                <a:ext uri="{FF2B5EF4-FFF2-40B4-BE49-F238E27FC236}">
                  <a16:creationId xmlns:a16="http://schemas.microsoft.com/office/drawing/2014/main" id="{73A5C87B-91F7-0DC8-5A66-CA15D29951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163;p111">
              <a:extLst>
                <a:ext uri="{FF2B5EF4-FFF2-40B4-BE49-F238E27FC236}">
                  <a16:creationId xmlns:a16="http://schemas.microsoft.com/office/drawing/2014/main" id="{0D9A237F-7B33-CF86-16F1-2DA5A1F96C6F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164;p111">
                <a:extLst>
                  <a:ext uri="{FF2B5EF4-FFF2-40B4-BE49-F238E27FC236}">
                    <a16:creationId xmlns:a16="http://schemas.microsoft.com/office/drawing/2014/main" id="{888BBE00-DB1E-2F03-0B7E-FE6FCE42A7A6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165;p111">
                <a:extLst>
                  <a:ext uri="{FF2B5EF4-FFF2-40B4-BE49-F238E27FC236}">
                    <a16:creationId xmlns:a16="http://schemas.microsoft.com/office/drawing/2014/main" id="{BBB4344C-6549-2535-0BD0-7B10C4E05209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166;p111">
            <a:extLst>
              <a:ext uri="{FF2B5EF4-FFF2-40B4-BE49-F238E27FC236}">
                <a16:creationId xmlns:a16="http://schemas.microsoft.com/office/drawing/2014/main" id="{14146837-8638-3D62-82EF-584A9BA2F790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167;p111">
            <a:extLst>
              <a:ext uri="{FF2B5EF4-FFF2-40B4-BE49-F238E27FC236}">
                <a16:creationId xmlns:a16="http://schemas.microsoft.com/office/drawing/2014/main" id="{553D236D-B9FD-CF1E-2B90-D1C325F0AEC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0569EAF2-003E-4F6B-86B8-E754BACE7115}" type="slidenum">
              <a:t>‹#›</a:t>
            </a:fld>
            <a:endParaRPr lang="en-US"/>
          </a:p>
        </p:txBody>
      </p:sp>
      <p:cxnSp>
        <p:nvCxnSpPr>
          <p:cNvPr id="9" name="Google Shape;1168;p111">
            <a:extLst>
              <a:ext uri="{FF2B5EF4-FFF2-40B4-BE49-F238E27FC236}">
                <a16:creationId xmlns:a16="http://schemas.microsoft.com/office/drawing/2014/main" id="{346DA04D-1010-48B2-BA6C-044D0FD1AB59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0" name="Google Shape;1169;p111">
            <a:extLst>
              <a:ext uri="{FF2B5EF4-FFF2-40B4-BE49-F238E27FC236}">
                <a16:creationId xmlns:a16="http://schemas.microsoft.com/office/drawing/2014/main" id="{A1E70A95-C507-823F-05D9-32C119032EFA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135356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d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171;p112">
            <a:extLst>
              <a:ext uri="{FF2B5EF4-FFF2-40B4-BE49-F238E27FC236}">
                <a16:creationId xmlns:a16="http://schemas.microsoft.com/office/drawing/2014/main" id="{3E7BCD88-936E-006E-62F7-DBFFE5B0D475}"/>
              </a:ext>
            </a:extLst>
          </p:cNvPr>
          <p:cNvGrpSpPr/>
          <p:nvPr/>
        </p:nvGrpSpPr>
        <p:grpSpPr>
          <a:xfrm>
            <a:off x="0" y="0"/>
            <a:ext cx="12191996" cy="2148830"/>
            <a:chOff x="0" y="0"/>
            <a:chExt cx="12191996" cy="2148830"/>
          </a:xfrm>
        </p:grpSpPr>
        <p:sp>
          <p:nvSpPr>
            <p:cNvPr id="3" name="Google Shape;1172;p112">
              <a:extLst>
                <a:ext uri="{FF2B5EF4-FFF2-40B4-BE49-F238E27FC236}">
                  <a16:creationId xmlns:a16="http://schemas.microsoft.com/office/drawing/2014/main" id="{CDC40063-C8AE-2D51-1109-3D3A6FB881FF}"/>
                </a:ext>
              </a:extLst>
            </p:cNvPr>
            <p:cNvSpPr/>
            <p:nvPr/>
          </p:nvSpPr>
          <p:spPr>
            <a:xfrm flipH="1">
              <a:off x="0" y="0"/>
              <a:ext cx="12191996" cy="214883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2148830"/>
                <a:gd name="f5" fmla="val 2318293"/>
                <a:gd name="f6" fmla="val 2110341"/>
                <a:gd name="f7" fmla="val 1952334"/>
                <a:gd name="f8" fmla="val 920"/>
                <a:gd name="f9" fmla="val 1343499"/>
                <a:gd name="f10" fmla="val 23864"/>
                <a:gd name="f11" fmla="val 752130"/>
                <a:gd name="f12" fmla="val 152982"/>
                <a:gd name="f13" fmla="val 184205"/>
                <a:gd name="f14" fmla="val 435928"/>
                <a:gd name="f15" fmla="val 536864"/>
                <a:gd name="f16" fmla="val 554713"/>
                <a:gd name="f17" fmla="val 201115"/>
                <a:gd name="f18" fmla="val 452796"/>
                <a:gd name="f19" fmla="val 776357"/>
                <a:gd name="f20" fmla="val 187336"/>
                <a:gd name="f21" fmla="val 1349828"/>
                <a:gd name="f22" fmla="val 76760"/>
                <a:gd name="f23" fmla="val 1947588"/>
                <a:gd name="f24" fmla="val 66249"/>
                <a:gd name="f25" fmla="val 2962940"/>
                <a:gd name="f26" fmla="val 48421"/>
                <a:gd name="f27" fmla="val 3890218"/>
                <a:gd name="f28" fmla="val 291317"/>
                <a:gd name="f29" fmla="val 4778140"/>
                <a:gd name="f30" fmla="val 604018"/>
                <a:gd name="f31" fmla="val 7231510"/>
                <a:gd name="f32" fmla="val 1468126"/>
                <a:gd name="f33" fmla="val 9178927"/>
                <a:gd name="f34" fmla="val 2492024"/>
                <a:gd name="f35" fmla="val 11996242"/>
                <a:gd name="f36" fmla="val 2036894"/>
                <a:gd name="f37" fmla="val 2002266"/>
                <a:gd name="f38" fmla="val 1415250"/>
                <a:gd name="f39" fmla="val 12022971"/>
                <a:gd name="f40" fmla="val 1470801"/>
                <a:gd name="f41" fmla="val 10719696"/>
                <a:gd name="f42" fmla="val 1863939"/>
                <a:gd name="f43" fmla="val 9271154"/>
                <a:gd name="f44" fmla="val 1783804"/>
                <a:gd name="f45" fmla="val 7970940"/>
                <a:gd name="f46" fmla="val 1436986"/>
                <a:gd name="f47" fmla="val 6890984"/>
                <a:gd name="f48" fmla="val 1148958"/>
                <a:gd name="f49" fmla="val 5866930"/>
                <a:gd name="f50" fmla="val 767309"/>
                <a:gd name="f51" fmla="val 4800356"/>
                <a:gd name="f52" fmla="val 456582"/>
                <a:gd name="f53" fmla="val 4068903"/>
                <a:gd name="f54" fmla="val 243471"/>
                <a:gd name="f55" fmla="val 3348204"/>
                <a:gd name="f56" fmla="val 74251"/>
                <a:gd name="f57" fmla="val 2646880"/>
                <a:gd name="f58" fmla="val 17560"/>
                <a:gd name="f59" fmla="*/ f0 1 12192000"/>
                <a:gd name="f60" fmla="*/ f1 1 2148830"/>
                <a:gd name="f61" fmla="+- f4 0 f2"/>
                <a:gd name="f62" fmla="+- f3 0 f2"/>
                <a:gd name="f63" fmla="*/ f62 1 12192000"/>
                <a:gd name="f64" fmla="*/ f61 1 2148830"/>
                <a:gd name="f65" fmla="*/ f2 1 f63"/>
                <a:gd name="f66" fmla="*/ f3 1 f63"/>
                <a:gd name="f67" fmla="*/ f2 1 f64"/>
                <a:gd name="f68" fmla="*/ f4 1 f64"/>
                <a:gd name="f69" fmla="*/ f65 f59 1"/>
                <a:gd name="f70" fmla="*/ f66 f59 1"/>
                <a:gd name="f71" fmla="*/ f68 f60 1"/>
                <a:gd name="f72" fmla="*/ f67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9" t="f72" r="f70" b="f71"/>
              <a:pathLst>
                <a:path w="12192000" h="2148830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1173;p112">
              <a:extLst>
                <a:ext uri="{FF2B5EF4-FFF2-40B4-BE49-F238E27FC236}">
                  <a16:creationId xmlns:a16="http://schemas.microsoft.com/office/drawing/2014/main" id="{2BA9E560-4C95-2E31-92A7-F68005EA88F1}"/>
                </a:ext>
              </a:extLst>
            </p:cNvPr>
            <p:cNvSpPr/>
            <p:nvPr/>
          </p:nvSpPr>
          <p:spPr>
            <a:xfrm flipH="1">
              <a:off x="0" y="0"/>
              <a:ext cx="12191996" cy="19921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992138"/>
                <a:gd name="f5" fmla="val 2724271"/>
                <a:gd name="f6" fmla="val 1788442"/>
                <a:gd name="f7" fmla="val 1635403"/>
                <a:gd name="f8" fmla="val 12925"/>
                <a:gd name="f9" fmla="val 1134241"/>
                <a:gd name="f10" fmla="val 70905"/>
                <a:gd name="f11" fmla="val 647221"/>
                <a:gd name="f12" fmla="val 207817"/>
                <a:gd name="f13" fmla="val 178220"/>
                <a:gd name="f14" fmla="val 451207"/>
                <a:gd name="f15" fmla="val 552718"/>
                <a:gd name="f16" fmla="val 570885"/>
                <a:gd name="f17" fmla="val 195368"/>
                <a:gd name="f18" fmla="val 467800"/>
                <a:gd name="f19" fmla="val 765758"/>
                <a:gd name="f20" fmla="val 193094"/>
                <a:gd name="f21" fmla="val 1336955"/>
                <a:gd name="f22" fmla="val 73179"/>
                <a:gd name="f23" fmla="val 1934073"/>
                <a:gd name="f24" fmla="val 52850"/>
                <a:gd name="f25" fmla="val 2948304"/>
                <a:gd name="f26" fmla="val 18310"/>
                <a:gd name="f27" fmla="val 3878878"/>
                <a:gd name="f28" fmla="val 245747"/>
                <a:gd name="f29" fmla="val 4771217"/>
                <a:gd name="f30" fmla="val 543645"/>
                <a:gd name="f31" fmla="val 7236913"/>
                <a:gd name="f32" fmla="val 1366709"/>
                <a:gd name="f33" fmla="val 9199689"/>
                <a:gd name="f34" fmla="val 2357774"/>
                <a:gd name="f35" fmla="val 12007222"/>
                <a:gd name="f36" fmla="val 1856729"/>
                <a:gd name="f37" fmla="val 1820900"/>
                <a:gd name="f38" fmla="val 897073"/>
                <a:gd name="f39" fmla="val 12062517"/>
                <a:gd name="f40" fmla="val 950128"/>
                <a:gd name="f41" fmla="val 10950292"/>
                <a:gd name="f42" fmla="val 1376478"/>
                <a:gd name="f43" fmla="val 9595706"/>
                <a:gd name="f44" fmla="val 1466451"/>
                <a:gd name="f45" fmla="val 8435105"/>
                <a:gd name="f46" fmla="val 1266613"/>
                <a:gd name="f47" fmla="val 6618389"/>
                <a:gd name="f48" fmla="val 953715"/>
                <a:gd name="f49" fmla="val 4735222"/>
                <a:gd name="f50" fmla="val 130088"/>
                <a:gd name="f51" fmla="val 2948502"/>
                <a:gd name="f52" fmla="val 20548"/>
                <a:gd name="f53" fmla="*/ f0 1 12192000"/>
                <a:gd name="f54" fmla="*/ f1 1 1992138"/>
                <a:gd name="f55" fmla="+- f4 0 f2"/>
                <a:gd name="f56" fmla="+- f3 0 f2"/>
                <a:gd name="f57" fmla="*/ f56 1 12192000"/>
                <a:gd name="f58" fmla="*/ f55 1 1992138"/>
                <a:gd name="f59" fmla="*/ f2 1 f57"/>
                <a:gd name="f60" fmla="*/ f3 1 f57"/>
                <a:gd name="f61" fmla="*/ f2 1 f58"/>
                <a:gd name="f62" fmla="*/ f4 1 f58"/>
                <a:gd name="f63" fmla="*/ f59 f53 1"/>
                <a:gd name="f64" fmla="*/ f60 f53 1"/>
                <a:gd name="f65" fmla="*/ f62 f54 1"/>
                <a:gd name="f66" fmla="*/ f61 f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3" t="f66" r="f64" b="f65"/>
              <a:pathLst>
                <a:path w="12192000" h="1992138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lose/>
                </a:path>
              </a:pathLst>
            </a:custGeom>
            <a:solidFill>
              <a:srgbClr val="00498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sp>
        <p:nvSpPr>
          <p:cNvPr id="5" name="Google Shape;1174;p112">
            <a:extLst>
              <a:ext uri="{FF2B5EF4-FFF2-40B4-BE49-F238E27FC236}">
                <a16:creationId xmlns:a16="http://schemas.microsoft.com/office/drawing/2014/main" id="{61EF6653-E711-5640-8008-32E56FA2AD78}"/>
              </a:ext>
            </a:extLst>
          </p:cNvPr>
          <p:cNvSpPr/>
          <p:nvPr/>
        </p:nvSpPr>
        <p:spPr>
          <a:xfrm>
            <a:off x="902366" y="1517693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6" name="Google Shape;1175;p112">
            <a:extLst>
              <a:ext uri="{FF2B5EF4-FFF2-40B4-BE49-F238E27FC236}">
                <a16:creationId xmlns:a16="http://schemas.microsoft.com/office/drawing/2014/main" id="{D0804EE6-1EAB-A418-92D5-58BBE4E3829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219196" y="3429000"/>
            <a:ext cx="5582649" cy="1413561"/>
          </a:xfrm>
        </p:spPr>
        <p:txBody>
          <a:bodyPr/>
          <a:lstStyle>
            <a:lvl1pPr indent="-228600">
              <a:buNone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7" name="Google Shape;1176;p112">
            <a:extLst>
              <a:ext uri="{FF2B5EF4-FFF2-40B4-BE49-F238E27FC236}">
                <a16:creationId xmlns:a16="http://schemas.microsoft.com/office/drawing/2014/main" id="{7872AB7B-3E26-14B0-CEC0-0AC3DDF694C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19196" y="1887486"/>
            <a:ext cx="5582649" cy="1078260"/>
          </a:xfrm>
        </p:spPr>
        <p:txBody>
          <a:bodyPr/>
          <a:lstStyle>
            <a:lvl1pPr>
              <a:defRPr sz="6000"/>
            </a:lvl1pPr>
          </a:lstStyle>
          <a:p>
            <a:pPr lvl="0"/>
            <a:endParaRPr lang="en-US"/>
          </a:p>
        </p:txBody>
      </p:sp>
      <p:pic>
        <p:nvPicPr>
          <p:cNvPr id="8" name="Google Shape;1177;p112">
            <a:extLst>
              <a:ext uri="{FF2B5EF4-FFF2-40B4-BE49-F238E27FC236}">
                <a16:creationId xmlns:a16="http://schemas.microsoft.com/office/drawing/2014/main" id="{8E38C1E4-5BA7-DA2A-61AE-71523BD84BA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902366" y="228371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51692898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180;p113">
            <a:extLst>
              <a:ext uri="{FF2B5EF4-FFF2-40B4-BE49-F238E27FC236}">
                <a16:creationId xmlns:a16="http://schemas.microsoft.com/office/drawing/2014/main" id="{E87FD6C6-BF9A-0A61-55AD-A8248A4F2C6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1D4387B0-5499-49B9-967E-308984CA9EC4}" type="slidenum">
              <a:t>‹#›</a:t>
            </a:fld>
            <a:endParaRPr lang="en-US"/>
          </a:p>
        </p:txBody>
      </p:sp>
      <p:cxnSp>
        <p:nvCxnSpPr>
          <p:cNvPr id="3" name="Google Shape;1181;p113">
            <a:extLst>
              <a:ext uri="{FF2B5EF4-FFF2-40B4-BE49-F238E27FC236}">
                <a16:creationId xmlns:a16="http://schemas.microsoft.com/office/drawing/2014/main" id="{98690A70-1FF1-48EF-6965-1F0E255A70EC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4" name="Google Shape;1182;p113">
            <a:extLst>
              <a:ext uri="{FF2B5EF4-FFF2-40B4-BE49-F238E27FC236}">
                <a16:creationId xmlns:a16="http://schemas.microsoft.com/office/drawing/2014/main" id="{92B34675-E961-F786-7D3A-E24DD152FA13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1183;p113">
            <a:extLst>
              <a:ext uri="{FF2B5EF4-FFF2-40B4-BE49-F238E27FC236}">
                <a16:creationId xmlns:a16="http://schemas.microsoft.com/office/drawing/2014/main" id="{7B24EA40-DA01-2C1F-4BBF-EE6BF090959B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6" name="Google Shape;1184;p113">
              <a:extLst>
                <a:ext uri="{FF2B5EF4-FFF2-40B4-BE49-F238E27FC236}">
                  <a16:creationId xmlns:a16="http://schemas.microsoft.com/office/drawing/2014/main" id="{F50EBEDF-9605-CF5F-F395-512194287E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7" name="Google Shape;1185;p113">
              <a:extLst>
                <a:ext uri="{FF2B5EF4-FFF2-40B4-BE49-F238E27FC236}">
                  <a16:creationId xmlns:a16="http://schemas.microsoft.com/office/drawing/2014/main" id="{EB72AC41-1741-5D25-58E9-95004896DB68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8" name="Google Shape;1186;p113">
                <a:extLst>
                  <a:ext uri="{FF2B5EF4-FFF2-40B4-BE49-F238E27FC236}">
                    <a16:creationId xmlns:a16="http://schemas.microsoft.com/office/drawing/2014/main" id="{20D98396-D47D-7B54-E438-748917775E84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9" name="Google Shape;1187;p113">
                <a:extLst>
                  <a:ext uri="{FF2B5EF4-FFF2-40B4-BE49-F238E27FC236}">
                    <a16:creationId xmlns:a16="http://schemas.microsoft.com/office/drawing/2014/main" id="{93306D1D-6497-7D29-4F4F-4D24624098E8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759691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Quot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189;p114">
            <a:extLst>
              <a:ext uri="{FF2B5EF4-FFF2-40B4-BE49-F238E27FC236}">
                <a16:creationId xmlns:a16="http://schemas.microsoft.com/office/drawing/2014/main" id="{91AC48F0-61F4-EF45-791D-B8B4B5828776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190;p114">
            <a:extLst>
              <a:ext uri="{FF2B5EF4-FFF2-40B4-BE49-F238E27FC236}">
                <a16:creationId xmlns:a16="http://schemas.microsoft.com/office/drawing/2014/main" id="{7C1984DF-02C2-92A4-7539-80CE563C7D4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191;p114">
            <a:extLst>
              <a:ext uri="{FF2B5EF4-FFF2-40B4-BE49-F238E27FC236}">
                <a16:creationId xmlns:a16="http://schemas.microsoft.com/office/drawing/2014/main" id="{3D932D80-B143-F9C2-A28D-2DD3B2FBA2E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192;p114">
            <a:extLst>
              <a:ext uri="{FF2B5EF4-FFF2-40B4-BE49-F238E27FC236}">
                <a16:creationId xmlns:a16="http://schemas.microsoft.com/office/drawing/2014/main" id="{9BB157BF-8749-71D0-BFA2-DB039306083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5B0ADEF6-A580-4688-84CC-EA9CAB85BEC4}" type="slidenum">
              <a:t>‹#›</a:t>
            </a:fld>
            <a:endParaRPr lang="en-US"/>
          </a:p>
        </p:txBody>
      </p:sp>
      <p:cxnSp>
        <p:nvCxnSpPr>
          <p:cNvPr id="6" name="Google Shape;1193;p114">
            <a:extLst>
              <a:ext uri="{FF2B5EF4-FFF2-40B4-BE49-F238E27FC236}">
                <a16:creationId xmlns:a16="http://schemas.microsoft.com/office/drawing/2014/main" id="{B8B0ADA5-69D1-64CA-36BF-9B54C6371DFE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194;p114">
            <a:extLst>
              <a:ext uri="{FF2B5EF4-FFF2-40B4-BE49-F238E27FC236}">
                <a16:creationId xmlns:a16="http://schemas.microsoft.com/office/drawing/2014/main" id="{BCFE1215-64D0-639A-7A29-F7D5EB5EC994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1195;p114">
            <a:extLst>
              <a:ext uri="{FF2B5EF4-FFF2-40B4-BE49-F238E27FC236}">
                <a16:creationId xmlns:a16="http://schemas.microsoft.com/office/drawing/2014/main" id="{3364A350-2382-C604-735B-E2FD6040112A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1196;p114">
              <a:extLst>
                <a:ext uri="{FF2B5EF4-FFF2-40B4-BE49-F238E27FC236}">
                  <a16:creationId xmlns:a16="http://schemas.microsoft.com/office/drawing/2014/main" id="{F45710C4-1CCD-6254-1F62-B381EE44E69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1197;p114">
              <a:extLst>
                <a:ext uri="{FF2B5EF4-FFF2-40B4-BE49-F238E27FC236}">
                  <a16:creationId xmlns:a16="http://schemas.microsoft.com/office/drawing/2014/main" id="{58B152B9-628A-864C-08D9-7463038CFF64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1198;p114">
                <a:extLst>
                  <a:ext uri="{FF2B5EF4-FFF2-40B4-BE49-F238E27FC236}">
                    <a16:creationId xmlns:a16="http://schemas.microsoft.com/office/drawing/2014/main" id="{ABA0A375-32EF-AE52-22C3-A48E06447F6D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1199;p114">
                <a:extLst>
                  <a:ext uri="{FF2B5EF4-FFF2-40B4-BE49-F238E27FC236}">
                    <a16:creationId xmlns:a16="http://schemas.microsoft.com/office/drawing/2014/main" id="{6BF3DB51-8840-AFA9-E7B0-F5354657526F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1200;p114" descr="Open quotation mark with solid fill">
            <a:extLst>
              <a:ext uri="{FF2B5EF4-FFF2-40B4-BE49-F238E27FC236}">
                <a16:creationId xmlns:a16="http://schemas.microsoft.com/office/drawing/2014/main" id="{6E02D3C3-F16A-1893-5687-0CCFC4B358E4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4068398119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02;p115">
            <a:extLst>
              <a:ext uri="{FF2B5EF4-FFF2-40B4-BE49-F238E27FC236}">
                <a16:creationId xmlns:a16="http://schemas.microsoft.com/office/drawing/2014/main" id="{19AC9239-67BE-5E75-0DAE-A43F8AA8AEAA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1524003" y="1122361"/>
            <a:ext cx="9144000" cy="2387598"/>
          </a:xfrm>
        </p:spPr>
        <p:txBody>
          <a:bodyPr anchor="b" anchorCtr="1"/>
          <a:lstStyle>
            <a:lvl1pPr algn="ctr">
              <a:defRPr sz="6000"/>
            </a:lvl1pPr>
          </a:lstStyle>
          <a:p>
            <a:pPr lvl="0"/>
            <a:endParaRPr lang="en-US"/>
          </a:p>
        </p:txBody>
      </p:sp>
      <p:sp>
        <p:nvSpPr>
          <p:cNvPr id="3" name="Google Shape;1203;p115">
            <a:extLst>
              <a:ext uri="{FF2B5EF4-FFF2-40B4-BE49-F238E27FC236}">
                <a16:creationId xmlns:a16="http://schemas.microsoft.com/office/drawing/2014/main" id="{D00FA99A-6B8A-7542-BCA1-625B6C29F452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1524003" y="3602041"/>
            <a:ext cx="9144000" cy="1655758"/>
          </a:xfrm>
        </p:spPr>
        <p:txBody>
          <a:bodyPr anchorCtr="1"/>
          <a:lstStyle>
            <a:lvl1pPr algn="ctr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204;p115">
            <a:extLst>
              <a:ext uri="{FF2B5EF4-FFF2-40B4-BE49-F238E27FC236}">
                <a16:creationId xmlns:a16="http://schemas.microsoft.com/office/drawing/2014/main" id="{EA12AA0E-29C8-F124-4680-72EF3A4F1525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1" tIns="45701" rIns="91421" bIns="45701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205;p115">
            <a:extLst>
              <a:ext uri="{FF2B5EF4-FFF2-40B4-BE49-F238E27FC236}">
                <a16:creationId xmlns:a16="http://schemas.microsoft.com/office/drawing/2014/main" id="{78D336D1-E69D-D2AD-4BC7-A89E598E6FD7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Google Shape;1206;p115">
            <a:extLst>
              <a:ext uri="{FF2B5EF4-FFF2-40B4-BE49-F238E27FC236}">
                <a16:creationId xmlns:a16="http://schemas.microsoft.com/office/drawing/2014/main" id="{95688022-F274-0FC0-939A-183AB20EEFA2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D5B0A98A-AEDA-4E78-90A7-A0CA93A7A624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627043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08;p116">
            <a:extLst>
              <a:ext uri="{FF2B5EF4-FFF2-40B4-BE49-F238E27FC236}">
                <a16:creationId xmlns:a16="http://schemas.microsoft.com/office/drawing/2014/main" id="{604F4349-E6DF-307B-284A-6EAC2EDB86A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5400857"/>
            <a:ext cx="8178613" cy="381643"/>
          </a:xfrm>
        </p:spPr>
        <p:txBody>
          <a:bodyPr>
            <a:spAutoFit/>
          </a:bodyPr>
          <a:lstStyle>
            <a:lvl1pPr indent="-228600" algn="r"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209;p116">
            <a:extLst>
              <a:ext uri="{FF2B5EF4-FFF2-40B4-BE49-F238E27FC236}">
                <a16:creationId xmlns:a16="http://schemas.microsoft.com/office/drawing/2014/main" id="{AD32CA3A-F373-61BF-CA20-662F797B99A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826556" y="1807147"/>
            <a:ext cx="8178613" cy="1629460"/>
          </a:xfrm>
        </p:spPr>
        <p:txBody>
          <a:bodyPr anchor="b"/>
          <a:lstStyle>
            <a:lvl1pPr>
              <a:defRPr sz="5333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210;p116">
            <a:extLst>
              <a:ext uri="{FF2B5EF4-FFF2-40B4-BE49-F238E27FC236}">
                <a16:creationId xmlns:a16="http://schemas.microsoft.com/office/drawing/2014/main" id="{C9BA7AE6-F461-A2C9-74D0-70E0D5088E30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1" tIns="45701" rIns="91421" bIns="45701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211;p116">
            <a:extLst>
              <a:ext uri="{FF2B5EF4-FFF2-40B4-BE49-F238E27FC236}">
                <a16:creationId xmlns:a16="http://schemas.microsoft.com/office/drawing/2014/main" id="{A7243EAF-23AE-971C-417E-1CACBDC94CB7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Google Shape;1212;p116">
            <a:extLst>
              <a:ext uri="{FF2B5EF4-FFF2-40B4-BE49-F238E27FC236}">
                <a16:creationId xmlns:a16="http://schemas.microsoft.com/office/drawing/2014/main" id="{8B895B5B-C0A2-2DC1-18B3-CD89FF9770F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0091008C-8CD3-4AE1-A17F-FC39FED4DCE5}" type="slidenum">
              <a:t>‹#›</a:t>
            </a:fld>
            <a:endParaRPr lang="en-US"/>
          </a:p>
        </p:txBody>
      </p:sp>
      <p:sp>
        <p:nvSpPr>
          <p:cNvPr id="7" name="Google Shape;1213;p116">
            <a:extLst>
              <a:ext uri="{FF2B5EF4-FFF2-40B4-BE49-F238E27FC236}">
                <a16:creationId xmlns:a16="http://schemas.microsoft.com/office/drawing/2014/main" id="{C90532C6-F231-D2E0-5A5A-2C0B65A1F89F}"/>
              </a:ext>
            </a:extLst>
          </p:cNvPr>
          <p:cNvSpPr/>
          <p:nvPr/>
        </p:nvSpPr>
        <p:spPr>
          <a:xfrm rot="10799991">
            <a:off x="-28" y="2000223"/>
            <a:ext cx="2785070" cy="2042851"/>
          </a:xfrm>
          <a:custGeom>
            <a:avLst/>
            <a:gdLst>
              <a:gd name="f0" fmla="val w"/>
              <a:gd name="f1" fmla="val h"/>
              <a:gd name="f2" fmla="val 0"/>
              <a:gd name="f3" fmla="val 10293751"/>
              <a:gd name="f4" fmla="val 1031873"/>
              <a:gd name="f5" fmla="val 3579068"/>
              <a:gd name="f6" fmla="val 1"/>
              <a:gd name="f7" fmla="val 1031872"/>
              <a:gd name="f8" fmla="*/ f0 1 10293751"/>
              <a:gd name="f9" fmla="*/ f1 1 1031873"/>
              <a:gd name="f10" fmla="+- f4 0 f2"/>
              <a:gd name="f11" fmla="+- f3 0 f2"/>
              <a:gd name="f12" fmla="*/ f11 1 10293751"/>
              <a:gd name="f13" fmla="*/ f10 1 1031873"/>
              <a:gd name="f14" fmla="*/ f2 1 f12"/>
              <a:gd name="f15" fmla="*/ f3 1 f12"/>
              <a:gd name="f16" fmla="*/ f2 1 f13"/>
              <a:gd name="f17" fmla="*/ f4 1 f13"/>
              <a:gd name="f18" fmla="*/ f14 f8 1"/>
              <a:gd name="f19" fmla="*/ f15 f8 1"/>
              <a:gd name="f20" fmla="*/ f17 f9 1"/>
              <a:gd name="f21" fmla="*/ f16 f9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8" t="f21" r="f19" b="f20"/>
            <a:pathLst>
              <a:path w="10293751" h="1031873">
                <a:moveTo>
                  <a:pt x="f5" y="f2"/>
                </a:moveTo>
                <a:lnTo>
                  <a:pt x="f3" y="f6"/>
                </a:lnTo>
                <a:lnTo>
                  <a:pt x="f3" y="f4"/>
                </a:lnTo>
                <a:lnTo>
                  <a:pt x="f2" y="f7"/>
                </a:lnTo>
                <a:lnTo>
                  <a:pt x="f5" y="f2"/>
                </a:lnTo>
                <a:close/>
              </a:path>
            </a:pathLst>
          </a:cu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8" name="Google Shape;1214;p116">
            <a:extLst>
              <a:ext uri="{FF2B5EF4-FFF2-40B4-BE49-F238E27FC236}">
                <a16:creationId xmlns:a16="http://schemas.microsoft.com/office/drawing/2014/main" id="{DAD5A922-729D-D66E-29BB-90BED619AB9E}"/>
              </a:ext>
            </a:extLst>
          </p:cNvPr>
          <p:cNvSpPr/>
          <p:nvPr/>
        </p:nvSpPr>
        <p:spPr>
          <a:xfrm>
            <a:off x="0" y="6115049"/>
            <a:ext cx="12191996" cy="742950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9" name="Google Shape;1215;p116">
            <a:extLst>
              <a:ext uri="{FF2B5EF4-FFF2-40B4-BE49-F238E27FC236}">
                <a16:creationId xmlns:a16="http://schemas.microsoft.com/office/drawing/2014/main" id="{00C9CF3B-10D3-9752-B251-95A7278AFE0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3447397"/>
            <a:ext cx="8178613" cy="713314"/>
          </a:xfrm>
        </p:spPr>
        <p:txBody>
          <a:bodyPr/>
          <a:lstStyle>
            <a:lvl1pPr indent="-228600">
              <a:buNone/>
              <a:defRPr sz="3200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10" name="Google Shape;1216;p116">
            <a:extLst>
              <a:ext uri="{FF2B5EF4-FFF2-40B4-BE49-F238E27FC236}">
                <a16:creationId xmlns:a16="http://schemas.microsoft.com/office/drawing/2014/main" id="{12064619-8DA3-7E66-D131-657048FA054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2829830" y="4178332"/>
            <a:ext cx="4395959" cy="1140165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883981556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_Yale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18;p117">
            <a:extLst>
              <a:ext uri="{FF2B5EF4-FFF2-40B4-BE49-F238E27FC236}">
                <a16:creationId xmlns:a16="http://schemas.microsoft.com/office/drawing/2014/main" id="{14854DA3-95E7-8CE3-073C-D976A397815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5400857"/>
            <a:ext cx="8178613" cy="381643"/>
          </a:xfrm>
        </p:spPr>
        <p:txBody>
          <a:bodyPr>
            <a:spAutoFit/>
          </a:bodyPr>
          <a:lstStyle>
            <a:lvl1pPr indent="-228600" algn="r"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219;p117">
            <a:extLst>
              <a:ext uri="{FF2B5EF4-FFF2-40B4-BE49-F238E27FC236}">
                <a16:creationId xmlns:a16="http://schemas.microsoft.com/office/drawing/2014/main" id="{072568FF-D8B3-7146-0A99-6212B9B5CDD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826556" y="1807147"/>
            <a:ext cx="8178613" cy="1629460"/>
          </a:xfrm>
        </p:spPr>
        <p:txBody>
          <a:bodyPr anchor="b"/>
          <a:lstStyle>
            <a:lvl1pPr>
              <a:defRPr sz="5333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220;p117">
            <a:extLst>
              <a:ext uri="{FF2B5EF4-FFF2-40B4-BE49-F238E27FC236}">
                <a16:creationId xmlns:a16="http://schemas.microsoft.com/office/drawing/2014/main" id="{DC37F3CA-1B14-9D47-8C26-33DA1B24A559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1" tIns="45701" rIns="91421" bIns="45701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221;p117">
            <a:extLst>
              <a:ext uri="{FF2B5EF4-FFF2-40B4-BE49-F238E27FC236}">
                <a16:creationId xmlns:a16="http://schemas.microsoft.com/office/drawing/2014/main" id="{2F6AA22A-F647-0C0A-564E-35DCCD7455CC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Google Shape;1222;p117">
            <a:extLst>
              <a:ext uri="{FF2B5EF4-FFF2-40B4-BE49-F238E27FC236}">
                <a16:creationId xmlns:a16="http://schemas.microsoft.com/office/drawing/2014/main" id="{8ABF1BCF-6EF0-527A-0248-42E9DBDB417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6DD1CDC1-092F-4BB3-B334-CCA955688346}" type="slidenum">
              <a:t>‹#›</a:t>
            </a:fld>
            <a:endParaRPr lang="en-US"/>
          </a:p>
        </p:txBody>
      </p:sp>
      <p:sp>
        <p:nvSpPr>
          <p:cNvPr id="7" name="Google Shape;1223;p117">
            <a:extLst>
              <a:ext uri="{FF2B5EF4-FFF2-40B4-BE49-F238E27FC236}">
                <a16:creationId xmlns:a16="http://schemas.microsoft.com/office/drawing/2014/main" id="{255ECA46-ABF8-6A1B-7E33-15751254A9EA}"/>
              </a:ext>
            </a:extLst>
          </p:cNvPr>
          <p:cNvSpPr/>
          <p:nvPr/>
        </p:nvSpPr>
        <p:spPr>
          <a:xfrm rot="10799991">
            <a:off x="-28" y="2000223"/>
            <a:ext cx="2785070" cy="2042851"/>
          </a:xfrm>
          <a:custGeom>
            <a:avLst/>
            <a:gdLst>
              <a:gd name="f0" fmla="val w"/>
              <a:gd name="f1" fmla="val h"/>
              <a:gd name="f2" fmla="val 0"/>
              <a:gd name="f3" fmla="val 10293751"/>
              <a:gd name="f4" fmla="val 1031873"/>
              <a:gd name="f5" fmla="val 3579068"/>
              <a:gd name="f6" fmla="val 1"/>
              <a:gd name="f7" fmla="val 1031872"/>
              <a:gd name="f8" fmla="*/ f0 1 10293751"/>
              <a:gd name="f9" fmla="*/ f1 1 1031873"/>
              <a:gd name="f10" fmla="+- f4 0 f2"/>
              <a:gd name="f11" fmla="+- f3 0 f2"/>
              <a:gd name="f12" fmla="*/ f11 1 10293751"/>
              <a:gd name="f13" fmla="*/ f10 1 1031873"/>
              <a:gd name="f14" fmla="*/ f2 1 f12"/>
              <a:gd name="f15" fmla="*/ f3 1 f12"/>
              <a:gd name="f16" fmla="*/ f2 1 f13"/>
              <a:gd name="f17" fmla="*/ f4 1 f13"/>
              <a:gd name="f18" fmla="*/ f14 f8 1"/>
              <a:gd name="f19" fmla="*/ f15 f8 1"/>
              <a:gd name="f20" fmla="*/ f17 f9 1"/>
              <a:gd name="f21" fmla="*/ f16 f9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8" t="f21" r="f19" b="f20"/>
            <a:pathLst>
              <a:path w="10293751" h="1031873">
                <a:moveTo>
                  <a:pt x="f5" y="f2"/>
                </a:moveTo>
                <a:lnTo>
                  <a:pt x="f3" y="f6"/>
                </a:lnTo>
                <a:lnTo>
                  <a:pt x="f3" y="f4"/>
                </a:lnTo>
                <a:lnTo>
                  <a:pt x="f2" y="f7"/>
                </a:lnTo>
                <a:lnTo>
                  <a:pt x="f5" y="f2"/>
                </a:lnTo>
                <a:close/>
              </a:path>
            </a:pathLst>
          </a:cu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8" name="Google Shape;1224;p117">
            <a:extLst>
              <a:ext uri="{FF2B5EF4-FFF2-40B4-BE49-F238E27FC236}">
                <a16:creationId xmlns:a16="http://schemas.microsoft.com/office/drawing/2014/main" id="{BD5F52F0-8C76-ACF4-10BF-2287EB57ECB8}"/>
              </a:ext>
            </a:extLst>
          </p:cNvPr>
          <p:cNvSpPr/>
          <p:nvPr/>
        </p:nvSpPr>
        <p:spPr>
          <a:xfrm>
            <a:off x="0" y="6115049"/>
            <a:ext cx="12191996" cy="742950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9" name="Google Shape;1225;p117">
            <a:extLst>
              <a:ext uri="{FF2B5EF4-FFF2-40B4-BE49-F238E27FC236}">
                <a16:creationId xmlns:a16="http://schemas.microsoft.com/office/drawing/2014/main" id="{257E0D93-A80B-A032-0606-4A378C8B658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3447397"/>
            <a:ext cx="8178613" cy="713314"/>
          </a:xfrm>
        </p:spPr>
        <p:txBody>
          <a:bodyPr/>
          <a:lstStyle>
            <a:lvl1pPr indent="-228600">
              <a:buNone/>
              <a:defRPr sz="3200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10" name="Google Shape;1226;p117">
            <a:extLst>
              <a:ext uri="{FF2B5EF4-FFF2-40B4-BE49-F238E27FC236}">
                <a16:creationId xmlns:a16="http://schemas.microsoft.com/office/drawing/2014/main" id="{81DD7B94-2F73-6778-5F9A-7AFBC274AC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2829830" y="4178332"/>
            <a:ext cx="4395959" cy="1140165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559761654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28;p118">
            <a:extLst>
              <a:ext uri="{FF2B5EF4-FFF2-40B4-BE49-F238E27FC236}">
                <a16:creationId xmlns:a16="http://schemas.microsoft.com/office/drawing/2014/main" id="{05EFBECE-2F73-FDC9-41A1-D355D15AA2E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48992" y="783841"/>
            <a:ext cx="10177756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229;p118">
            <a:extLst>
              <a:ext uri="{FF2B5EF4-FFF2-40B4-BE49-F238E27FC236}">
                <a16:creationId xmlns:a16="http://schemas.microsoft.com/office/drawing/2014/main" id="{BC9F52A4-B4F2-1EBF-86C7-40D0900CA22E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4" name="Google Shape;1230;p118">
            <a:extLst>
              <a:ext uri="{FF2B5EF4-FFF2-40B4-BE49-F238E27FC236}">
                <a16:creationId xmlns:a16="http://schemas.microsoft.com/office/drawing/2014/main" id="{16BC8CCC-D5BC-BCB1-7C8F-AF0F6EE1485D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5" name="Google Shape;1231;p118">
            <a:extLst>
              <a:ext uri="{FF2B5EF4-FFF2-40B4-BE49-F238E27FC236}">
                <a16:creationId xmlns:a16="http://schemas.microsoft.com/office/drawing/2014/main" id="{E8417A7F-64CA-2A5C-4F21-9E641FA1F89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48782" y="1615022"/>
            <a:ext cx="10176933" cy="3812115"/>
          </a:xfrm>
        </p:spPr>
        <p:txBody>
          <a:bodyPr/>
          <a:lstStyle>
            <a:lvl1pPr indent="-364040">
              <a:buSzPts val="2133"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6" name="Google Shape;1232;p118">
            <a:extLst>
              <a:ext uri="{FF2B5EF4-FFF2-40B4-BE49-F238E27FC236}">
                <a16:creationId xmlns:a16="http://schemas.microsoft.com/office/drawing/2014/main" id="{D30408D3-E155-1B9B-2487-FE7466E3F59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513605994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34;p119">
            <a:extLst>
              <a:ext uri="{FF2B5EF4-FFF2-40B4-BE49-F238E27FC236}">
                <a16:creationId xmlns:a16="http://schemas.microsoft.com/office/drawing/2014/main" id="{2233E566-6F65-7A45-9305-F5C99DC3E36F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3" name="Google Shape;1235;p119">
            <a:extLst>
              <a:ext uri="{FF2B5EF4-FFF2-40B4-BE49-F238E27FC236}">
                <a16:creationId xmlns:a16="http://schemas.microsoft.com/office/drawing/2014/main" id="{1B235F6D-BD39-BB6D-28E3-1281AD00300F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Google Shape;1236;p119">
            <a:extLst>
              <a:ext uri="{FF2B5EF4-FFF2-40B4-BE49-F238E27FC236}">
                <a16:creationId xmlns:a16="http://schemas.microsoft.com/office/drawing/2014/main" id="{85FA062F-5DB3-AB95-166F-C98856E9F714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5" name="Google Shape;1237;p119">
            <a:extLst>
              <a:ext uri="{FF2B5EF4-FFF2-40B4-BE49-F238E27FC236}">
                <a16:creationId xmlns:a16="http://schemas.microsoft.com/office/drawing/2014/main" id="{75A41002-65C8-1DD5-7048-666C827FED8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48992" y="806857"/>
            <a:ext cx="10156176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Google Shape;1238;p119">
            <a:extLst>
              <a:ext uri="{FF2B5EF4-FFF2-40B4-BE49-F238E27FC236}">
                <a16:creationId xmlns:a16="http://schemas.microsoft.com/office/drawing/2014/main" id="{0427A534-AAFD-5A72-50AE-783228B4BFB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48992" y="1637854"/>
            <a:ext cx="10156176" cy="4117159"/>
          </a:xfrm>
        </p:spPr>
        <p:txBody>
          <a:bodyPr/>
          <a:lstStyle>
            <a:lvl1pPr indent="-228600">
              <a:lnSpc>
                <a:spcPct val="90000"/>
              </a:lnSpc>
              <a:buNone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560343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40;p120">
            <a:extLst>
              <a:ext uri="{FF2B5EF4-FFF2-40B4-BE49-F238E27FC236}">
                <a16:creationId xmlns:a16="http://schemas.microsoft.com/office/drawing/2014/main" id="{5D59F840-6058-22FD-D55A-AF9E441BECDB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241;p120">
            <a:extLst>
              <a:ext uri="{FF2B5EF4-FFF2-40B4-BE49-F238E27FC236}">
                <a16:creationId xmlns:a16="http://schemas.microsoft.com/office/drawing/2014/main" id="{DDC15DDD-A90E-3E49-A848-3D843C195473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4" name="Google Shape;1242;p120">
            <a:extLst>
              <a:ext uri="{FF2B5EF4-FFF2-40B4-BE49-F238E27FC236}">
                <a16:creationId xmlns:a16="http://schemas.microsoft.com/office/drawing/2014/main" id="{E7042FCF-8C2A-22EE-FE9F-4BEBE5E58B2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186836" y="1294452"/>
            <a:ext cx="3983336" cy="3788084"/>
          </a:xfrm>
        </p:spPr>
        <p:txBody>
          <a:bodyPr/>
          <a:lstStyle>
            <a:lvl1pPr indent="-228600">
              <a:buNone/>
              <a:defRPr sz="1200" i="1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243;p120">
            <a:extLst>
              <a:ext uri="{FF2B5EF4-FFF2-40B4-BE49-F238E27FC236}">
                <a16:creationId xmlns:a16="http://schemas.microsoft.com/office/drawing/2014/main" id="{77F4D8C2-AFAF-DD0A-7E77-A9F840DD3B7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549393" y="1997122"/>
            <a:ext cx="5466557" cy="3085414"/>
          </a:xfrm>
        </p:spPr>
        <p:txBody>
          <a:bodyPr/>
          <a:lstStyle>
            <a:lvl1pPr indent="-228600">
              <a:lnSpc>
                <a:spcPct val="90000"/>
              </a:lnSpc>
              <a:buNone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Google Shape;1244;p120">
            <a:extLst>
              <a:ext uri="{FF2B5EF4-FFF2-40B4-BE49-F238E27FC236}">
                <a16:creationId xmlns:a16="http://schemas.microsoft.com/office/drawing/2014/main" id="{86B3C9DE-78FE-A9C3-10EA-8C0FFA339CC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49393" y="1154521"/>
            <a:ext cx="5466557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7" name="Google Shape;1245;p120">
            <a:extLst>
              <a:ext uri="{FF2B5EF4-FFF2-40B4-BE49-F238E27FC236}">
                <a16:creationId xmlns:a16="http://schemas.microsoft.com/office/drawing/2014/main" id="{19465776-D54F-04E0-7EB8-367C5A1514AD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9817148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73755082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_Yale Blu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47;p121">
            <a:extLst>
              <a:ext uri="{FF2B5EF4-FFF2-40B4-BE49-F238E27FC236}">
                <a16:creationId xmlns:a16="http://schemas.microsoft.com/office/drawing/2014/main" id="{425038C3-EB73-79E8-8E60-0E7AB33119F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5400857"/>
            <a:ext cx="8178613" cy="381643"/>
          </a:xfrm>
        </p:spPr>
        <p:txBody>
          <a:bodyPr>
            <a:spAutoFit/>
          </a:bodyPr>
          <a:lstStyle>
            <a:lvl1pPr indent="-228600" algn="r"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248;p121">
            <a:extLst>
              <a:ext uri="{FF2B5EF4-FFF2-40B4-BE49-F238E27FC236}">
                <a16:creationId xmlns:a16="http://schemas.microsoft.com/office/drawing/2014/main" id="{93D47D6C-72A3-C32C-DA0D-77529A6A9D7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826556" y="1807147"/>
            <a:ext cx="8178613" cy="1629460"/>
          </a:xfrm>
        </p:spPr>
        <p:txBody>
          <a:bodyPr anchor="b"/>
          <a:lstStyle>
            <a:lvl1pPr>
              <a:defRPr sz="5333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249;p121">
            <a:extLst>
              <a:ext uri="{FF2B5EF4-FFF2-40B4-BE49-F238E27FC236}">
                <a16:creationId xmlns:a16="http://schemas.microsoft.com/office/drawing/2014/main" id="{EAF641D5-289D-8673-D2E7-B918BC4D8218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1" tIns="45701" rIns="91421" bIns="45701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250;p121">
            <a:extLst>
              <a:ext uri="{FF2B5EF4-FFF2-40B4-BE49-F238E27FC236}">
                <a16:creationId xmlns:a16="http://schemas.microsoft.com/office/drawing/2014/main" id="{BD04533F-728A-4737-CE66-63F03B9D5CB3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Google Shape;1251;p121">
            <a:extLst>
              <a:ext uri="{FF2B5EF4-FFF2-40B4-BE49-F238E27FC236}">
                <a16:creationId xmlns:a16="http://schemas.microsoft.com/office/drawing/2014/main" id="{2A258A49-1E78-08A1-6FCF-57A9EA65EF1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A307197C-A7A6-4370-A639-DA87C76BDDCF}" type="slidenum">
              <a:t>‹#›</a:t>
            </a:fld>
            <a:endParaRPr lang="en-US"/>
          </a:p>
        </p:txBody>
      </p:sp>
      <p:sp>
        <p:nvSpPr>
          <p:cNvPr id="7" name="Google Shape;1252;p121">
            <a:extLst>
              <a:ext uri="{FF2B5EF4-FFF2-40B4-BE49-F238E27FC236}">
                <a16:creationId xmlns:a16="http://schemas.microsoft.com/office/drawing/2014/main" id="{FE70C6E7-174A-7035-2995-B66AB907192C}"/>
              </a:ext>
            </a:extLst>
          </p:cNvPr>
          <p:cNvSpPr/>
          <p:nvPr/>
        </p:nvSpPr>
        <p:spPr>
          <a:xfrm rot="10799991">
            <a:off x="-28" y="2000223"/>
            <a:ext cx="2785070" cy="2042851"/>
          </a:xfrm>
          <a:custGeom>
            <a:avLst/>
            <a:gdLst>
              <a:gd name="f0" fmla="val w"/>
              <a:gd name="f1" fmla="val h"/>
              <a:gd name="f2" fmla="val 0"/>
              <a:gd name="f3" fmla="val 10293751"/>
              <a:gd name="f4" fmla="val 1031873"/>
              <a:gd name="f5" fmla="val 3579068"/>
              <a:gd name="f6" fmla="val 1"/>
              <a:gd name="f7" fmla="val 1031872"/>
              <a:gd name="f8" fmla="*/ f0 1 10293751"/>
              <a:gd name="f9" fmla="*/ f1 1 1031873"/>
              <a:gd name="f10" fmla="+- f4 0 f2"/>
              <a:gd name="f11" fmla="+- f3 0 f2"/>
              <a:gd name="f12" fmla="*/ f11 1 10293751"/>
              <a:gd name="f13" fmla="*/ f10 1 1031873"/>
              <a:gd name="f14" fmla="*/ f2 1 f12"/>
              <a:gd name="f15" fmla="*/ f3 1 f12"/>
              <a:gd name="f16" fmla="*/ f2 1 f13"/>
              <a:gd name="f17" fmla="*/ f4 1 f13"/>
              <a:gd name="f18" fmla="*/ f14 f8 1"/>
              <a:gd name="f19" fmla="*/ f15 f8 1"/>
              <a:gd name="f20" fmla="*/ f17 f9 1"/>
              <a:gd name="f21" fmla="*/ f16 f9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8" t="f21" r="f19" b="f20"/>
            <a:pathLst>
              <a:path w="10293751" h="1031873">
                <a:moveTo>
                  <a:pt x="f5" y="f2"/>
                </a:moveTo>
                <a:lnTo>
                  <a:pt x="f3" y="f6"/>
                </a:lnTo>
                <a:lnTo>
                  <a:pt x="f3" y="f4"/>
                </a:lnTo>
                <a:lnTo>
                  <a:pt x="f2" y="f7"/>
                </a:lnTo>
                <a:lnTo>
                  <a:pt x="f5" y="f2"/>
                </a:lnTo>
                <a:close/>
              </a:path>
            </a:pathLst>
          </a:cu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8" name="Google Shape;1253;p121">
            <a:extLst>
              <a:ext uri="{FF2B5EF4-FFF2-40B4-BE49-F238E27FC236}">
                <a16:creationId xmlns:a16="http://schemas.microsoft.com/office/drawing/2014/main" id="{4CA07756-1197-6D6B-E86B-3EEEEB53D88A}"/>
              </a:ext>
            </a:extLst>
          </p:cNvPr>
          <p:cNvSpPr/>
          <p:nvPr/>
        </p:nvSpPr>
        <p:spPr>
          <a:xfrm>
            <a:off x="0" y="6115049"/>
            <a:ext cx="12191996" cy="742950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9" name="Google Shape;1254;p121">
            <a:extLst>
              <a:ext uri="{FF2B5EF4-FFF2-40B4-BE49-F238E27FC236}">
                <a16:creationId xmlns:a16="http://schemas.microsoft.com/office/drawing/2014/main" id="{2D625D32-0286-A6AB-C309-2D9A895F932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3447397"/>
            <a:ext cx="8178613" cy="713314"/>
          </a:xfrm>
        </p:spPr>
        <p:txBody>
          <a:bodyPr/>
          <a:lstStyle>
            <a:lvl1pPr indent="-228600">
              <a:buNone/>
              <a:defRPr sz="3200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10" name="Google Shape;1255;p121">
            <a:extLst>
              <a:ext uri="{FF2B5EF4-FFF2-40B4-BE49-F238E27FC236}">
                <a16:creationId xmlns:a16="http://schemas.microsoft.com/office/drawing/2014/main" id="{9D816600-0F93-AC7D-80C2-0E57BAA8001B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2829830" y="4178332"/>
            <a:ext cx="4395959" cy="1140165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83398386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57;p122">
            <a:extLst>
              <a:ext uri="{FF2B5EF4-FFF2-40B4-BE49-F238E27FC236}">
                <a16:creationId xmlns:a16="http://schemas.microsoft.com/office/drawing/2014/main" id="{1C53747F-EAA4-2A87-1686-274B626E4B3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48992" y="783841"/>
            <a:ext cx="10177756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258;p122">
            <a:extLst>
              <a:ext uri="{FF2B5EF4-FFF2-40B4-BE49-F238E27FC236}">
                <a16:creationId xmlns:a16="http://schemas.microsoft.com/office/drawing/2014/main" id="{DA2A242D-D162-2C6C-CC53-FFCF3B5A1FE7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4" name="Google Shape;1259;p122">
            <a:extLst>
              <a:ext uri="{FF2B5EF4-FFF2-40B4-BE49-F238E27FC236}">
                <a16:creationId xmlns:a16="http://schemas.microsoft.com/office/drawing/2014/main" id="{BFE0C15C-65CE-54D6-63F1-F845394DD38E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5" name="Google Shape;1260;p122">
            <a:extLst>
              <a:ext uri="{FF2B5EF4-FFF2-40B4-BE49-F238E27FC236}">
                <a16:creationId xmlns:a16="http://schemas.microsoft.com/office/drawing/2014/main" id="{AB83FA8B-5DDB-6672-16AF-2B18EF8C535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48782" y="1615022"/>
            <a:ext cx="10176933" cy="3812115"/>
          </a:xfrm>
        </p:spPr>
        <p:txBody>
          <a:bodyPr/>
          <a:lstStyle>
            <a:lvl1pPr indent="-364040">
              <a:buSzPts val="2133"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6" name="Google Shape;1261;p122">
            <a:extLst>
              <a:ext uri="{FF2B5EF4-FFF2-40B4-BE49-F238E27FC236}">
                <a16:creationId xmlns:a16="http://schemas.microsoft.com/office/drawing/2014/main" id="{5268A1CF-C04F-16FB-CC6F-3863CAB6321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975620538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63;p123">
            <a:extLst>
              <a:ext uri="{FF2B5EF4-FFF2-40B4-BE49-F238E27FC236}">
                <a16:creationId xmlns:a16="http://schemas.microsoft.com/office/drawing/2014/main" id="{B2C4721A-AC60-29BA-787F-F12C01854C89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3" name="Google Shape;1264;p123">
            <a:extLst>
              <a:ext uri="{FF2B5EF4-FFF2-40B4-BE49-F238E27FC236}">
                <a16:creationId xmlns:a16="http://schemas.microsoft.com/office/drawing/2014/main" id="{A8AC27EB-4116-AE29-E7FE-4C549D6BCC3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Google Shape;1265;p123">
            <a:extLst>
              <a:ext uri="{FF2B5EF4-FFF2-40B4-BE49-F238E27FC236}">
                <a16:creationId xmlns:a16="http://schemas.microsoft.com/office/drawing/2014/main" id="{8E96028A-843C-29F7-1674-EE76B40A9793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5" name="Google Shape;1266;p123">
            <a:extLst>
              <a:ext uri="{FF2B5EF4-FFF2-40B4-BE49-F238E27FC236}">
                <a16:creationId xmlns:a16="http://schemas.microsoft.com/office/drawing/2014/main" id="{813A0A3C-501D-B0AD-8D9C-14C2EA12CDE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48992" y="806857"/>
            <a:ext cx="10156176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Google Shape;1267;p123">
            <a:extLst>
              <a:ext uri="{FF2B5EF4-FFF2-40B4-BE49-F238E27FC236}">
                <a16:creationId xmlns:a16="http://schemas.microsoft.com/office/drawing/2014/main" id="{3D84E600-497C-7BF3-D305-50001B7C37D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48992" y="1637854"/>
            <a:ext cx="10156176" cy="4117159"/>
          </a:xfrm>
        </p:spPr>
        <p:txBody>
          <a:bodyPr/>
          <a:lstStyle>
            <a:lvl1pPr indent="-228600">
              <a:lnSpc>
                <a:spcPct val="90000"/>
              </a:lnSpc>
              <a:buNone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393452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Section | Picture and Copy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69;p124">
            <a:extLst>
              <a:ext uri="{FF2B5EF4-FFF2-40B4-BE49-F238E27FC236}">
                <a16:creationId xmlns:a16="http://schemas.microsoft.com/office/drawing/2014/main" id="{9AA4FB9E-B56C-DF70-D224-443C5728FD8C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270;p124">
            <a:extLst>
              <a:ext uri="{FF2B5EF4-FFF2-40B4-BE49-F238E27FC236}">
                <a16:creationId xmlns:a16="http://schemas.microsoft.com/office/drawing/2014/main" id="{D79D97E7-CADA-7F5F-179C-C84D46C05411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4" name="Google Shape;1271;p124">
            <a:extLst>
              <a:ext uri="{FF2B5EF4-FFF2-40B4-BE49-F238E27FC236}">
                <a16:creationId xmlns:a16="http://schemas.microsoft.com/office/drawing/2014/main" id="{AAFC28F9-D006-239B-F1E1-41026D8A5FA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186836" y="1294452"/>
            <a:ext cx="3983336" cy="3788084"/>
          </a:xfrm>
        </p:spPr>
        <p:txBody>
          <a:bodyPr/>
          <a:lstStyle>
            <a:lvl1pPr indent="-228600">
              <a:buNone/>
              <a:defRPr sz="1200" i="1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272;p124">
            <a:extLst>
              <a:ext uri="{FF2B5EF4-FFF2-40B4-BE49-F238E27FC236}">
                <a16:creationId xmlns:a16="http://schemas.microsoft.com/office/drawing/2014/main" id="{5B8C7638-DB50-FA81-82BC-BE359745913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549393" y="1997122"/>
            <a:ext cx="5466557" cy="3085414"/>
          </a:xfrm>
        </p:spPr>
        <p:txBody>
          <a:bodyPr/>
          <a:lstStyle>
            <a:lvl1pPr indent="-228600">
              <a:lnSpc>
                <a:spcPct val="90000"/>
              </a:lnSpc>
              <a:buNone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Google Shape;1273;p124">
            <a:extLst>
              <a:ext uri="{FF2B5EF4-FFF2-40B4-BE49-F238E27FC236}">
                <a16:creationId xmlns:a16="http://schemas.microsoft.com/office/drawing/2014/main" id="{A9D3F02D-C136-B9DA-7BBB-EBB8F4E42FA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49393" y="1154521"/>
            <a:ext cx="5466557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7" name="Google Shape;1274;p124">
            <a:extLst>
              <a:ext uri="{FF2B5EF4-FFF2-40B4-BE49-F238E27FC236}">
                <a16:creationId xmlns:a16="http://schemas.microsoft.com/office/drawing/2014/main" id="{A92BB5B1-D968-DA4E-D3EA-6C197A9F632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928732418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_Yale Blu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76;p125">
            <a:extLst>
              <a:ext uri="{FF2B5EF4-FFF2-40B4-BE49-F238E27FC236}">
                <a16:creationId xmlns:a16="http://schemas.microsoft.com/office/drawing/2014/main" id="{99D95B4B-D319-9B61-3CD8-2F226BE9FEC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5400857"/>
            <a:ext cx="8178613" cy="381643"/>
          </a:xfrm>
        </p:spPr>
        <p:txBody>
          <a:bodyPr>
            <a:spAutoFit/>
          </a:bodyPr>
          <a:lstStyle>
            <a:lvl1pPr indent="-228600" algn="r"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277;p125">
            <a:extLst>
              <a:ext uri="{FF2B5EF4-FFF2-40B4-BE49-F238E27FC236}">
                <a16:creationId xmlns:a16="http://schemas.microsoft.com/office/drawing/2014/main" id="{E55AD67E-D742-652D-F8FB-FD33A2CD8E1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826556" y="1807147"/>
            <a:ext cx="8178613" cy="1629460"/>
          </a:xfrm>
        </p:spPr>
        <p:txBody>
          <a:bodyPr anchor="b"/>
          <a:lstStyle>
            <a:lvl1pPr>
              <a:defRPr sz="5333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278;p125">
            <a:extLst>
              <a:ext uri="{FF2B5EF4-FFF2-40B4-BE49-F238E27FC236}">
                <a16:creationId xmlns:a16="http://schemas.microsoft.com/office/drawing/2014/main" id="{1E33CA01-4CBF-2716-6E9E-64B5120002B3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1" tIns="45701" rIns="91421" bIns="45701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279;p125">
            <a:extLst>
              <a:ext uri="{FF2B5EF4-FFF2-40B4-BE49-F238E27FC236}">
                <a16:creationId xmlns:a16="http://schemas.microsoft.com/office/drawing/2014/main" id="{09219FE7-E46E-17FE-DFD9-49EBDD494F11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Google Shape;1280;p125">
            <a:extLst>
              <a:ext uri="{FF2B5EF4-FFF2-40B4-BE49-F238E27FC236}">
                <a16:creationId xmlns:a16="http://schemas.microsoft.com/office/drawing/2014/main" id="{98B5DF51-1275-803F-7B83-301F1477D8A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7E2A047E-7742-4920-9555-777889B81AAE}" type="slidenum">
              <a:t>‹#›</a:t>
            </a:fld>
            <a:endParaRPr lang="en-US"/>
          </a:p>
        </p:txBody>
      </p:sp>
      <p:sp>
        <p:nvSpPr>
          <p:cNvPr id="7" name="Google Shape;1281;p125">
            <a:extLst>
              <a:ext uri="{FF2B5EF4-FFF2-40B4-BE49-F238E27FC236}">
                <a16:creationId xmlns:a16="http://schemas.microsoft.com/office/drawing/2014/main" id="{0A23D430-D0D0-B022-46F1-56422FD24C03}"/>
              </a:ext>
            </a:extLst>
          </p:cNvPr>
          <p:cNvSpPr/>
          <p:nvPr/>
        </p:nvSpPr>
        <p:spPr>
          <a:xfrm rot="10799991">
            <a:off x="-28" y="2000223"/>
            <a:ext cx="2785070" cy="2042851"/>
          </a:xfrm>
          <a:custGeom>
            <a:avLst/>
            <a:gdLst>
              <a:gd name="f0" fmla="val w"/>
              <a:gd name="f1" fmla="val h"/>
              <a:gd name="f2" fmla="val 0"/>
              <a:gd name="f3" fmla="val 10293751"/>
              <a:gd name="f4" fmla="val 1031873"/>
              <a:gd name="f5" fmla="val 3579068"/>
              <a:gd name="f6" fmla="val 1"/>
              <a:gd name="f7" fmla="val 1031872"/>
              <a:gd name="f8" fmla="*/ f0 1 10293751"/>
              <a:gd name="f9" fmla="*/ f1 1 1031873"/>
              <a:gd name="f10" fmla="+- f4 0 f2"/>
              <a:gd name="f11" fmla="+- f3 0 f2"/>
              <a:gd name="f12" fmla="*/ f11 1 10293751"/>
              <a:gd name="f13" fmla="*/ f10 1 1031873"/>
              <a:gd name="f14" fmla="*/ f2 1 f12"/>
              <a:gd name="f15" fmla="*/ f3 1 f12"/>
              <a:gd name="f16" fmla="*/ f2 1 f13"/>
              <a:gd name="f17" fmla="*/ f4 1 f13"/>
              <a:gd name="f18" fmla="*/ f14 f8 1"/>
              <a:gd name="f19" fmla="*/ f15 f8 1"/>
              <a:gd name="f20" fmla="*/ f17 f9 1"/>
              <a:gd name="f21" fmla="*/ f16 f9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8" t="f21" r="f19" b="f20"/>
            <a:pathLst>
              <a:path w="10293751" h="1031873">
                <a:moveTo>
                  <a:pt x="f5" y="f2"/>
                </a:moveTo>
                <a:lnTo>
                  <a:pt x="f3" y="f6"/>
                </a:lnTo>
                <a:lnTo>
                  <a:pt x="f3" y="f4"/>
                </a:lnTo>
                <a:lnTo>
                  <a:pt x="f2" y="f7"/>
                </a:lnTo>
                <a:lnTo>
                  <a:pt x="f5" y="f2"/>
                </a:lnTo>
                <a:close/>
              </a:path>
            </a:pathLst>
          </a:cu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8" name="Google Shape;1282;p125">
            <a:extLst>
              <a:ext uri="{FF2B5EF4-FFF2-40B4-BE49-F238E27FC236}">
                <a16:creationId xmlns:a16="http://schemas.microsoft.com/office/drawing/2014/main" id="{18BC780A-1DD6-E581-C5FC-880C4EA94AA9}"/>
              </a:ext>
            </a:extLst>
          </p:cNvPr>
          <p:cNvSpPr/>
          <p:nvPr/>
        </p:nvSpPr>
        <p:spPr>
          <a:xfrm>
            <a:off x="0" y="6115049"/>
            <a:ext cx="12191996" cy="742950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9" name="Google Shape;1283;p125">
            <a:extLst>
              <a:ext uri="{FF2B5EF4-FFF2-40B4-BE49-F238E27FC236}">
                <a16:creationId xmlns:a16="http://schemas.microsoft.com/office/drawing/2014/main" id="{E3F7B185-659E-8964-2218-BB4BCF5A95E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3447397"/>
            <a:ext cx="8178613" cy="713314"/>
          </a:xfrm>
        </p:spPr>
        <p:txBody>
          <a:bodyPr/>
          <a:lstStyle>
            <a:lvl1pPr indent="-228600">
              <a:buNone/>
              <a:defRPr sz="3200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10" name="Google Shape;1284;p125">
            <a:extLst>
              <a:ext uri="{FF2B5EF4-FFF2-40B4-BE49-F238E27FC236}">
                <a16:creationId xmlns:a16="http://schemas.microsoft.com/office/drawing/2014/main" id="{F6284068-10BB-1588-B71B-6498D5124B8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2829830" y="4178332"/>
            <a:ext cx="4395959" cy="1140165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198869303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86;p126">
            <a:extLst>
              <a:ext uri="{FF2B5EF4-FFF2-40B4-BE49-F238E27FC236}">
                <a16:creationId xmlns:a16="http://schemas.microsoft.com/office/drawing/2014/main" id="{F81A69A3-BCB1-E3E7-5AC3-0634719D243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48992" y="783841"/>
            <a:ext cx="10177756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287;p126">
            <a:extLst>
              <a:ext uri="{FF2B5EF4-FFF2-40B4-BE49-F238E27FC236}">
                <a16:creationId xmlns:a16="http://schemas.microsoft.com/office/drawing/2014/main" id="{87C91728-E13A-D60B-0D45-134D96E972D2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4" name="Google Shape;1288;p126">
            <a:extLst>
              <a:ext uri="{FF2B5EF4-FFF2-40B4-BE49-F238E27FC236}">
                <a16:creationId xmlns:a16="http://schemas.microsoft.com/office/drawing/2014/main" id="{7319260C-526A-BA42-CEDB-273A68B6AA16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5" name="Google Shape;1289;p126">
            <a:extLst>
              <a:ext uri="{FF2B5EF4-FFF2-40B4-BE49-F238E27FC236}">
                <a16:creationId xmlns:a16="http://schemas.microsoft.com/office/drawing/2014/main" id="{A405A686-5E6F-41DA-B764-34A0C442765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48782" y="1615022"/>
            <a:ext cx="10176933" cy="3812115"/>
          </a:xfrm>
        </p:spPr>
        <p:txBody>
          <a:bodyPr/>
          <a:lstStyle>
            <a:lvl1pPr indent="-364040">
              <a:buSzPts val="2133"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6" name="Google Shape;1290;p126">
            <a:extLst>
              <a:ext uri="{FF2B5EF4-FFF2-40B4-BE49-F238E27FC236}">
                <a16:creationId xmlns:a16="http://schemas.microsoft.com/office/drawing/2014/main" id="{A4F8DE57-3243-4B8A-2163-87CDB8A1B47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428494858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92;p127">
            <a:extLst>
              <a:ext uri="{FF2B5EF4-FFF2-40B4-BE49-F238E27FC236}">
                <a16:creationId xmlns:a16="http://schemas.microsoft.com/office/drawing/2014/main" id="{8C1723F6-2CDC-C3AB-8E9D-7418740B27EA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3" name="Google Shape;1293;p127">
            <a:extLst>
              <a:ext uri="{FF2B5EF4-FFF2-40B4-BE49-F238E27FC236}">
                <a16:creationId xmlns:a16="http://schemas.microsoft.com/office/drawing/2014/main" id="{55117E47-8CD5-5BCC-8558-5480CB97B8A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Google Shape;1294;p127">
            <a:extLst>
              <a:ext uri="{FF2B5EF4-FFF2-40B4-BE49-F238E27FC236}">
                <a16:creationId xmlns:a16="http://schemas.microsoft.com/office/drawing/2014/main" id="{2C502024-3E95-DDA4-90FD-98EA2EE01965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5" name="Google Shape;1295;p127">
            <a:extLst>
              <a:ext uri="{FF2B5EF4-FFF2-40B4-BE49-F238E27FC236}">
                <a16:creationId xmlns:a16="http://schemas.microsoft.com/office/drawing/2014/main" id="{23C7108D-CCA1-4D76-E038-F8B365C5EFB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48992" y="806857"/>
            <a:ext cx="10156176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Google Shape;1296;p127">
            <a:extLst>
              <a:ext uri="{FF2B5EF4-FFF2-40B4-BE49-F238E27FC236}">
                <a16:creationId xmlns:a16="http://schemas.microsoft.com/office/drawing/2014/main" id="{CB45DA85-535F-9AA4-0591-C82D46E182B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48992" y="1637854"/>
            <a:ext cx="10156176" cy="4117159"/>
          </a:xfrm>
        </p:spPr>
        <p:txBody>
          <a:bodyPr/>
          <a:lstStyle>
            <a:lvl1pPr indent="-228600">
              <a:lnSpc>
                <a:spcPct val="90000"/>
              </a:lnSpc>
              <a:buNone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559267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Section | Picture and Copy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98;p128">
            <a:extLst>
              <a:ext uri="{FF2B5EF4-FFF2-40B4-BE49-F238E27FC236}">
                <a16:creationId xmlns:a16="http://schemas.microsoft.com/office/drawing/2014/main" id="{871902A4-E462-61DC-AB27-988AAE74C76A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299;p128">
            <a:extLst>
              <a:ext uri="{FF2B5EF4-FFF2-40B4-BE49-F238E27FC236}">
                <a16:creationId xmlns:a16="http://schemas.microsoft.com/office/drawing/2014/main" id="{8626F5D0-53BD-BEEA-FDEF-3965C7ECD531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4" name="Google Shape;1300;p128">
            <a:extLst>
              <a:ext uri="{FF2B5EF4-FFF2-40B4-BE49-F238E27FC236}">
                <a16:creationId xmlns:a16="http://schemas.microsoft.com/office/drawing/2014/main" id="{9FABBC42-BF14-FD1F-D5FC-C35C5A1F7A7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186836" y="1294452"/>
            <a:ext cx="3983336" cy="3788084"/>
          </a:xfrm>
        </p:spPr>
        <p:txBody>
          <a:bodyPr/>
          <a:lstStyle>
            <a:lvl1pPr indent="-228600">
              <a:buNone/>
              <a:defRPr sz="1200" i="1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301;p128">
            <a:extLst>
              <a:ext uri="{FF2B5EF4-FFF2-40B4-BE49-F238E27FC236}">
                <a16:creationId xmlns:a16="http://schemas.microsoft.com/office/drawing/2014/main" id="{3D33A29B-6082-8D9A-7EBB-6D2C5DA59BC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549393" y="1997122"/>
            <a:ext cx="5466557" cy="3085414"/>
          </a:xfrm>
        </p:spPr>
        <p:txBody>
          <a:bodyPr/>
          <a:lstStyle>
            <a:lvl1pPr indent="-228600">
              <a:lnSpc>
                <a:spcPct val="90000"/>
              </a:lnSpc>
              <a:buNone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Google Shape;1302;p128">
            <a:extLst>
              <a:ext uri="{FF2B5EF4-FFF2-40B4-BE49-F238E27FC236}">
                <a16:creationId xmlns:a16="http://schemas.microsoft.com/office/drawing/2014/main" id="{E78054B0-79A4-9956-0D53-38346D524B1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49393" y="1154521"/>
            <a:ext cx="5466557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7" name="Google Shape;1303;p128">
            <a:extLst>
              <a:ext uri="{FF2B5EF4-FFF2-40B4-BE49-F238E27FC236}">
                <a16:creationId xmlns:a16="http://schemas.microsoft.com/office/drawing/2014/main" id="{611502EA-A6F3-C73D-856A-1BA7EE9F670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460716818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_Yale Blu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305;p129">
            <a:extLst>
              <a:ext uri="{FF2B5EF4-FFF2-40B4-BE49-F238E27FC236}">
                <a16:creationId xmlns:a16="http://schemas.microsoft.com/office/drawing/2014/main" id="{50C19ECD-1123-E787-5B43-2105EDE448F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5400857"/>
            <a:ext cx="8178613" cy="381643"/>
          </a:xfrm>
        </p:spPr>
        <p:txBody>
          <a:bodyPr>
            <a:spAutoFit/>
          </a:bodyPr>
          <a:lstStyle>
            <a:lvl1pPr indent="-228600" algn="r"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306;p129">
            <a:extLst>
              <a:ext uri="{FF2B5EF4-FFF2-40B4-BE49-F238E27FC236}">
                <a16:creationId xmlns:a16="http://schemas.microsoft.com/office/drawing/2014/main" id="{325528FA-D12A-71CB-5391-DA59B9B80C7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826556" y="1807147"/>
            <a:ext cx="8178613" cy="1629460"/>
          </a:xfrm>
        </p:spPr>
        <p:txBody>
          <a:bodyPr anchor="b"/>
          <a:lstStyle>
            <a:lvl1pPr>
              <a:defRPr sz="5333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307;p129">
            <a:extLst>
              <a:ext uri="{FF2B5EF4-FFF2-40B4-BE49-F238E27FC236}">
                <a16:creationId xmlns:a16="http://schemas.microsoft.com/office/drawing/2014/main" id="{7AC29EAF-5356-A232-B20D-E8F22FDF45D7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1" tIns="45701" rIns="91421" bIns="45701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308;p129">
            <a:extLst>
              <a:ext uri="{FF2B5EF4-FFF2-40B4-BE49-F238E27FC236}">
                <a16:creationId xmlns:a16="http://schemas.microsoft.com/office/drawing/2014/main" id="{6AD0320B-924E-45E3-C970-8021BE2B24F7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Google Shape;1309;p129">
            <a:extLst>
              <a:ext uri="{FF2B5EF4-FFF2-40B4-BE49-F238E27FC236}">
                <a16:creationId xmlns:a16="http://schemas.microsoft.com/office/drawing/2014/main" id="{E6C9C2A4-8204-4908-B2EE-3E5AE2B9F62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F2681F79-9055-4117-9C9C-E9301A7D75E3}" type="slidenum">
              <a:t>‹#›</a:t>
            </a:fld>
            <a:endParaRPr lang="en-US"/>
          </a:p>
        </p:txBody>
      </p:sp>
      <p:sp>
        <p:nvSpPr>
          <p:cNvPr id="7" name="Google Shape;1310;p129">
            <a:extLst>
              <a:ext uri="{FF2B5EF4-FFF2-40B4-BE49-F238E27FC236}">
                <a16:creationId xmlns:a16="http://schemas.microsoft.com/office/drawing/2014/main" id="{78A04CB5-8EA6-7758-1D5F-108C45F44B0F}"/>
              </a:ext>
            </a:extLst>
          </p:cNvPr>
          <p:cNvSpPr/>
          <p:nvPr/>
        </p:nvSpPr>
        <p:spPr>
          <a:xfrm rot="10799991">
            <a:off x="-28" y="2000223"/>
            <a:ext cx="2785070" cy="2042851"/>
          </a:xfrm>
          <a:custGeom>
            <a:avLst/>
            <a:gdLst>
              <a:gd name="f0" fmla="val w"/>
              <a:gd name="f1" fmla="val h"/>
              <a:gd name="f2" fmla="val 0"/>
              <a:gd name="f3" fmla="val 10293751"/>
              <a:gd name="f4" fmla="val 1031873"/>
              <a:gd name="f5" fmla="val 3579068"/>
              <a:gd name="f6" fmla="val 1"/>
              <a:gd name="f7" fmla="val 1031872"/>
              <a:gd name="f8" fmla="*/ f0 1 10293751"/>
              <a:gd name="f9" fmla="*/ f1 1 1031873"/>
              <a:gd name="f10" fmla="+- f4 0 f2"/>
              <a:gd name="f11" fmla="+- f3 0 f2"/>
              <a:gd name="f12" fmla="*/ f11 1 10293751"/>
              <a:gd name="f13" fmla="*/ f10 1 1031873"/>
              <a:gd name="f14" fmla="*/ f2 1 f12"/>
              <a:gd name="f15" fmla="*/ f3 1 f12"/>
              <a:gd name="f16" fmla="*/ f2 1 f13"/>
              <a:gd name="f17" fmla="*/ f4 1 f13"/>
              <a:gd name="f18" fmla="*/ f14 f8 1"/>
              <a:gd name="f19" fmla="*/ f15 f8 1"/>
              <a:gd name="f20" fmla="*/ f17 f9 1"/>
              <a:gd name="f21" fmla="*/ f16 f9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8" t="f21" r="f19" b="f20"/>
            <a:pathLst>
              <a:path w="10293751" h="1031873">
                <a:moveTo>
                  <a:pt x="f5" y="f2"/>
                </a:moveTo>
                <a:lnTo>
                  <a:pt x="f3" y="f6"/>
                </a:lnTo>
                <a:lnTo>
                  <a:pt x="f3" y="f4"/>
                </a:lnTo>
                <a:lnTo>
                  <a:pt x="f2" y="f7"/>
                </a:lnTo>
                <a:lnTo>
                  <a:pt x="f5" y="f2"/>
                </a:lnTo>
                <a:close/>
              </a:path>
            </a:pathLst>
          </a:cu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8" name="Google Shape;1311;p129">
            <a:extLst>
              <a:ext uri="{FF2B5EF4-FFF2-40B4-BE49-F238E27FC236}">
                <a16:creationId xmlns:a16="http://schemas.microsoft.com/office/drawing/2014/main" id="{41D69A1E-EA41-71DC-450F-5779B50647A8}"/>
              </a:ext>
            </a:extLst>
          </p:cNvPr>
          <p:cNvSpPr/>
          <p:nvPr/>
        </p:nvSpPr>
        <p:spPr>
          <a:xfrm>
            <a:off x="0" y="6115049"/>
            <a:ext cx="12191996" cy="742950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9" name="Google Shape;1312;p129">
            <a:extLst>
              <a:ext uri="{FF2B5EF4-FFF2-40B4-BE49-F238E27FC236}">
                <a16:creationId xmlns:a16="http://schemas.microsoft.com/office/drawing/2014/main" id="{29FD67FA-7AC2-514D-2E4F-B388E596CF7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3447397"/>
            <a:ext cx="8178613" cy="713314"/>
          </a:xfrm>
        </p:spPr>
        <p:txBody>
          <a:bodyPr/>
          <a:lstStyle>
            <a:lvl1pPr indent="-228600">
              <a:buNone/>
              <a:defRPr sz="3200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10" name="Google Shape;1313;p129">
            <a:extLst>
              <a:ext uri="{FF2B5EF4-FFF2-40B4-BE49-F238E27FC236}">
                <a16:creationId xmlns:a16="http://schemas.microsoft.com/office/drawing/2014/main" id="{6EDD7092-512E-09C9-0554-D94DB50FB03F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2829830" y="4178332"/>
            <a:ext cx="4395959" cy="1140165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687368022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_Yale Blu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315;p130">
            <a:extLst>
              <a:ext uri="{FF2B5EF4-FFF2-40B4-BE49-F238E27FC236}">
                <a16:creationId xmlns:a16="http://schemas.microsoft.com/office/drawing/2014/main" id="{14F9E512-93E7-4782-052A-46834692623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5400857"/>
            <a:ext cx="8178613" cy="381643"/>
          </a:xfrm>
        </p:spPr>
        <p:txBody>
          <a:bodyPr>
            <a:spAutoFit/>
          </a:bodyPr>
          <a:lstStyle>
            <a:lvl1pPr indent="-228600" algn="r"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316;p130">
            <a:extLst>
              <a:ext uri="{FF2B5EF4-FFF2-40B4-BE49-F238E27FC236}">
                <a16:creationId xmlns:a16="http://schemas.microsoft.com/office/drawing/2014/main" id="{AF7C8F99-9052-588D-A379-BBCB57831FD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826556" y="1807147"/>
            <a:ext cx="8178613" cy="1629460"/>
          </a:xfrm>
        </p:spPr>
        <p:txBody>
          <a:bodyPr anchor="b"/>
          <a:lstStyle>
            <a:lvl1pPr>
              <a:defRPr sz="5333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317;p130">
            <a:extLst>
              <a:ext uri="{FF2B5EF4-FFF2-40B4-BE49-F238E27FC236}">
                <a16:creationId xmlns:a16="http://schemas.microsoft.com/office/drawing/2014/main" id="{943B1AF8-ABB9-E5AF-7A58-33ABBFE4D549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1" tIns="45701" rIns="91421" bIns="45701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318;p130">
            <a:extLst>
              <a:ext uri="{FF2B5EF4-FFF2-40B4-BE49-F238E27FC236}">
                <a16:creationId xmlns:a16="http://schemas.microsoft.com/office/drawing/2014/main" id="{E30B49C8-FBF8-8295-F02E-F63A5B8CA141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Google Shape;1319;p130">
            <a:extLst>
              <a:ext uri="{FF2B5EF4-FFF2-40B4-BE49-F238E27FC236}">
                <a16:creationId xmlns:a16="http://schemas.microsoft.com/office/drawing/2014/main" id="{3351E88F-A811-5370-4493-E969E2727C5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838B848E-2F8D-40DC-A1C8-08F53E5BC437}" type="slidenum">
              <a:t>‹#›</a:t>
            </a:fld>
            <a:endParaRPr lang="en-US"/>
          </a:p>
        </p:txBody>
      </p:sp>
      <p:sp>
        <p:nvSpPr>
          <p:cNvPr id="7" name="Google Shape;1320;p130">
            <a:extLst>
              <a:ext uri="{FF2B5EF4-FFF2-40B4-BE49-F238E27FC236}">
                <a16:creationId xmlns:a16="http://schemas.microsoft.com/office/drawing/2014/main" id="{70DD1975-8586-862F-7981-B1B2B5F44440}"/>
              </a:ext>
            </a:extLst>
          </p:cNvPr>
          <p:cNvSpPr/>
          <p:nvPr/>
        </p:nvSpPr>
        <p:spPr>
          <a:xfrm rot="10799991">
            <a:off x="-28" y="2000223"/>
            <a:ext cx="2785070" cy="2042851"/>
          </a:xfrm>
          <a:custGeom>
            <a:avLst/>
            <a:gdLst>
              <a:gd name="f0" fmla="val w"/>
              <a:gd name="f1" fmla="val h"/>
              <a:gd name="f2" fmla="val 0"/>
              <a:gd name="f3" fmla="val 10293751"/>
              <a:gd name="f4" fmla="val 1031873"/>
              <a:gd name="f5" fmla="val 3579068"/>
              <a:gd name="f6" fmla="val 1"/>
              <a:gd name="f7" fmla="val 1031872"/>
              <a:gd name="f8" fmla="*/ f0 1 10293751"/>
              <a:gd name="f9" fmla="*/ f1 1 1031873"/>
              <a:gd name="f10" fmla="+- f4 0 f2"/>
              <a:gd name="f11" fmla="+- f3 0 f2"/>
              <a:gd name="f12" fmla="*/ f11 1 10293751"/>
              <a:gd name="f13" fmla="*/ f10 1 1031873"/>
              <a:gd name="f14" fmla="*/ f2 1 f12"/>
              <a:gd name="f15" fmla="*/ f3 1 f12"/>
              <a:gd name="f16" fmla="*/ f2 1 f13"/>
              <a:gd name="f17" fmla="*/ f4 1 f13"/>
              <a:gd name="f18" fmla="*/ f14 f8 1"/>
              <a:gd name="f19" fmla="*/ f15 f8 1"/>
              <a:gd name="f20" fmla="*/ f17 f9 1"/>
              <a:gd name="f21" fmla="*/ f16 f9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8" t="f21" r="f19" b="f20"/>
            <a:pathLst>
              <a:path w="10293751" h="1031873">
                <a:moveTo>
                  <a:pt x="f5" y="f2"/>
                </a:moveTo>
                <a:lnTo>
                  <a:pt x="f3" y="f6"/>
                </a:lnTo>
                <a:lnTo>
                  <a:pt x="f3" y="f4"/>
                </a:lnTo>
                <a:lnTo>
                  <a:pt x="f2" y="f7"/>
                </a:lnTo>
                <a:lnTo>
                  <a:pt x="f5" y="f2"/>
                </a:lnTo>
                <a:close/>
              </a:path>
            </a:pathLst>
          </a:cu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8" name="Google Shape;1321;p130">
            <a:extLst>
              <a:ext uri="{FF2B5EF4-FFF2-40B4-BE49-F238E27FC236}">
                <a16:creationId xmlns:a16="http://schemas.microsoft.com/office/drawing/2014/main" id="{5430D365-7A4E-8CF3-3A0B-F3AAE91F275E}"/>
              </a:ext>
            </a:extLst>
          </p:cNvPr>
          <p:cNvSpPr/>
          <p:nvPr/>
        </p:nvSpPr>
        <p:spPr>
          <a:xfrm>
            <a:off x="0" y="6115049"/>
            <a:ext cx="12191996" cy="742950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9" name="Google Shape;1322;p130">
            <a:extLst>
              <a:ext uri="{FF2B5EF4-FFF2-40B4-BE49-F238E27FC236}">
                <a16:creationId xmlns:a16="http://schemas.microsoft.com/office/drawing/2014/main" id="{60F50F31-C319-12FB-36B4-CC770144D55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3447397"/>
            <a:ext cx="8178613" cy="713314"/>
          </a:xfrm>
        </p:spPr>
        <p:txBody>
          <a:bodyPr/>
          <a:lstStyle>
            <a:lvl1pPr indent="-228600">
              <a:buNone/>
              <a:defRPr sz="3200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10" name="Google Shape;1323;p130">
            <a:extLst>
              <a:ext uri="{FF2B5EF4-FFF2-40B4-BE49-F238E27FC236}">
                <a16:creationId xmlns:a16="http://schemas.microsoft.com/office/drawing/2014/main" id="{EB608022-4E66-B927-2AE0-8B1B16FB307D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2829830" y="4178332"/>
            <a:ext cx="4395959" cy="1140165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5859145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94220701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325;p131">
            <a:extLst>
              <a:ext uri="{FF2B5EF4-FFF2-40B4-BE49-F238E27FC236}">
                <a16:creationId xmlns:a16="http://schemas.microsoft.com/office/drawing/2014/main" id="{25273428-E96B-EC7A-FAEC-2BB7E73F921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48992" y="783841"/>
            <a:ext cx="10177756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326;p131">
            <a:extLst>
              <a:ext uri="{FF2B5EF4-FFF2-40B4-BE49-F238E27FC236}">
                <a16:creationId xmlns:a16="http://schemas.microsoft.com/office/drawing/2014/main" id="{71F3D6A6-3F94-9476-270E-66AE2D786487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4" name="Google Shape;1327;p131">
            <a:extLst>
              <a:ext uri="{FF2B5EF4-FFF2-40B4-BE49-F238E27FC236}">
                <a16:creationId xmlns:a16="http://schemas.microsoft.com/office/drawing/2014/main" id="{2C8C3D3D-2D83-E9C9-AD40-EFCEBCADF074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5" name="Google Shape;1328;p131">
            <a:extLst>
              <a:ext uri="{FF2B5EF4-FFF2-40B4-BE49-F238E27FC236}">
                <a16:creationId xmlns:a16="http://schemas.microsoft.com/office/drawing/2014/main" id="{6D6A161E-391D-05E4-B08B-EC3D0F8A01C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48782" y="1615022"/>
            <a:ext cx="10176933" cy="3812115"/>
          </a:xfrm>
        </p:spPr>
        <p:txBody>
          <a:bodyPr/>
          <a:lstStyle>
            <a:lvl1pPr indent="-364040">
              <a:buSzPts val="2133"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6" name="Google Shape;1329;p131">
            <a:extLst>
              <a:ext uri="{FF2B5EF4-FFF2-40B4-BE49-F238E27FC236}">
                <a16:creationId xmlns:a16="http://schemas.microsoft.com/office/drawing/2014/main" id="{8945C60D-F384-1CBD-EC00-FF6A38196BED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876289845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331;p132">
            <a:extLst>
              <a:ext uri="{FF2B5EF4-FFF2-40B4-BE49-F238E27FC236}">
                <a16:creationId xmlns:a16="http://schemas.microsoft.com/office/drawing/2014/main" id="{CFB42FE7-A6B2-E075-7B16-27EF696B403F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3" name="Google Shape;1332;p132">
            <a:extLst>
              <a:ext uri="{FF2B5EF4-FFF2-40B4-BE49-F238E27FC236}">
                <a16:creationId xmlns:a16="http://schemas.microsoft.com/office/drawing/2014/main" id="{B03F3634-1B97-FBA2-E1D1-7FD061760C9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Google Shape;1333;p132">
            <a:extLst>
              <a:ext uri="{FF2B5EF4-FFF2-40B4-BE49-F238E27FC236}">
                <a16:creationId xmlns:a16="http://schemas.microsoft.com/office/drawing/2014/main" id="{D2BC6B23-6F32-CE99-D5BC-01459FFF5E1A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5" name="Google Shape;1334;p132">
            <a:extLst>
              <a:ext uri="{FF2B5EF4-FFF2-40B4-BE49-F238E27FC236}">
                <a16:creationId xmlns:a16="http://schemas.microsoft.com/office/drawing/2014/main" id="{4065BBCE-ED7A-3720-49FF-2990F0B7D6B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48992" y="806857"/>
            <a:ext cx="10156176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Google Shape;1335;p132">
            <a:extLst>
              <a:ext uri="{FF2B5EF4-FFF2-40B4-BE49-F238E27FC236}">
                <a16:creationId xmlns:a16="http://schemas.microsoft.com/office/drawing/2014/main" id="{64C534B9-AE0D-E1CA-CCB6-41C6735CADC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48992" y="1637854"/>
            <a:ext cx="10156176" cy="4117159"/>
          </a:xfrm>
        </p:spPr>
        <p:txBody>
          <a:bodyPr/>
          <a:lstStyle>
            <a:lvl1pPr indent="-228600">
              <a:lnSpc>
                <a:spcPct val="90000"/>
              </a:lnSpc>
              <a:buNone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121535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Section | Picture and Copy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337;p133">
            <a:extLst>
              <a:ext uri="{FF2B5EF4-FFF2-40B4-BE49-F238E27FC236}">
                <a16:creationId xmlns:a16="http://schemas.microsoft.com/office/drawing/2014/main" id="{1CE90D0D-9998-CE76-1585-A6804D15DB7B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338;p133">
            <a:extLst>
              <a:ext uri="{FF2B5EF4-FFF2-40B4-BE49-F238E27FC236}">
                <a16:creationId xmlns:a16="http://schemas.microsoft.com/office/drawing/2014/main" id="{8204FAD8-0096-B92E-4D1B-202D6CAD8604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4" name="Google Shape;1339;p133">
            <a:extLst>
              <a:ext uri="{FF2B5EF4-FFF2-40B4-BE49-F238E27FC236}">
                <a16:creationId xmlns:a16="http://schemas.microsoft.com/office/drawing/2014/main" id="{6C6E42A4-FC09-6567-4E81-04B4964F629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186836" y="1294452"/>
            <a:ext cx="3983336" cy="3788084"/>
          </a:xfrm>
        </p:spPr>
        <p:txBody>
          <a:bodyPr/>
          <a:lstStyle>
            <a:lvl1pPr indent="-228600">
              <a:buNone/>
              <a:defRPr sz="1200" i="1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340;p133">
            <a:extLst>
              <a:ext uri="{FF2B5EF4-FFF2-40B4-BE49-F238E27FC236}">
                <a16:creationId xmlns:a16="http://schemas.microsoft.com/office/drawing/2014/main" id="{BF544F96-67C1-FED9-F12A-CDDC2AA5845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549393" y="1997122"/>
            <a:ext cx="5466557" cy="3085414"/>
          </a:xfrm>
        </p:spPr>
        <p:txBody>
          <a:bodyPr/>
          <a:lstStyle>
            <a:lvl1pPr indent="-228600">
              <a:lnSpc>
                <a:spcPct val="90000"/>
              </a:lnSpc>
              <a:buNone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Google Shape;1341;p133">
            <a:extLst>
              <a:ext uri="{FF2B5EF4-FFF2-40B4-BE49-F238E27FC236}">
                <a16:creationId xmlns:a16="http://schemas.microsoft.com/office/drawing/2014/main" id="{663A6CEC-CD9C-CF13-FC9B-BE52BA00A22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49393" y="1154521"/>
            <a:ext cx="5466557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7" name="Google Shape;1342;p133">
            <a:extLst>
              <a:ext uri="{FF2B5EF4-FFF2-40B4-BE49-F238E27FC236}">
                <a16:creationId xmlns:a16="http://schemas.microsoft.com/office/drawing/2014/main" id="{720D2667-A1CE-364A-A566-9BE2FCFD5E1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207269010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_Yale Blu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344;p134">
            <a:extLst>
              <a:ext uri="{FF2B5EF4-FFF2-40B4-BE49-F238E27FC236}">
                <a16:creationId xmlns:a16="http://schemas.microsoft.com/office/drawing/2014/main" id="{90F92ECF-5255-BAF5-6B93-2DF98F7D65B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5400857"/>
            <a:ext cx="8178613" cy="381643"/>
          </a:xfrm>
        </p:spPr>
        <p:txBody>
          <a:bodyPr>
            <a:spAutoFit/>
          </a:bodyPr>
          <a:lstStyle>
            <a:lvl1pPr indent="-228600" algn="r"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345;p134">
            <a:extLst>
              <a:ext uri="{FF2B5EF4-FFF2-40B4-BE49-F238E27FC236}">
                <a16:creationId xmlns:a16="http://schemas.microsoft.com/office/drawing/2014/main" id="{B6B386A1-9ECB-2986-3304-47538F6CF02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826556" y="1807147"/>
            <a:ext cx="8178613" cy="1629460"/>
          </a:xfrm>
        </p:spPr>
        <p:txBody>
          <a:bodyPr anchor="b"/>
          <a:lstStyle>
            <a:lvl1pPr>
              <a:defRPr sz="5333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346;p134">
            <a:extLst>
              <a:ext uri="{FF2B5EF4-FFF2-40B4-BE49-F238E27FC236}">
                <a16:creationId xmlns:a16="http://schemas.microsoft.com/office/drawing/2014/main" id="{F89C40C6-F02F-6035-6F5B-1F4B3CBE0B63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1" tIns="45701" rIns="91421" bIns="45701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347;p134">
            <a:extLst>
              <a:ext uri="{FF2B5EF4-FFF2-40B4-BE49-F238E27FC236}">
                <a16:creationId xmlns:a16="http://schemas.microsoft.com/office/drawing/2014/main" id="{F48ACCD1-ECBC-DD20-4935-9E00EBF0BA68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Google Shape;1348;p134">
            <a:extLst>
              <a:ext uri="{FF2B5EF4-FFF2-40B4-BE49-F238E27FC236}">
                <a16:creationId xmlns:a16="http://schemas.microsoft.com/office/drawing/2014/main" id="{1C7E3EA1-424E-5406-7D2D-F2AA735B7C34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99EB918A-D05F-472E-83C9-B88C2D62B9F6}" type="slidenum">
              <a:t>‹#›</a:t>
            </a:fld>
            <a:endParaRPr lang="en-US"/>
          </a:p>
        </p:txBody>
      </p:sp>
      <p:sp>
        <p:nvSpPr>
          <p:cNvPr id="7" name="Google Shape;1349;p134">
            <a:extLst>
              <a:ext uri="{FF2B5EF4-FFF2-40B4-BE49-F238E27FC236}">
                <a16:creationId xmlns:a16="http://schemas.microsoft.com/office/drawing/2014/main" id="{0440421F-59EB-96F8-5986-F82FECF89E68}"/>
              </a:ext>
            </a:extLst>
          </p:cNvPr>
          <p:cNvSpPr/>
          <p:nvPr/>
        </p:nvSpPr>
        <p:spPr>
          <a:xfrm rot="10799991">
            <a:off x="-28" y="2000223"/>
            <a:ext cx="2785070" cy="2042851"/>
          </a:xfrm>
          <a:custGeom>
            <a:avLst/>
            <a:gdLst>
              <a:gd name="f0" fmla="val w"/>
              <a:gd name="f1" fmla="val h"/>
              <a:gd name="f2" fmla="val 0"/>
              <a:gd name="f3" fmla="val 10293751"/>
              <a:gd name="f4" fmla="val 1031873"/>
              <a:gd name="f5" fmla="val 3579068"/>
              <a:gd name="f6" fmla="val 1"/>
              <a:gd name="f7" fmla="val 1031872"/>
              <a:gd name="f8" fmla="*/ f0 1 10293751"/>
              <a:gd name="f9" fmla="*/ f1 1 1031873"/>
              <a:gd name="f10" fmla="+- f4 0 f2"/>
              <a:gd name="f11" fmla="+- f3 0 f2"/>
              <a:gd name="f12" fmla="*/ f11 1 10293751"/>
              <a:gd name="f13" fmla="*/ f10 1 1031873"/>
              <a:gd name="f14" fmla="*/ f2 1 f12"/>
              <a:gd name="f15" fmla="*/ f3 1 f12"/>
              <a:gd name="f16" fmla="*/ f2 1 f13"/>
              <a:gd name="f17" fmla="*/ f4 1 f13"/>
              <a:gd name="f18" fmla="*/ f14 f8 1"/>
              <a:gd name="f19" fmla="*/ f15 f8 1"/>
              <a:gd name="f20" fmla="*/ f17 f9 1"/>
              <a:gd name="f21" fmla="*/ f16 f9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8" t="f21" r="f19" b="f20"/>
            <a:pathLst>
              <a:path w="10293751" h="1031873">
                <a:moveTo>
                  <a:pt x="f5" y="f2"/>
                </a:moveTo>
                <a:lnTo>
                  <a:pt x="f3" y="f6"/>
                </a:lnTo>
                <a:lnTo>
                  <a:pt x="f3" y="f4"/>
                </a:lnTo>
                <a:lnTo>
                  <a:pt x="f2" y="f7"/>
                </a:lnTo>
                <a:lnTo>
                  <a:pt x="f5" y="f2"/>
                </a:lnTo>
                <a:close/>
              </a:path>
            </a:pathLst>
          </a:cu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8" name="Google Shape;1350;p134">
            <a:extLst>
              <a:ext uri="{FF2B5EF4-FFF2-40B4-BE49-F238E27FC236}">
                <a16:creationId xmlns:a16="http://schemas.microsoft.com/office/drawing/2014/main" id="{D76E542F-F229-7668-0AE7-41A41C8DFAF4}"/>
              </a:ext>
            </a:extLst>
          </p:cNvPr>
          <p:cNvSpPr/>
          <p:nvPr/>
        </p:nvSpPr>
        <p:spPr>
          <a:xfrm>
            <a:off x="0" y="6115049"/>
            <a:ext cx="12191996" cy="742950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9" name="Google Shape;1351;p134">
            <a:extLst>
              <a:ext uri="{FF2B5EF4-FFF2-40B4-BE49-F238E27FC236}">
                <a16:creationId xmlns:a16="http://schemas.microsoft.com/office/drawing/2014/main" id="{44AF2CD2-A319-D8AE-7D1E-72438403EA1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3447397"/>
            <a:ext cx="8178613" cy="713314"/>
          </a:xfrm>
        </p:spPr>
        <p:txBody>
          <a:bodyPr/>
          <a:lstStyle>
            <a:lvl1pPr indent="-228600">
              <a:buNone/>
              <a:defRPr sz="3200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10" name="Google Shape;1352;p134">
            <a:extLst>
              <a:ext uri="{FF2B5EF4-FFF2-40B4-BE49-F238E27FC236}">
                <a16:creationId xmlns:a16="http://schemas.microsoft.com/office/drawing/2014/main" id="{BB6D9764-8655-13FC-860D-229497DA35A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2829830" y="4178332"/>
            <a:ext cx="4395959" cy="1140165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315361538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354;p135">
            <a:extLst>
              <a:ext uri="{FF2B5EF4-FFF2-40B4-BE49-F238E27FC236}">
                <a16:creationId xmlns:a16="http://schemas.microsoft.com/office/drawing/2014/main" id="{44EE163F-4E5E-3A31-9D86-458125DD01B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48992" y="783841"/>
            <a:ext cx="10177756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355;p135">
            <a:extLst>
              <a:ext uri="{FF2B5EF4-FFF2-40B4-BE49-F238E27FC236}">
                <a16:creationId xmlns:a16="http://schemas.microsoft.com/office/drawing/2014/main" id="{A5E18B9E-A5EE-6CB2-5691-1A69C1932D55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4" name="Google Shape;1356;p135">
            <a:extLst>
              <a:ext uri="{FF2B5EF4-FFF2-40B4-BE49-F238E27FC236}">
                <a16:creationId xmlns:a16="http://schemas.microsoft.com/office/drawing/2014/main" id="{0DA95D64-F634-9CE6-A76E-ACFCA0C574C2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5" name="Google Shape;1357;p135">
            <a:extLst>
              <a:ext uri="{FF2B5EF4-FFF2-40B4-BE49-F238E27FC236}">
                <a16:creationId xmlns:a16="http://schemas.microsoft.com/office/drawing/2014/main" id="{7F1B581B-B542-B8E8-EAD0-0F761030D49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48782" y="1615022"/>
            <a:ext cx="10176933" cy="3812115"/>
          </a:xfrm>
        </p:spPr>
        <p:txBody>
          <a:bodyPr/>
          <a:lstStyle>
            <a:lvl1pPr indent="-364040">
              <a:buSzPts val="2133"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6" name="Google Shape;1358;p135">
            <a:extLst>
              <a:ext uri="{FF2B5EF4-FFF2-40B4-BE49-F238E27FC236}">
                <a16:creationId xmlns:a16="http://schemas.microsoft.com/office/drawing/2014/main" id="{9369B0EA-B578-2E87-10FC-FE96F43101B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779729399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360;p136">
            <a:extLst>
              <a:ext uri="{FF2B5EF4-FFF2-40B4-BE49-F238E27FC236}">
                <a16:creationId xmlns:a16="http://schemas.microsoft.com/office/drawing/2014/main" id="{3B8F0C5A-505F-3E4E-18BF-4CF8403C0DD7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3" name="Google Shape;1361;p136">
            <a:extLst>
              <a:ext uri="{FF2B5EF4-FFF2-40B4-BE49-F238E27FC236}">
                <a16:creationId xmlns:a16="http://schemas.microsoft.com/office/drawing/2014/main" id="{B77B36C4-2C9B-86EE-2921-7E934984BA9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Google Shape;1362;p136">
            <a:extLst>
              <a:ext uri="{FF2B5EF4-FFF2-40B4-BE49-F238E27FC236}">
                <a16:creationId xmlns:a16="http://schemas.microsoft.com/office/drawing/2014/main" id="{5B6E3951-907E-9647-A6B1-E620F5B2C35E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5" name="Google Shape;1363;p136">
            <a:extLst>
              <a:ext uri="{FF2B5EF4-FFF2-40B4-BE49-F238E27FC236}">
                <a16:creationId xmlns:a16="http://schemas.microsoft.com/office/drawing/2014/main" id="{C55DB9FE-544B-B335-B910-CCF97F55D3F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48992" y="806857"/>
            <a:ext cx="10156176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Google Shape;1364;p136">
            <a:extLst>
              <a:ext uri="{FF2B5EF4-FFF2-40B4-BE49-F238E27FC236}">
                <a16:creationId xmlns:a16="http://schemas.microsoft.com/office/drawing/2014/main" id="{6BAB81C7-C98C-3497-98AA-6C90DC57FD4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48992" y="1637854"/>
            <a:ext cx="10156176" cy="4117159"/>
          </a:xfrm>
        </p:spPr>
        <p:txBody>
          <a:bodyPr/>
          <a:lstStyle>
            <a:lvl1pPr indent="-228600">
              <a:lnSpc>
                <a:spcPct val="90000"/>
              </a:lnSpc>
              <a:buNone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868655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Section | Picture and Copy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366;p137">
            <a:extLst>
              <a:ext uri="{FF2B5EF4-FFF2-40B4-BE49-F238E27FC236}">
                <a16:creationId xmlns:a16="http://schemas.microsoft.com/office/drawing/2014/main" id="{F80DC910-16B4-736C-D9E4-69A7363DF3BF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367;p137">
            <a:extLst>
              <a:ext uri="{FF2B5EF4-FFF2-40B4-BE49-F238E27FC236}">
                <a16:creationId xmlns:a16="http://schemas.microsoft.com/office/drawing/2014/main" id="{71AD48EE-14D7-9995-B811-C6B7E057842E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4" name="Google Shape;1368;p137">
            <a:extLst>
              <a:ext uri="{FF2B5EF4-FFF2-40B4-BE49-F238E27FC236}">
                <a16:creationId xmlns:a16="http://schemas.microsoft.com/office/drawing/2014/main" id="{B1F0F614-0652-FD4D-86FE-BABEB9B097E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186836" y="1294452"/>
            <a:ext cx="3983336" cy="3788084"/>
          </a:xfrm>
        </p:spPr>
        <p:txBody>
          <a:bodyPr/>
          <a:lstStyle>
            <a:lvl1pPr indent="-228600">
              <a:buNone/>
              <a:defRPr sz="1200" i="1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369;p137">
            <a:extLst>
              <a:ext uri="{FF2B5EF4-FFF2-40B4-BE49-F238E27FC236}">
                <a16:creationId xmlns:a16="http://schemas.microsoft.com/office/drawing/2014/main" id="{A1F4CBDD-C577-6E1E-514D-ED1E50AC16D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549393" y="1997122"/>
            <a:ext cx="5466557" cy="3085414"/>
          </a:xfrm>
        </p:spPr>
        <p:txBody>
          <a:bodyPr/>
          <a:lstStyle>
            <a:lvl1pPr indent="-228600">
              <a:lnSpc>
                <a:spcPct val="90000"/>
              </a:lnSpc>
              <a:buNone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Google Shape;1370;p137">
            <a:extLst>
              <a:ext uri="{FF2B5EF4-FFF2-40B4-BE49-F238E27FC236}">
                <a16:creationId xmlns:a16="http://schemas.microsoft.com/office/drawing/2014/main" id="{E988E27D-2E8A-16D4-F529-470DC047E71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49393" y="1154521"/>
            <a:ext cx="5466557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7" name="Google Shape;1371;p137">
            <a:extLst>
              <a:ext uri="{FF2B5EF4-FFF2-40B4-BE49-F238E27FC236}">
                <a16:creationId xmlns:a16="http://schemas.microsoft.com/office/drawing/2014/main" id="{F360A714-CD61-21F9-D8E8-541024482D2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508315299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373;p138">
            <a:extLst>
              <a:ext uri="{FF2B5EF4-FFF2-40B4-BE49-F238E27FC236}">
                <a16:creationId xmlns:a16="http://schemas.microsoft.com/office/drawing/2014/main" id="{70902875-A97F-0508-130C-D061645D27D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48992" y="783841"/>
            <a:ext cx="10177756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374;p138">
            <a:extLst>
              <a:ext uri="{FF2B5EF4-FFF2-40B4-BE49-F238E27FC236}">
                <a16:creationId xmlns:a16="http://schemas.microsoft.com/office/drawing/2014/main" id="{356B2158-1ABF-9DBA-97D1-C4D4DA51F205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4" name="Google Shape;1375;p138">
            <a:extLst>
              <a:ext uri="{FF2B5EF4-FFF2-40B4-BE49-F238E27FC236}">
                <a16:creationId xmlns:a16="http://schemas.microsoft.com/office/drawing/2014/main" id="{C1FDDAE2-C48B-549D-D12B-66953F5A1F63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5" name="Google Shape;1376;p138">
            <a:extLst>
              <a:ext uri="{FF2B5EF4-FFF2-40B4-BE49-F238E27FC236}">
                <a16:creationId xmlns:a16="http://schemas.microsoft.com/office/drawing/2014/main" id="{06B61683-609E-D232-8FF2-E5B2E29E0C3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48782" y="1615022"/>
            <a:ext cx="10176933" cy="3812115"/>
          </a:xfrm>
        </p:spPr>
        <p:txBody>
          <a:bodyPr/>
          <a:lstStyle>
            <a:lvl1pPr indent="-364040">
              <a:buSzPts val="2133"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6" name="Google Shape;1377;p138">
            <a:extLst>
              <a:ext uri="{FF2B5EF4-FFF2-40B4-BE49-F238E27FC236}">
                <a16:creationId xmlns:a16="http://schemas.microsoft.com/office/drawing/2014/main" id="{DA29C15C-80CC-C2EF-0F68-EDDD3645A99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698672276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379;p139">
            <a:extLst>
              <a:ext uri="{FF2B5EF4-FFF2-40B4-BE49-F238E27FC236}">
                <a16:creationId xmlns:a16="http://schemas.microsoft.com/office/drawing/2014/main" id="{4C002438-6636-3DDC-46DD-8A33FD9310AC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3" name="Google Shape;1380;p139">
            <a:extLst>
              <a:ext uri="{FF2B5EF4-FFF2-40B4-BE49-F238E27FC236}">
                <a16:creationId xmlns:a16="http://schemas.microsoft.com/office/drawing/2014/main" id="{FD0ACB2C-D8E7-4630-E13A-565D2E992E5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Google Shape;1381;p139">
            <a:extLst>
              <a:ext uri="{FF2B5EF4-FFF2-40B4-BE49-F238E27FC236}">
                <a16:creationId xmlns:a16="http://schemas.microsoft.com/office/drawing/2014/main" id="{B3EF38A0-CDFE-76C7-693D-E52A227B4476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5" name="Google Shape;1382;p139">
            <a:extLst>
              <a:ext uri="{FF2B5EF4-FFF2-40B4-BE49-F238E27FC236}">
                <a16:creationId xmlns:a16="http://schemas.microsoft.com/office/drawing/2014/main" id="{EC052FB8-7733-4688-E20A-2A321EBC514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48992" y="806857"/>
            <a:ext cx="10156176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Google Shape;1383;p139">
            <a:extLst>
              <a:ext uri="{FF2B5EF4-FFF2-40B4-BE49-F238E27FC236}">
                <a16:creationId xmlns:a16="http://schemas.microsoft.com/office/drawing/2014/main" id="{300B1F11-DA86-6C07-9BEE-A35A9A4F184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48992" y="1637854"/>
            <a:ext cx="10156176" cy="4117159"/>
          </a:xfrm>
        </p:spPr>
        <p:txBody>
          <a:bodyPr/>
          <a:lstStyle>
            <a:lvl1pPr indent="-228600">
              <a:lnSpc>
                <a:spcPct val="90000"/>
              </a:lnSpc>
              <a:buNone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95156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Section | Picture and Copy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385;p140">
            <a:extLst>
              <a:ext uri="{FF2B5EF4-FFF2-40B4-BE49-F238E27FC236}">
                <a16:creationId xmlns:a16="http://schemas.microsoft.com/office/drawing/2014/main" id="{C7884AA3-6ED8-B5B2-AED3-DD968D0DECBB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386;p140">
            <a:extLst>
              <a:ext uri="{FF2B5EF4-FFF2-40B4-BE49-F238E27FC236}">
                <a16:creationId xmlns:a16="http://schemas.microsoft.com/office/drawing/2014/main" id="{08A0B39D-5124-738A-21C4-86DC13055222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4" name="Google Shape;1387;p140">
            <a:extLst>
              <a:ext uri="{FF2B5EF4-FFF2-40B4-BE49-F238E27FC236}">
                <a16:creationId xmlns:a16="http://schemas.microsoft.com/office/drawing/2014/main" id="{F3D9E171-FC71-2350-D1CD-952526FE40A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186836" y="1294452"/>
            <a:ext cx="3983336" cy="3788084"/>
          </a:xfrm>
        </p:spPr>
        <p:txBody>
          <a:bodyPr/>
          <a:lstStyle>
            <a:lvl1pPr indent="-228600">
              <a:buNone/>
              <a:defRPr sz="1200" i="1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388;p140">
            <a:extLst>
              <a:ext uri="{FF2B5EF4-FFF2-40B4-BE49-F238E27FC236}">
                <a16:creationId xmlns:a16="http://schemas.microsoft.com/office/drawing/2014/main" id="{1416CC83-D872-BAA3-74D3-54CED6D1A32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549393" y="1997122"/>
            <a:ext cx="5466557" cy="3085414"/>
          </a:xfrm>
        </p:spPr>
        <p:txBody>
          <a:bodyPr/>
          <a:lstStyle>
            <a:lvl1pPr indent="-228600">
              <a:lnSpc>
                <a:spcPct val="90000"/>
              </a:lnSpc>
              <a:buNone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Google Shape;1389;p140">
            <a:extLst>
              <a:ext uri="{FF2B5EF4-FFF2-40B4-BE49-F238E27FC236}">
                <a16:creationId xmlns:a16="http://schemas.microsoft.com/office/drawing/2014/main" id="{2AAE879A-841D-045E-95A4-3430A1DD6E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49393" y="1154521"/>
            <a:ext cx="5466557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7" name="Google Shape;1390;p140">
            <a:extLst>
              <a:ext uri="{FF2B5EF4-FFF2-40B4-BE49-F238E27FC236}">
                <a16:creationId xmlns:a16="http://schemas.microsoft.com/office/drawing/2014/main" id="{69EBDE9C-2030-0C41-9718-E373BE7A499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9571092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5454768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_Yale Blu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305;p129">
            <a:extLst>
              <a:ext uri="{FF2B5EF4-FFF2-40B4-BE49-F238E27FC236}">
                <a16:creationId xmlns:a16="http://schemas.microsoft.com/office/drawing/2014/main" id="{72B31AF5-E034-C872-573C-9549D440434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5400857"/>
            <a:ext cx="8178613" cy="381643"/>
          </a:xfrm>
        </p:spPr>
        <p:txBody>
          <a:bodyPr>
            <a:spAutoFit/>
          </a:bodyPr>
          <a:lstStyle>
            <a:lvl1pPr indent="-228600" algn="r"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306;p129">
            <a:extLst>
              <a:ext uri="{FF2B5EF4-FFF2-40B4-BE49-F238E27FC236}">
                <a16:creationId xmlns:a16="http://schemas.microsoft.com/office/drawing/2014/main" id="{AEBF1E31-5BCB-8DD7-6407-0E0B95AF559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826556" y="1807147"/>
            <a:ext cx="8178613" cy="1629460"/>
          </a:xfrm>
        </p:spPr>
        <p:txBody>
          <a:bodyPr anchor="b"/>
          <a:lstStyle>
            <a:lvl1pPr>
              <a:defRPr sz="5333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307;p129">
            <a:extLst>
              <a:ext uri="{FF2B5EF4-FFF2-40B4-BE49-F238E27FC236}">
                <a16:creationId xmlns:a16="http://schemas.microsoft.com/office/drawing/2014/main" id="{CE81A950-9042-36C4-C6A4-4F9DD07D0123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1" tIns="45701" rIns="91421" bIns="45701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308;p129">
            <a:extLst>
              <a:ext uri="{FF2B5EF4-FFF2-40B4-BE49-F238E27FC236}">
                <a16:creationId xmlns:a16="http://schemas.microsoft.com/office/drawing/2014/main" id="{C1E498C9-95A1-2926-6D26-CED524259AD4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Google Shape;1309;p129">
            <a:extLst>
              <a:ext uri="{FF2B5EF4-FFF2-40B4-BE49-F238E27FC236}">
                <a16:creationId xmlns:a16="http://schemas.microsoft.com/office/drawing/2014/main" id="{1517E54D-DF7F-4882-8002-788F33F3982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13639137-3830-4C42-9D7B-B53F41CA54D9}" type="slidenum">
              <a:t>‹#›</a:t>
            </a:fld>
            <a:endParaRPr lang="en-US"/>
          </a:p>
        </p:txBody>
      </p:sp>
      <p:sp>
        <p:nvSpPr>
          <p:cNvPr id="7" name="Google Shape;1310;p129">
            <a:extLst>
              <a:ext uri="{FF2B5EF4-FFF2-40B4-BE49-F238E27FC236}">
                <a16:creationId xmlns:a16="http://schemas.microsoft.com/office/drawing/2014/main" id="{BC44DE04-8EE6-5047-7687-7935715C08D6}"/>
              </a:ext>
            </a:extLst>
          </p:cNvPr>
          <p:cNvSpPr/>
          <p:nvPr/>
        </p:nvSpPr>
        <p:spPr>
          <a:xfrm rot="10799991">
            <a:off x="-28" y="2000223"/>
            <a:ext cx="2785070" cy="2042851"/>
          </a:xfrm>
          <a:custGeom>
            <a:avLst/>
            <a:gdLst>
              <a:gd name="f0" fmla="val w"/>
              <a:gd name="f1" fmla="val h"/>
              <a:gd name="f2" fmla="val 0"/>
              <a:gd name="f3" fmla="val 10293751"/>
              <a:gd name="f4" fmla="val 1031873"/>
              <a:gd name="f5" fmla="val 3579068"/>
              <a:gd name="f6" fmla="val 1"/>
              <a:gd name="f7" fmla="val 1031872"/>
              <a:gd name="f8" fmla="*/ f0 1 10293751"/>
              <a:gd name="f9" fmla="*/ f1 1 1031873"/>
              <a:gd name="f10" fmla="+- f4 0 f2"/>
              <a:gd name="f11" fmla="+- f3 0 f2"/>
              <a:gd name="f12" fmla="*/ f11 1 10293751"/>
              <a:gd name="f13" fmla="*/ f10 1 1031873"/>
              <a:gd name="f14" fmla="*/ f2 1 f12"/>
              <a:gd name="f15" fmla="*/ f3 1 f12"/>
              <a:gd name="f16" fmla="*/ f2 1 f13"/>
              <a:gd name="f17" fmla="*/ f4 1 f13"/>
              <a:gd name="f18" fmla="*/ f14 f8 1"/>
              <a:gd name="f19" fmla="*/ f15 f8 1"/>
              <a:gd name="f20" fmla="*/ f17 f9 1"/>
              <a:gd name="f21" fmla="*/ f16 f9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8" t="f21" r="f19" b="f20"/>
            <a:pathLst>
              <a:path w="10293751" h="1031873">
                <a:moveTo>
                  <a:pt x="f5" y="f2"/>
                </a:moveTo>
                <a:lnTo>
                  <a:pt x="f3" y="f6"/>
                </a:lnTo>
                <a:lnTo>
                  <a:pt x="f3" y="f4"/>
                </a:lnTo>
                <a:lnTo>
                  <a:pt x="f2" y="f7"/>
                </a:lnTo>
                <a:lnTo>
                  <a:pt x="f5" y="f2"/>
                </a:lnTo>
                <a:close/>
              </a:path>
            </a:pathLst>
          </a:cu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8" name="Google Shape;1311;p129">
            <a:extLst>
              <a:ext uri="{FF2B5EF4-FFF2-40B4-BE49-F238E27FC236}">
                <a16:creationId xmlns:a16="http://schemas.microsoft.com/office/drawing/2014/main" id="{6A8F45BF-4BA4-7EBB-AC5C-2A0F2A8D82F1}"/>
              </a:ext>
            </a:extLst>
          </p:cNvPr>
          <p:cNvSpPr/>
          <p:nvPr/>
        </p:nvSpPr>
        <p:spPr>
          <a:xfrm>
            <a:off x="0" y="6115049"/>
            <a:ext cx="12191996" cy="742950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9" name="Google Shape;1312;p129">
            <a:extLst>
              <a:ext uri="{FF2B5EF4-FFF2-40B4-BE49-F238E27FC236}">
                <a16:creationId xmlns:a16="http://schemas.microsoft.com/office/drawing/2014/main" id="{A16F87D7-E97C-7746-45FB-9390696E411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3447397"/>
            <a:ext cx="8178613" cy="713314"/>
          </a:xfrm>
        </p:spPr>
        <p:txBody>
          <a:bodyPr/>
          <a:lstStyle>
            <a:lvl1pPr indent="-228600">
              <a:buNone/>
              <a:defRPr sz="3200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10" name="Google Shape;1313;p129">
            <a:extLst>
              <a:ext uri="{FF2B5EF4-FFF2-40B4-BE49-F238E27FC236}">
                <a16:creationId xmlns:a16="http://schemas.microsoft.com/office/drawing/2014/main" id="{0EC6C155-3178-E37F-CB35-9942AD325BC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2829830" y="4178332"/>
            <a:ext cx="4395959" cy="1140165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798350514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_Yale Blu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315;p130">
            <a:extLst>
              <a:ext uri="{FF2B5EF4-FFF2-40B4-BE49-F238E27FC236}">
                <a16:creationId xmlns:a16="http://schemas.microsoft.com/office/drawing/2014/main" id="{F6C04EB5-8317-4BE9-52FC-7F2DD4BB5D8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5400857"/>
            <a:ext cx="8178613" cy="381643"/>
          </a:xfrm>
        </p:spPr>
        <p:txBody>
          <a:bodyPr>
            <a:spAutoFit/>
          </a:bodyPr>
          <a:lstStyle>
            <a:lvl1pPr indent="-228600" algn="r"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316;p130">
            <a:extLst>
              <a:ext uri="{FF2B5EF4-FFF2-40B4-BE49-F238E27FC236}">
                <a16:creationId xmlns:a16="http://schemas.microsoft.com/office/drawing/2014/main" id="{0799916D-47E5-7698-1FE0-20A7C4AC040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826556" y="1807147"/>
            <a:ext cx="8178613" cy="1629460"/>
          </a:xfrm>
        </p:spPr>
        <p:txBody>
          <a:bodyPr anchor="b"/>
          <a:lstStyle>
            <a:lvl1pPr>
              <a:defRPr sz="5333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317;p130">
            <a:extLst>
              <a:ext uri="{FF2B5EF4-FFF2-40B4-BE49-F238E27FC236}">
                <a16:creationId xmlns:a16="http://schemas.microsoft.com/office/drawing/2014/main" id="{2CFECB3E-0948-53B1-BB0F-2E70F4D52F2D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1" tIns="45701" rIns="91421" bIns="45701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318;p130">
            <a:extLst>
              <a:ext uri="{FF2B5EF4-FFF2-40B4-BE49-F238E27FC236}">
                <a16:creationId xmlns:a16="http://schemas.microsoft.com/office/drawing/2014/main" id="{8ADFA44F-4ABB-6733-02E4-4E3FF40A0E26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Google Shape;1319;p130">
            <a:extLst>
              <a:ext uri="{FF2B5EF4-FFF2-40B4-BE49-F238E27FC236}">
                <a16:creationId xmlns:a16="http://schemas.microsoft.com/office/drawing/2014/main" id="{2B89CEA0-E12D-8F4D-C606-26300DF2333C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C40F011D-FE68-443E-8B11-D1988FD34B5B}" type="slidenum">
              <a:t>‹#›</a:t>
            </a:fld>
            <a:endParaRPr lang="en-US"/>
          </a:p>
        </p:txBody>
      </p:sp>
      <p:sp>
        <p:nvSpPr>
          <p:cNvPr id="7" name="Google Shape;1320;p130">
            <a:extLst>
              <a:ext uri="{FF2B5EF4-FFF2-40B4-BE49-F238E27FC236}">
                <a16:creationId xmlns:a16="http://schemas.microsoft.com/office/drawing/2014/main" id="{85C9C9F3-D582-D035-413F-900D93BE595E}"/>
              </a:ext>
            </a:extLst>
          </p:cNvPr>
          <p:cNvSpPr/>
          <p:nvPr/>
        </p:nvSpPr>
        <p:spPr>
          <a:xfrm rot="10799991">
            <a:off x="-28" y="2000223"/>
            <a:ext cx="2785070" cy="2042851"/>
          </a:xfrm>
          <a:custGeom>
            <a:avLst/>
            <a:gdLst>
              <a:gd name="f0" fmla="val w"/>
              <a:gd name="f1" fmla="val h"/>
              <a:gd name="f2" fmla="val 0"/>
              <a:gd name="f3" fmla="val 10293751"/>
              <a:gd name="f4" fmla="val 1031873"/>
              <a:gd name="f5" fmla="val 3579068"/>
              <a:gd name="f6" fmla="val 1"/>
              <a:gd name="f7" fmla="val 1031872"/>
              <a:gd name="f8" fmla="*/ f0 1 10293751"/>
              <a:gd name="f9" fmla="*/ f1 1 1031873"/>
              <a:gd name="f10" fmla="+- f4 0 f2"/>
              <a:gd name="f11" fmla="+- f3 0 f2"/>
              <a:gd name="f12" fmla="*/ f11 1 10293751"/>
              <a:gd name="f13" fmla="*/ f10 1 1031873"/>
              <a:gd name="f14" fmla="*/ f2 1 f12"/>
              <a:gd name="f15" fmla="*/ f3 1 f12"/>
              <a:gd name="f16" fmla="*/ f2 1 f13"/>
              <a:gd name="f17" fmla="*/ f4 1 f13"/>
              <a:gd name="f18" fmla="*/ f14 f8 1"/>
              <a:gd name="f19" fmla="*/ f15 f8 1"/>
              <a:gd name="f20" fmla="*/ f17 f9 1"/>
              <a:gd name="f21" fmla="*/ f16 f9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8" t="f21" r="f19" b="f20"/>
            <a:pathLst>
              <a:path w="10293751" h="1031873">
                <a:moveTo>
                  <a:pt x="f5" y="f2"/>
                </a:moveTo>
                <a:lnTo>
                  <a:pt x="f3" y="f6"/>
                </a:lnTo>
                <a:lnTo>
                  <a:pt x="f3" y="f4"/>
                </a:lnTo>
                <a:lnTo>
                  <a:pt x="f2" y="f7"/>
                </a:lnTo>
                <a:lnTo>
                  <a:pt x="f5" y="f2"/>
                </a:lnTo>
                <a:close/>
              </a:path>
            </a:pathLst>
          </a:cu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8" name="Google Shape;1321;p130">
            <a:extLst>
              <a:ext uri="{FF2B5EF4-FFF2-40B4-BE49-F238E27FC236}">
                <a16:creationId xmlns:a16="http://schemas.microsoft.com/office/drawing/2014/main" id="{ABBD9B69-4E3F-5F89-5B4F-5A74EDD07E78}"/>
              </a:ext>
            </a:extLst>
          </p:cNvPr>
          <p:cNvSpPr/>
          <p:nvPr/>
        </p:nvSpPr>
        <p:spPr>
          <a:xfrm>
            <a:off x="0" y="6115049"/>
            <a:ext cx="12191996" cy="742950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9" name="Google Shape;1322;p130">
            <a:extLst>
              <a:ext uri="{FF2B5EF4-FFF2-40B4-BE49-F238E27FC236}">
                <a16:creationId xmlns:a16="http://schemas.microsoft.com/office/drawing/2014/main" id="{3C7D16F4-733C-64EA-E843-D3F9F3E1F62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3447397"/>
            <a:ext cx="8178613" cy="713314"/>
          </a:xfrm>
        </p:spPr>
        <p:txBody>
          <a:bodyPr/>
          <a:lstStyle>
            <a:lvl1pPr indent="-228600">
              <a:buNone/>
              <a:defRPr sz="3200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10" name="Google Shape;1323;p130">
            <a:extLst>
              <a:ext uri="{FF2B5EF4-FFF2-40B4-BE49-F238E27FC236}">
                <a16:creationId xmlns:a16="http://schemas.microsoft.com/office/drawing/2014/main" id="{B04C61EC-7498-CBA6-0028-3CE0968878C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2829830" y="4178332"/>
            <a:ext cx="4395959" cy="1140165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085094944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Bullets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325;p131">
            <a:extLst>
              <a:ext uri="{FF2B5EF4-FFF2-40B4-BE49-F238E27FC236}">
                <a16:creationId xmlns:a16="http://schemas.microsoft.com/office/drawing/2014/main" id="{CFFAE5DF-41C5-E637-C382-F3FF641D76C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48992" y="783841"/>
            <a:ext cx="10177756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326;p131">
            <a:extLst>
              <a:ext uri="{FF2B5EF4-FFF2-40B4-BE49-F238E27FC236}">
                <a16:creationId xmlns:a16="http://schemas.microsoft.com/office/drawing/2014/main" id="{F70FBE72-1EFC-18DC-EB57-E2A981F3A244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4" name="Google Shape;1327;p131">
            <a:extLst>
              <a:ext uri="{FF2B5EF4-FFF2-40B4-BE49-F238E27FC236}">
                <a16:creationId xmlns:a16="http://schemas.microsoft.com/office/drawing/2014/main" id="{FFC2AD10-1C84-F329-7D95-43E2D3D125CA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5" name="Google Shape;1328;p131">
            <a:extLst>
              <a:ext uri="{FF2B5EF4-FFF2-40B4-BE49-F238E27FC236}">
                <a16:creationId xmlns:a16="http://schemas.microsoft.com/office/drawing/2014/main" id="{FD8F60AF-7BED-BAB6-A7BF-D63FDE175CD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48782" y="1615022"/>
            <a:ext cx="10176933" cy="3812115"/>
          </a:xfrm>
        </p:spPr>
        <p:txBody>
          <a:bodyPr/>
          <a:lstStyle>
            <a:lvl1pPr indent="-364040">
              <a:buSzPts val="2133"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6" name="Google Shape;1329;p131">
            <a:extLst>
              <a:ext uri="{FF2B5EF4-FFF2-40B4-BE49-F238E27FC236}">
                <a16:creationId xmlns:a16="http://schemas.microsoft.com/office/drawing/2014/main" id="{4DDC600A-6048-D4D7-FEEA-C82935F23FF6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979942150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331;p132">
            <a:extLst>
              <a:ext uri="{FF2B5EF4-FFF2-40B4-BE49-F238E27FC236}">
                <a16:creationId xmlns:a16="http://schemas.microsoft.com/office/drawing/2014/main" id="{0BE03F3F-0C88-5C09-692A-C60BF35882B3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3" name="Google Shape;1332;p132">
            <a:extLst>
              <a:ext uri="{FF2B5EF4-FFF2-40B4-BE49-F238E27FC236}">
                <a16:creationId xmlns:a16="http://schemas.microsoft.com/office/drawing/2014/main" id="{D81DABC1-6366-6A10-9469-1E324AE915D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Google Shape;1333;p132">
            <a:extLst>
              <a:ext uri="{FF2B5EF4-FFF2-40B4-BE49-F238E27FC236}">
                <a16:creationId xmlns:a16="http://schemas.microsoft.com/office/drawing/2014/main" id="{0C0D3141-5024-437E-60FB-88DA3BC57EB3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5" name="Google Shape;1334;p132">
            <a:extLst>
              <a:ext uri="{FF2B5EF4-FFF2-40B4-BE49-F238E27FC236}">
                <a16:creationId xmlns:a16="http://schemas.microsoft.com/office/drawing/2014/main" id="{A30BBB6E-6975-A00F-99F0-6F8977E7E72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48992" y="806857"/>
            <a:ext cx="10156176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Google Shape;1335;p132">
            <a:extLst>
              <a:ext uri="{FF2B5EF4-FFF2-40B4-BE49-F238E27FC236}">
                <a16:creationId xmlns:a16="http://schemas.microsoft.com/office/drawing/2014/main" id="{1857F3CB-AD1E-BEFC-5095-0E3578E74DF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48992" y="1637854"/>
            <a:ext cx="10156176" cy="4117159"/>
          </a:xfrm>
        </p:spPr>
        <p:txBody>
          <a:bodyPr/>
          <a:lstStyle>
            <a:lvl1pPr indent="-228600">
              <a:lnSpc>
                <a:spcPct val="90000"/>
              </a:lnSpc>
              <a:buNone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487517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Section | Picture and Copy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337;p133">
            <a:extLst>
              <a:ext uri="{FF2B5EF4-FFF2-40B4-BE49-F238E27FC236}">
                <a16:creationId xmlns:a16="http://schemas.microsoft.com/office/drawing/2014/main" id="{D678618B-98F7-1D77-67C7-97FE4DBC014D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338;p133">
            <a:extLst>
              <a:ext uri="{FF2B5EF4-FFF2-40B4-BE49-F238E27FC236}">
                <a16:creationId xmlns:a16="http://schemas.microsoft.com/office/drawing/2014/main" id="{FFFFF08A-116D-8F49-6117-A275537F7A66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4" name="Google Shape;1339;p133">
            <a:extLst>
              <a:ext uri="{FF2B5EF4-FFF2-40B4-BE49-F238E27FC236}">
                <a16:creationId xmlns:a16="http://schemas.microsoft.com/office/drawing/2014/main" id="{5C9F6436-44D9-C5D1-11D2-E2B82BE9942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186836" y="1294452"/>
            <a:ext cx="3983336" cy="3788084"/>
          </a:xfrm>
        </p:spPr>
        <p:txBody>
          <a:bodyPr/>
          <a:lstStyle>
            <a:lvl1pPr indent="-228600">
              <a:buNone/>
              <a:defRPr sz="1200" i="1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340;p133">
            <a:extLst>
              <a:ext uri="{FF2B5EF4-FFF2-40B4-BE49-F238E27FC236}">
                <a16:creationId xmlns:a16="http://schemas.microsoft.com/office/drawing/2014/main" id="{251907AB-B04B-03EA-2918-9719CCA769A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549393" y="1997122"/>
            <a:ext cx="5466557" cy="3085414"/>
          </a:xfrm>
        </p:spPr>
        <p:txBody>
          <a:bodyPr/>
          <a:lstStyle>
            <a:lvl1pPr indent="-228600">
              <a:lnSpc>
                <a:spcPct val="90000"/>
              </a:lnSpc>
              <a:buNone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Google Shape;1341;p133">
            <a:extLst>
              <a:ext uri="{FF2B5EF4-FFF2-40B4-BE49-F238E27FC236}">
                <a16:creationId xmlns:a16="http://schemas.microsoft.com/office/drawing/2014/main" id="{A9ED1DCC-4037-7D6C-4C97-435063F99BD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49393" y="1154521"/>
            <a:ext cx="5466557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7" name="Google Shape;1342;p133">
            <a:extLst>
              <a:ext uri="{FF2B5EF4-FFF2-40B4-BE49-F238E27FC236}">
                <a16:creationId xmlns:a16="http://schemas.microsoft.com/office/drawing/2014/main" id="{A8D87EF8-A461-94DB-4C43-9F43FC48016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692571514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_Yale Blu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344;p134">
            <a:extLst>
              <a:ext uri="{FF2B5EF4-FFF2-40B4-BE49-F238E27FC236}">
                <a16:creationId xmlns:a16="http://schemas.microsoft.com/office/drawing/2014/main" id="{A3D241D0-80AF-5B6F-6FA5-45EF68272B9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5400857"/>
            <a:ext cx="8178613" cy="381643"/>
          </a:xfrm>
        </p:spPr>
        <p:txBody>
          <a:bodyPr>
            <a:spAutoFit/>
          </a:bodyPr>
          <a:lstStyle>
            <a:lvl1pPr indent="-228600" algn="r"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345;p134">
            <a:extLst>
              <a:ext uri="{FF2B5EF4-FFF2-40B4-BE49-F238E27FC236}">
                <a16:creationId xmlns:a16="http://schemas.microsoft.com/office/drawing/2014/main" id="{AF0A27BD-A848-53D6-71D0-2CB68C303E9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826556" y="1807147"/>
            <a:ext cx="8178613" cy="1629460"/>
          </a:xfrm>
        </p:spPr>
        <p:txBody>
          <a:bodyPr anchor="b"/>
          <a:lstStyle>
            <a:lvl1pPr>
              <a:defRPr sz="5333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346;p134">
            <a:extLst>
              <a:ext uri="{FF2B5EF4-FFF2-40B4-BE49-F238E27FC236}">
                <a16:creationId xmlns:a16="http://schemas.microsoft.com/office/drawing/2014/main" id="{B55C1FBE-3356-030A-16C1-9DE08228707E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1" tIns="45701" rIns="91421" bIns="45701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347;p134">
            <a:extLst>
              <a:ext uri="{FF2B5EF4-FFF2-40B4-BE49-F238E27FC236}">
                <a16:creationId xmlns:a16="http://schemas.microsoft.com/office/drawing/2014/main" id="{05152FFA-73CC-7D12-38CE-8233E995316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Google Shape;1348;p134">
            <a:extLst>
              <a:ext uri="{FF2B5EF4-FFF2-40B4-BE49-F238E27FC236}">
                <a16:creationId xmlns:a16="http://schemas.microsoft.com/office/drawing/2014/main" id="{F0A5063D-4E03-510B-1D73-E1F85A81AD57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199D20D3-4CB5-452B-9EBC-6FA301A3C155}" type="slidenum">
              <a:t>‹#›</a:t>
            </a:fld>
            <a:endParaRPr lang="en-US"/>
          </a:p>
        </p:txBody>
      </p:sp>
      <p:sp>
        <p:nvSpPr>
          <p:cNvPr id="7" name="Google Shape;1349;p134">
            <a:extLst>
              <a:ext uri="{FF2B5EF4-FFF2-40B4-BE49-F238E27FC236}">
                <a16:creationId xmlns:a16="http://schemas.microsoft.com/office/drawing/2014/main" id="{61A1DD95-1490-FF1D-5753-1B3F22816990}"/>
              </a:ext>
            </a:extLst>
          </p:cNvPr>
          <p:cNvSpPr/>
          <p:nvPr/>
        </p:nvSpPr>
        <p:spPr>
          <a:xfrm rot="10799991">
            <a:off x="-28" y="2000223"/>
            <a:ext cx="2785070" cy="2042851"/>
          </a:xfrm>
          <a:custGeom>
            <a:avLst/>
            <a:gdLst>
              <a:gd name="f0" fmla="val w"/>
              <a:gd name="f1" fmla="val h"/>
              <a:gd name="f2" fmla="val 0"/>
              <a:gd name="f3" fmla="val 10293751"/>
              <a:gd name="f4" fmla="val 1031873"/>
              <a:gd name="f5" fmla="val 3579068"/>
              <a:gd name="f6" fmla="val 1"/>
              <a:gd name="f7" fmla="val 1031872"/>
              <a:gd name="f8" fmla="*/ f0 1 10293751"/>
              <a:gd name="f9" fmla="*/ f1 1 1031873"/>
              <a:gd name="f10" fmla="+- f4 0 f2"/>
              <a:gd name="f11" fmla="+- f3 0 f2"/>
              <a:gd name="f12" fmla="*/ f11 1 10293751"/>
              <a:gd name="f13" fmla="*/ f10 1 1031873"/>
              <a:gd name="f14" fmla="*/ f2 1 f12"/>
              <a:gd name="f15" fmla="*/ f3 1 f12"/>
              <a:gd name="f16" fmla="*/ f2 1 f13"/>
              <a:gd name="f17" fmla="*/ f4 1 f13"/>
              <a:gd name="f18" fmla="*/ f14 f8 1"/>
              <a:gd name="f19" fmla="*/ f15 f8 1"/>
              <a:gd name="f20" fmla="*/ f17 f9 1"/>
              <a:gd name="f21" fmla="*/ f16 f9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8" t="f21" r="f19" b="f20"/>
            <a:pathLst>
              <a:path w="10293751" h="1031873">
                <a:moveTo>
                  <a:pt x="f5" y="f2"/>
                </a:moveTo>
                <a:lnTo>
                  <a:pt x="f3" y="f6"/>
                </a:lnTo>
                <a:lnTo>
                  <a:pt x="f3" y="f4"/>
                </a:lnTo>
                <a:lnTo>
                  <a:pt x="f2" y="f7"/>
                </a:lnTo>
                <a:lnTo>
                  <a:pt x="f5" y="f2"/>
                </a:lnTo>
                <a:close/>
              </a:path>
            </a:pathLst>
          </a:cu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8" name="Google Shape;1350;p134">
            <a:extLst>
              <a:ext uri="{FF2B5EF4-FFF2-40B4-BE49-F238E27FC236}">
                <a16:creationId xmlns:a16="http://schemas.microsoft.com/office/drawing/2014/main" id="{11688F53-635C-7C21-F45C-BC5EBE584C66}"/>
              </a:ext>
            </a:extLst>
          </p:cNvPr>
          <p:cNvSpPr/>
          <p:nvPr/>
        </p:nvSpPr>
        <p:spPr>
          <a:xfrm>
            <a:off x="0" y="6115049"/>
            <a:ext cx="12191996" cy="742950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9" name="Google Shape;1351;p134">
            <a:extLst>
              <a:ext uri="{FF2B5EF4-FFF2-40B4-BE49-F238E27FC236}">
                <a16:creationId xmlns:a16="http://schemas.microsoft.com/office/drawing/2014/main" id="{B9A31290-9D51-9C8B-A3B3-96FDDB92578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3447397"/>
            <a:ext cx="8178613" cy="713314"/>
          </a:xfrm>
        </p:spPr>
        <p:txBody>
          <a:bodyPr/>
          <a:lstStyle>
            <a:lvl1pPr indent="-228600">
              <a:buNone/>
              <a:defRPr sz="3200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10" name="Google Shape;1352;p134">
            <a:extLst>
              <a:ext uri="{FF2B5EF4-FFF2-40B4-BE49-F238E27FC236}">
                <a16:creationId xmlns:a16="http://schemas.microsoft.com/office/drawing/2014/main" id="{7AAFD8B7-F59D-BCDA-EFA8-7D58DC56B5A6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2829830" y="4178332"/>
            <a:ext cx="4395959" cy="1140165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215545781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Bullets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354;p135">
            <a:extLst>
              <a:ext uri="{FF2B5EF4-FFF2-40B4-BE49-F238E27FC236}">
                <a16:creationId xmlns:a16="http://schemas.microsoft.com/office/drawing/2014/main" id="{8691403C-0F71-61A3-C28D-C2F8098EA68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48992" y="783841"/>
            <a:ext cx="10177756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355;p135">
            <a:extLst>
              <a:ext uri="{FF2B5EF4-FFF2-40B4-BE49-F238E27FC236}">
                <a16:creationId xmlns:a16="http://schemas.microsoft.com/office/drawing/2014/main" id="{626E5950-4DA1-5A52-B368-4AB80BE0FB44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4" name="Google Shape;1356;p135">
            <a:extLst>
              <a:ext uri="{FF2B5EF4-FFF2-40B4-BE49-F238E27FC236}">
                <a16:creationId xmlns:a16="http://schemas.microsoft.com/office/drawing/2014/main" id="{8ED7E6EF-29B8-0BEB-A2D6-447CA315A0F9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5" name="Google Shape;1357;p135">
            <a:extLst>
              <a:ext uri="{FF2B5EF4-FFF2-40B4-BE49-F238E27FC236}">
                <a16:creationId xmlns:a16="http://schemas.microsoft.com/office/drawing/2014/main" id="{E82BB0BB-92A1-47ED-B722-6064E64973A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48782" y="1615022"/>
            <a:ext cx="10176933" cy="3812115"/>
          </a:xfrm>
        </p:spPr>
        <p:txBody>
          <a:bodyPr/>
          <a:lstStyle>
            <a:lvl1pPr indent="-364040">
              <a:buSzPts val="2133"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6" name="Google Shape;1358;p135">
            <a:extLst>
              <a:ext uri="{FF2B5EF4-FFF2-40B4-BE49-F238E27FC236}">
                <a16:creationId xmlns:a16="http://schemas.microsoft.com/office/drawing/2014/main" id="{5C536FBA-2AFA-9FD1-044D-B0A6C7FD83FD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867534636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360;p136">
            <a:extLst>
              <a:ext uri="{FF2B5EF4-FFF2-40B4-BE49-F238E27FC236}">
                <a16:creationId xmlns:a16="http://schemas.microsoft.com/office/drawing/2014/main" id="{E3642EF8-671D-DC9E-EBF4-3DBBF5913C01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3" name="Google Shape;1361;p136">
            <a:extLst>
              <a:ext uri="{FF2B5EF4-FFF2-40B4-BE49-F238E27FC236}">
                <a16:creationId xmlns:a16="http://schemas.microsoft.com/office/drawing/2014/main" id="{A2283207-511C-F36F-1346-06A5CEAF994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Google Shape;1362;p136">
            <a:extLst>
              <a:ext uri="{FF2B5EF4-FFF2-40B4-BE49-F238E27FC236}">
                <a16:creationId xmlns:a16="http://schemas.microsoft.com/office/drawing/2014/main" id="{2C050F77-BC09-A0EE-B2A0-8F9933CE9EA6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5" name="Google Shape;1363;p136">
            <a:extLst>
              <a:ext uri="{FF2B5EF4-FFF2-40B4-BE49-F238E27FC236}">
                <a16:creationId xmlns:a16="http://schemas.microsoft.com/office/drawing/2014/main" id="{299D8D88-BB89-DB8E-3003-9D763358A46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48992" y="806857"/>
            <a:ext cx="10156176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Google Shape;1364;p136">
            <a:extLst>
              <a:ext uri="{FF2B5EF4-FFF2-40B4-BE49-F238E27FC236}">
                <a16:creationId xmlns:a16="http://schemas.microsoft.com/office/drawing/2014/main" id="{759AF697-3CCA-F6AE-5023-51E53744878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48992" y="1637854"/>
            <a:ext cx="10156176" cy="4117159"/>
          </a:xfrm>
        </p:spPr>
        <p:txBody>
          <a:bodyPr/>
          <a:lstStyle>
            <a:lvl1pPr indent="-228600">
              <a:lnSpc>
                <a:spcPct val="90000"/>
              </a:lnSpc>
              <a:buNone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034914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Section | Picture and Copy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366;p137">
            <a:extLst>
              <a:ext uri="{FF2B5EF4-FFF2-40B4-BE49-F238E27FC236}">
                <a16:creationId xmlns:a16="http://schemas.microsoft.com/office/drawing/2014/main" id="{DAC353A4-3E0E-CAC0-F584-CD403C7C9DE9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367;p137">
            <a:extLst>
              <a:ext uri="{FF2B5EF4-FFF2-40B4-BE49-F238E27FC236}">
                <a16:creationId xmlns:a16="http://schemas.microsoft.com/office/drawing/2014/main" id="{491A6488-8E27-CB00-2E15-FB85823104A4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4" name="Google Shape;1368;p137">
            <a:extLst>
              <a:ext uri="{FF2B5EF4-FFF2-40B4-BE49-F238E27FC236}">
                <a16:creationId xmlns:a16="http://schemas.microsoft.com/office/drawing/2014/main" id="{BF1B116F-2BFB-5A86-0052-C67501960E7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186836" y="1294452"/>
            <a:ext cx="3983336" cy="3788084"/>
          </a:xfrm>
        </p:spPr>
        <p:txBody>
          <a:bodyPr/>
          <a:lstStyle>
            <a:lvl1pPr indent="-228600">
              <a:buNone/>
              <a:defRPr sz="1200" i="1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369;p137">
            <a:extLst>
              <a:ext uri="{FF2B5EF4-FFF2-40B4-BE49-F238E27FC236}">
                <a16:creationId xmlns:a16="http://schemas.microsoft.com/office/drawing/2014/main" id="{C8B6C30D-D521-9989-5F5F-E4994B6533A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549393" y="1997122"/>
            <a:ext cx="5466557" cy="3085414"/>
          </a:xfrm>
        </p:spPr>
        <p:txBody>
          <a:bodyPr/>
          <a:lstStyle>
            <a:lvl1pPr indent="-228600">
              <a:lnSpc>
                <a:spcPct val="90000"/>
              </a:lnSpc>
              <a:buNone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Google Shape;1370;p137">
            <a:extLst>
              <a:ext uri="{FF2B5EF4-FFF2-40B4-BE49-F238E27FC236}">
                <a16:creationId xmlns:a16="http://schemas.microsoft.com/office/drawing/2014/main" id="{21F8D1C2-86F7-AC67-788D-4648C390924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49393" y="1154521"/>
            <a:ext cx="5466557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7" name="Google Shape;1371;p137">
            <a:extLst>
              <a:ext uri="{FF2B5EF4-FFF2-40B4-BE49-F238E27FC236}">
                <a16:creationId xmlns:a16="http://schemas.microsoft.com/office/drawing/2014/main" id="{DAFFEFB5-A467-BCD1-265A-D32641196CA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98528552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392;p141">
            <a:extLst>
              <a:ext uri="{FF2B5EF4-FFF2-40B4-BE49-F238E27FC236}">
                <a16:creationId xmlns:a16="http://schemas.microsoft.com/office/drawing/2014/main" id="{8EB71E7B-30FF-C1D5-8A64-89EF533820F1}"/>
              </a:ext>
            </a:extLst>
          </p:cNvPr>
          <p:cNvSpPr/>
          <p:nvPr/>
        </p:nvSpPr>
        <p:spPr>
          <a:xfrm>
            <a:off x="902366" y="1294415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393;p141">
            <a:extLst>
              <a:ext uri="{FF2B5EF4-FFF2-40B4-BE49-F238E27FC236}">
                <a16:creationId xmlns:a16="http://schemas.microsoft.com/office/drawing/2014/main" id="{47A5D327-9D26-94D0-F156-1F773A49E1D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1561328"/>
            <a:ext cx="5194432" cy="1826340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394;p141">
            <a:extLst>
              <a:ext uri="{FF2B5EF4-FFF2-40B4-BE49-F238E27FC236}">
                <a16:creationId xmlns:a16="http://schemas.microsoft.com/office/drawing/2014/main" id="{9D6285C6-EAC1-6B15-8FE2-9E80BDF8C9AC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766861"/>
            <a:ext cx="5194432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1396;p141">
            <a:extLst>
              <a:ext uri="{FF2B5EF4-FFF2-40B4-BE49-F238E27FC236}">
                <a16:creationId xmlns:a16="http://schemas.microsoft.com/office/drawing/2014/main" id="{E7CD5E9F-87BB-FB84-B92D-2AA8A35D89FF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6" name="Google Shape;1397;p141">
              <a:extLst>
                <a:ext uri="{FF2B5EF4-FFF2-40B4-BE49-F238E27FC236}">
                  <a16:creationId xmlns:a16="http://schemas.microsoft.com/office/drawing/2014/main" id="{8AE77AB8-CC3C-6033-8C26-09B8E4388532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7" name="Google Shape;1398;p141">
              <a:extLst>
                <a:ext uri="{FF2B5EF4-FFF2-40B4-BE49-F238E27FC236}">
                  <a16:creationId xmlns:a16="http://schemas.microsoft.com/office/drawing/2014/main" id="{62F84A35-1E93-4007-A702-7C6F1F94D9E7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8" name="Google Shape;1399;p141">
              <a:extLst>
                <a:ext uri="{FF2B5EF4-FFF2-40B4-BE49-F238E27FC236}">
                  <a16:creationId xmlns:a16="http://schemas.microsoft.com/office/drawing/2014/main" id="{D2243A0A-311F-A556-DCC0-C6953DA2901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40674036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726443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401;p142">
            <a:extLst>
              <a:ext uri="{FF2B5EF4-FFF2-40B4-BE49-F238E27FC236}">
                <a16:creationId xmlns:a16="http://schemas.microsoft.com/office/drawing/2014/main" id="{B10B5FD2-1BE1-A136-AEA8-24DF6C97942F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3" name="Google Shape;1402;p142">
              <a:extLst>
                <a:ext uri="{FF2B5EF4-FFF2-40B4-BE49-F238E27FC236}">
                  <a16:creationId xmlns:a16="http://schemas.microsoft.com/office/drawing/2014/main" id="{CDBA832C-653B-FDA3-FCDB-00EDECC8F52F}"/>
                </a:ext>
              </a:extLst>
            </p:cNvPr>
            <p:cNvSpPr/>
            <p:nvPr/>
          </p:nvSpPr>
          <p:spPr>
            <a:xfrm>
              <a:off x="0" y="5100267"/>
              <a:ext cx="7111371" cy="175773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111369"/>
                <a:gd name="f4" fmla="val 1757730"/>
                <a:gd name="f5" fmla="val 772954"/>
                <a:gd name="f6" fmla="val 2778"/>
                <a:gd name="f7" fmla="val 1769038"/>
                <a:gd name="f8" fmla="val 30799"/>
                <a:gd name="f9" fmla="val 2696750"/>
                <a:gd name="f10" fmla="val 267531"/>
                <a:gd name="f11" fmla="val 3590934"/>
                <a:gd name="f12" fmla="val 566046"/>
                <a:gd name="f13" fmla="val 4684008"/>
                <a:gd name="f14" fmla="val 930921"/>
                <a:gd name="f15" fmla="val 5690778"/>
                <a:gd name="f16" fmla="val 1324625"/>
                <a:gd name="f17" fmla="val 6700767"/>
                <a:gd name="f18" fmla="val 1636882"/>
                <a:gd name="f19" fmla="val 25690"/>
                <a:gd name="f20" fmla="val 2197"/>
                <a:gd name="f21" fmla="val 25414"/>
                <a:gd name="f22" fmla="val 114653"/>
                <a:gd name="f23" fmla="val 14905"/>
                <a:gd name="f24" fmla="val 227801"/>
                <a:gd name="f25" fmla="val 7857"/>
                <a:gd name="f26" fmla="val 341773"/>
                <a:gd name="f27" fmla="val 3976"/>
                <a:gd name="f28" fmla="val 486963"/>
                <a:gd name="f29" fmla="+- 0 0 968"/>
                <a:gd name="f30" fmla="val 630656"/>
                <a:gd name="f31" fmla="+- 0 0 1224"/>
                <a:gd name="f32" fmla="*/ f0 1 7111369"/>
                <a:gd name="f33" fmla="*/ f1 1 1757730"/>
                <a:gd name="f34" fmla="+- f4 0 f2"/>
                <a:gd name="f35" fmla="+- f3 0 f2"/>
                <a:gd name="f36" fmla="*/ f35 1 7111369"/>
                <a:gd name="f37" fmla="*/ f34 1 1757730"/>
                <a:gd name="f38" fmla="*/ f2 1 f36"/>
                <a:gd name="f39" fmla="*/ f3 1 f36"/>
                <a:gd name="f40" fmla="*/ f2 1 f37"/>
                <a:gd name="f41" fmla="*/ f4 1 f37"/>
                <a:gd name="f42" fmla="*/ f38 f32 1"/>
                <a:gd name="f43" fmla="*/ f39 f32 1"/>
                <a:gd name="f44" fmla="*/ f41 f33 1"/>
                <a:gd name="f45" fmla="*/ f40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2" t="f45" r="f43" b="f44"/>
              <a:pathLst>
                <a:path w="7111369" h="1757730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4"/>
                  </a:lnTo>
                  <a:lnTo>
                    <a:pt x="f2" y="f4"/>
                  </a:lnTo>
                  <a:lnTo>
                    <a:pt x="f2" y="f19"/>
                  </a:lnTo>
                  <a:lnTo>
                    <a:pt x="f20" y="f21"/>
                  </a:ln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5" y="f6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1403;p142">
              <a:extLst>
                <a:ext uri="{FF2B5EF4-FFF2-40B4-BE49-F238E27FC236}">
                  <a16:creationId xmlns:a16="http://schemas.microsoft.com/office/drawing/2014/main" id="{C5E70DD7-95DC-CEB5-CF64-D5D0C3CB2178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5" name="Google Shape;1404;p142">
              <a:extLst>
                <a:ext uri="{FF2B5EF4-FFF2-40B4-BE49-F238E27FC236}">
                  <a16:creationId xmlns:a16="http://schemas.microsoft.com/office/drawing/2014/main" id="{03167EA0-BA5A-6EBA-C895-07665DC8F921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1405;p142">
              <a:extLst>
                <a:ext uri="{FF2B5EF4-FFF2-40B4-BE49-F238E27FC236}">
                  <a16:creationId xmlns:a16="http://schemas.microsoft.com/office/drawing/2014/main" id="{6289221F-F710-6083-FD32-445E7C73E7A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7" name="Google Shape;1406;p142">
            <a:extLst>
              <a:ext uri="{FF2B5EF4-FFF2-40B4-BE49-F238E27FC236}">
                <a16:creationId xmlns:a16="http://schemas.microsoft.com/office/drawing/2014/main" id="{57ABC830-A262-3F08-025B-95645C4A6CA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701747"/>
            <a:ext cx="9365376" cy="2014679"/>
          </a:xfrm>
        </p:spPr>
        <p:txBody>
          <a:bodyPr anchor="b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407;p142">
            <a:extLst>
              <a:ext uri="{FF2B5EF4-FFF2-40B4-BE49-F238E27FC236}">
                <a16:creationId xmlns:a16="http://schemas.microsoft.com/office/drawing/2014/main" id="{2139FAD8-069B-738A-818C-854AC9944B5F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081637"/>
            <a:ext cx="9365376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304711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409;p143">
            <a:extLst>
              <a:ext uri="{FF2B5EF4-FFF2-40B4-BE49-F238E27FC236}">
                <a16:creationId xmlns:a16="http://schemas.microsoft.com/office/drawing/2014/main" id="{7C1AA7AF-8C4D-2FB3-46F7-327EA08F0A7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57200" y="1146255"/>
            <a:ext cx="2350172" cy="2971800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cxnSp>
        <p:nvCxnSpPr>
          <p:cNvPr id="3" name="Google Shape;1410;p143">
            <a:extLst>
              <a:ext uri="{FF2B5EF4-FFF2-40B4-BE49-F238E27FC236}">
                <a16:creationId xmlns:a16="http://schemas.microsoft.com/office/drawing/2014/main" id="{31FFA463-4D39-1F5D-8ECD-933CEFA5E772}"/>
              </a:ext>
            </a:extLst>
          </p:cNvPr>
          <p:cNvCxnSpPr/>
          <p:nvPr/>
        </p:nvCxnSpPr>
        <p:spPr>
          <a:xfrm>
            <a:off x="457200" y="947985"/>
            <a:ext cx="2350163" cy="0"/>
          </a:xfrm>
          <a:prstGeom prst="straightConnector1">
            <a:avLst/>
          </a:prstGeom>
          <a:noFill/>
          <a:ln w="31747" cap="flat">
            <a:solidFill>
              <a:srgbClr val="F58366"/>
            </a:solidFill>
            <a:prstDash val="solid"/>
            <a:miter/>
          </a:ln>
        </p:spPr>
      </p:cxnSp>
      <p:grpSp>
        <p:nvGrpSpPr>
          <p:cNvPr id="4" name="Google Shape;1411;p143">
            <a:extLst>
              <a:ext uri="{FF2B5EF4-FFF2-40B4-BE49-F238E27FC236}">
                <a16:creationId xmlns:a16="http://schemas.microsoft.com/office/drawing/2014/main" id="{5C492077-8455-CEDC-7DED-4613A2142423}"/>
              </a:ext>
            </a:extLst>
          </p:cNvPr>
          <p:cNvGrpSpPr/>
          <p:nvPr/>
        </p:nvGrpSpPr>
        <p:grpSpPr>
          <a:xfrm>
            <a:off x="0" y="5379424"/>
            <a:ext cx="2807363" cy="753895"/>
            <a:chOff x="0" y="5379424"/>
            <a:chExt cx="2807363" cy="753895"/>
          </a:xfrm>
        </p:grpSpPr>
        <p:sp>
          <p:nvSpPr>
            <p:cNvPr id="5" name="Google Shape;1412;p143">
              <a:extLst>
                <a:ext uri="{FF2B5EF4-FFF2-40B4-BE49-F238E27FC236}">
                  <a16:creationId xmlns:a16="http://schemas.microsoft.com/office/drawing/2014/main" id="{B9C7CC79-E3C3-C67D-A659-6735926BFBF1}"/>
                </a:ext>
              </a:extLst>
            </p:cNvPr>
            <p:cNvSpPr/>
            <p:nvPr/>
          </p:nvSpPr>
          <p:spPr>
            <a:xfrm>
              <a:off x="0" y="5532513"/>
              <a:ext cx="2807363" cy="60080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00807"/>
                <a:gd name="f5" fmla="val 429971"/>
                <a:gd name="f6" fmla="val 123998"/>
                <a:gd name="f7" fmla="val 1184765"/>
                <a:gd name="f8" fmla="val 325331"/>
                <a:gd name="f9" fmla="val 2014184"/>
                <a:gd name="f10" fmla="val 392492"/>
                <a:gd name="f11" fmla="val 2790212"/>
                <a:gd name="f12" fmla="val 235402"/>
                <a:gd name="f13" fmla="val 231522"/>
                <a:gd name="f14" fmla="val 566106"/>
                <a:gd name="f15" fmla="val 2593885"/>
                <a:gd name="f16" fmla="val 587498"/>
                <a:gd name="f17" fmla="val 1673646"/>
                <a:gd name="f18" fmla="val 651184"/>
                <a:gd name="f19" fmla="val 884869"/>
                <a:gd name="f20" fmla="val 479260"/>
                <a:gd name="f21" fmla="val 100844"/>
                <a:gd name="f22" fmla="val 222653"/>
                <a:gd name="f23" fmla="val 188389"/>
                <a:gd name="f24" fmla="*/ f0 1 2807368"/>
                <a:gd name="f25" fmla="*/ f1 1 600807"/>
                <a:gd name="f26" fmla="+- f4 0 f2"/>
                <a:gd name="f27" fmla="+- f3 0 f2"/>
                <a:gd name="f28" fmla="*/ f27 1 2807368"/>
                <a:gd name="f29" fmla="*/ f26 1 600807"/>
                <a:gd name="f30" fmla="*/ f2 1 f28"/>
                <a:gd name="f31" fmla="*/ f3 1 f28"/>
                <a:gd name="f32" fmla="*/ f2 1 f29"/>
                <a:gd name="f33" fmla="*/ f4 1 f29"/>
                <a:gd name="f34" fmla="*/ f30 f24 1"/>
                <a:gd name="f35" fmla="*/ f31 f24 1"/>
                <a:gd name="f36" fmla="*/ f33 f25 1"/>
                <a:gd name="f37" fmla="*/ f32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37" r="f35" b="f36"/>
              <a:pathLst>
                <a:path w="2807368" h="600807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lnTo>
                    <a:pt x="f3" y="f13"/>
                  </a:lnTo>
                  <a:lnTo>
                    <a:pt x="f3" y="f14"/>
                  </a:lnTo>
                  <a:lnTo>
                    <a:pt x="f15" y="f16"/>
                  </a:lnTo>
                  <a:cubicBezTo>
                    <a:pt x="f17" y="f18"/>
                    <a:pt x="f19" y="f20"/>
                    <a:pt x="f21" y="f22"/>
                  </a:cubicBezTo>
                  <a:lnTo>
                    <a:pt x="f2" y="f23"/>
                  </a:ln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6" name="Google Shape;1413;p143">
              <a:extLst>
                <a:ext uri="{FF2B5EF4-FFF2-40B4-BE49-F238E27FC236}">
                  <a16:creationId xmlns:a16="http://schemas.microsoft.com/office/drawing/2014/main" id="{7EE8A793-E7DF-DECE-7752-953D057EDA8E}"/>
                </a:ext>
              </a:extLst>
            </p:cNvPr>
            <p:cNvSpPr/>
            <p:nvPr/>
          </p:nvSpPr>
          <p:spPr>
            <a:xfrm>
              <a:off x="0" y="5379424"/>
              <a:ext cx="2807363" cy="64980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49803"/>
                <a:gd name="f5" fmla="val 282676"/>
                <a:gd name="f6" fmla="val 70799"/>
                <a:gd name="f7" fmla="val 435964"/>
                <a:gd name="f8" fmla="val 106085"/>
                <a:gd name="f9" fmla="val 588770"/>
                <a:gd name="f10" fmla="val 137629"/>
                <a:gd name="f11" fmla="val 740881"/>
                <a:gd name="f12" fmla="val 163828"/>
                <a:gd name="f13" fmla="val 1362800"/>
                <a:gd name="f14" fmla="val 270912"/>
                <a:gd name="f15" fmla="val 2067879"/>
                <a:gd name="f16" fmla="val 253759"/>
                <a:gd name="f17" fmla="val 2706471"/>
                <a:gd name="f18" fmla="val 96397"/>
                <a:gd name="f19" fmla="val 67250"/>
                <a:gd name="f20" fmla="val 605551"/>
                <a:gd name="f21" fmla="val 2602685"/>
                <a:gd name="f22" fmla="val 629466"/>
                <a:gd name="f23" fmla="val 1684237"/>
                <a:gd name="f24" fmla="val 708219"/>
                <a:gd name="f25" fmla="val 893252"/>
                <a:gd name="f26" fmla="val 549395"/>
                <a:gd name="f27" fmla="val 105614"/>
                <a:gd name="f28" fmla="val 305882"/>
                <a:gd name="f29" fmla="val 271926"/>
                <a:gd name="f30" fmla="*/ f0 1 2807368"/>
                <a:gd name="f31" fmla="*/ f1 1 649803"/>
                <a:gd name="f32" fmla="+- f4 0 f2"/>
                <a:gd name="f33" fmla="+- f3 0 f2"/>
                <a:gd name="f34" fmla="*/ f33 1 2807368"/>
                <a:gd name="f35" fmla="*/ f32 1 649803"/>
                <a:gd name="f36" fmla="*/ f2 1 f34"/>
                <a:gd name="f37" fmla="*/ f3 1 f34"/>
                <a:gd name="f38" fmla="*/ f2 1 f35"/>
                <a:gd name="f39" fmla="*/ f4 1 f35"/>
                <a:gd name="f40" fmla="*/ f36 f30 1"/>
                <a:gd name="f41" fmla="*/ f37 f30 1"/>
                <a:gd name="f42" fmla="*/ f39 f31 1"/>
                <a:gd name="f43" fmla="*/ f3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2807368" h="649803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19"/>
                  </a:lnTo>
                  <a:lnTo>
                    <a:pt x="f3" y="f20"/>
                  </a:lnTo>
                  <a:lnTo>
                    <a:pt x="f21" y="f22"/>
                  </a:lnTo>
                  <a:cubicBezTo>
                    <a:pt x="f23" y="f24"/>
                    <a:pt x="f25" y="f26"/>
                    <a:pt x="f27" y="f28"/>
                  </a:cubicBezTo>
                  <a:lnTo>
                    <a:pt x="f2" y="f29"/>
                  </a:ln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pic>
        <p:nvPicPr>
          <p:cNvPr id="7" name="Google Shape;1415;p143">
            <a:extLst>
              <a:ext uri="{FF2B5EF4-FFF2-40B4-BE49-F238E27FC236}">
                <a16:creationId xmlns:a16="http://schemas.microsoft.com/office/drawing/2014/main" id="{3B644C47-65D5-F837-881A-9771BB16BA8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513344" y="4385535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916914873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417;p144">
            <a:extLst>
              <a:ext uri="{FF2B5EF4-FFF2-40B4-BE49-F238E27FC236}">
                <a16:creationId xmlns:a16="http://schemas.microsoft.com/office/drawing/2014/main" id="{438CAA7C-04F0-79BE-2B7A-9B44A18390FD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418;p144">
            <a:extLst>
              <a:ext uri="{FF2B5EF4-FFF2-40B4-BE49-F238E27FC236}">
                <a16:creationId xmlns:a16="http://schemas.microsoft.com/office/drawing/2014/main" id="{2E15636F-027D-539A-B661-0C4A20595C3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419;p144">
            <a:extLst>
              <a:ext uri="{FF2B5EF4-FFF2-40B4-BE49-F238E27FC236}">
                <a16:creationId xmlns:a16="http://schemas.microsoft.com/office/drawing/2014/main" id="{80783A3A-EE89-02D1-0F50-3E9CFE84207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420;p144">
            <a:extLst>
              <a:ext uri="{FF2B5EF4-FFF2-40B4-BE49-F238E27FC236}">
                <a16:creationId xmlns:a16="http://schemas.microsoft.com/office/drawing/2014/main" id="{1AAB3558-77A4-2E69-05AB-FAFAF84D99CD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5BDFE397-7855-45DD-A550-F2A64D5DE22A}" type="slidenum">
              <a:t>‹#›</a:t>
            </a:fld>
            <a:endParaRPr lang="en-US"/>
          </a:p>
        </p:txBody>
      </p:sp>
      <p:cxnSp>
        <p:nvCxnSpPr>
          <p:cNvPr id="6" name="Google Shape;1421;p144">
            <a:extLst>
              <a:ext uri="{FF2B5EF4-FFF2-40B4-BE49-F238E27FC236}">
                <a16:creationId xmlns:a16="http://schemas.microsoft.com/office/drawing/2014/main" id="{18D7B84B-2F41-8233-C9DD-9A32F7593D23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422;p144">
            <a:extLst>
              <a:ext uri="{FF2B5EF4-FFF2-40B4-BE49-F238E27FC236}">
                <a16:creationId xmlns:a16="http://schemas.microsoft.com/office/drawing/2014/main" id="{A4D75539-5A1E-95A2-4AB3-10AD2B83F827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1423;p144">
            <a:extLst>
              <a:ext uri="{FF2B5EF4-FFF2-40B4-BE49-F238E27FC236}">
                <a16:creationId xmlns:a16="http://schemas.microsoft.com/office/drawing/2014/main" id="{3E569165-AAF7-535D-8814-819466D1BC15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1424;p144">
              <a:extLst>
                <a:ext uri="{FF2B5EF4-FFF2-40B4-BE49-F238E27FC236}">
                  <a16:creationId xmlns:a16="http://schemas.microsoft.com/office/drawing/2014/main" id="{5BF3FB9E-5147-EAEB-E0DE-7BE107BEA44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1425;p144">
              <a:extLst>
                <a:ext uri="{FF2B5EF4-FFF2-40B4-BE49-F238E27FC236}">
                  <a16:creationId xmlns:a16="http://schemas.microsoft.com/office/drawing/2014/main" id="{8AFB7306-A40E-E258-676A-A922544FD971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1426;p144">
                <a:extLst>
                  <a:ext uri="{FF2B5EF4-FFF2-40B4-BE49-F238E27FC236}">
                    <a16:creationId xmlns:a16="http://schemas.microsoft.com/office/drawing/2014/main" id="{4AB7BD22-6C50-8E43-0BDF-E6346913F6A4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1427;p144">
                <a:extLst>
                  <a:ext uri="{FF2B5EF4-FFF2-40B4-BE49-F238E27FC236}">
                    <a16:creationId xmlns:a16="http://schemas.microsoft.com/office/drawing/2014/main" id="{8989BECD-2E11-92C1-C2F6-23CD8D3D30D1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1428;p144" descr="Open quotation mark with solid fill">
            <a:extLst>
              <a:ext uri="{FF2B5EF4-FFF2-40B4-BE49-F238E27FC236}">
                <a16:creationId xmlns:a16="http://schemas.microsoft.com/office/drawing/2014/main" id="{F00315FF-9D55-6588-5B9E-A0B435D68574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997090953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ation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417;p144">
            <a:extLst>
              <a:ext uri="{FF2B5EF4-FFF2-40B4-BE49-F238E27FC236}">
                <a16:creationId xmlns:a16="http://schemas.microsoft.com/office/drawing/2014/main" id="{91334353-0C3F-FA3C-5B09-D419DC65CAE4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418;p144">
            <a:extLst>
              <a:ext uri="{FF2B5EF4-FFF2-40B4-BE49-F238E27FC236}">
                <a16:creationId xmlns:a16="http://schemas.microsoft.com/office/drawing/2014/main" id="{346AAE1B-EDCF-86C5-FB1A-DC2A8CB18D1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419;p144">
            <a:extLst>
              <a:ext uri="{FF2B5EF4-FFF2-40B4-BE49-F238E27FC236}">
                <a16:creationId xmlns:a16="http://schemas.microsoft.com/office/drawing/2014/main" id="{F116BFB1-5784-D71B-A958-6E43A617AA9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420;p144">
            <a:extLst>
              <a:ext uri="{FF2B5EF4-FFF2-40B4-BE49-F238E27FC236}">
                <a16:creationId xmlns:a16="http://schemas.microsoft.com/office/drawing/2014/main" id="{DCF7BC58-2F0C-10C7-A091-B8A59FEF6DA2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9F84E7F9-7BEB-432C-83CA-54C12EC95B1B}" type="slidenum">
              <a:t>‹#›</a:t>
            </a:fld>
            <a:endParaRPr lang="en-US"/>
          </a:p>
        </p:txBody>
      </p:sp>
      <p:cxnSp>
        <p:nvCxnSpPr>
          <p:cNvPr id="6" name="Google Shape;1421;p144">
            <a:extLst>
              <a:ext uri="{FF2B5EF4-FFF2-40B4-BE49-F238E27FC236}">
                <a16:creationId xmlns:a16="http://schemas.microsoft.com/office/drawing/2014/main" id="{6239AA37-41C0-33EE-9A68-ECDE168C3F69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422;p144">
            <a:extLst>
              <a:ext uri="{FF2B5EF4-FFF2-40B4-BE49-F238E27FC236}">
                <a16:creationId xmlns:a16="http://schemas.microsoft.com/office/drawing/2014/main" id="{13F6CD9D-B81F-7AFB-FB59-8F63CFB5AD83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1423;p144">
            <a:extLst>
              <a:ext uri="{FF2B5EF4-FFF2-40B4-BE49-F238E27FC236}">
                <a16:creationId xmlns:a16="http://schemas.microsoft.com/office/drawing/2014/main" id="{5931D1CC-6A52-A9B1-DA0D-56FA71D7F5EA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1424;p144">
              <a:extLst>
                <a:ext uri="{FF2B5EF4-FFF2-40B4-BE49-F238E27FC236}">
                  <a16:creationId xmlns:a16="http://schemas.microsoft.com/office/drawing/2014/main" id="{100D9C0F-4DD2-94F0-ADE0-0B12C6A4F3E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1425;p144">
              <a:extLst>
                <a:ext uri="{FF2B5EF4-FFF2-40B4-BE49-F238E27FC236}">
                  <a16:creationId xmlns:a16="http://schemas.microsoft.com/office/drawing/2014/main" id="{8455D924-9168-EBD1-BFCA-0BF81F84273A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1426;p144">
                <a:extLst>
                  <a:ext uri="{FF2B5EF4-FFF2-40B4-BE49-F238E27FC236}">
                    <a16:creationId xmlns:a16="http://schemas.microsoft.com/office/drawing/2014/main" id="{663F563B-FF51-2AC9-7025-D9C30C0F60DF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1427;p144">
                <a:extLst>
                  <a:ext uri="{FF2B5EF4-FFF2-40B4-BE49-F238E27FC236}">
                    <a16:creationId xmlns:a16="http://schemas.microsoft.com/office/drawing/2014/main" id="{08AE4FFD-A3F3-C318-80E5-943905F9B5D2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1428;p144" descr="Open quotation mark with solid fill">
            <a:extLst>
              <a:ext uri="{FF2B5EF4-FFF2-40B4-BE49-F238E27FC236}">
                <a16:creationId xmlns:a16="http://schemas.microsoft.com/office/drawing/2014/main" id="{72960CF1-CC4C-76EB-98B7-EAE4C986FC31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698161051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430;p145">
            <a:extLst>
              <a:ext uri="{FF2B5EF4-FFF2-40B4-BE49-F238E27FC236}">
                <a16:creationId xmlns:a16="http://schemas.microsoft.com/office/drawing/2014/main" id="{76F10A34-300C-7584-279D-029504894C76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3" name="Google Shape;1431;p145">
            <a:extLst>
              <a:ext uri="{FF2B5EF4-FFF2-40B4-BE49-F238E27FC236}">
                <a16:creationId xmlns:a16="http://schemas.microsoft.com/office/drawing/2014/main" id="{398B2314-E1A2-E319-FD6B-917C968206C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grpSp>
        <p:nvGrpSpPr>
          <p:cNvPr id="4" name="Google Shape;1432;p145">
            <a:extLst>
              <a:ext uri="{FF2B5EF4-FFF2-40B4-BE49-F238E27FC236}">
                <a16:creationId xmlns:a16="http://schemas.microsoft.com/office/drawing/2014/main" id="{0D6A997B-8F41-CBC9-0A0F-F663E44F4597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5" name="Google Shape;1433;p145">
              <a:extLst>
                <a:ext uri="{FF2B5EF4-FFF2-40B4-BE49-F238E27FC236}">
                  <a16:creationId xmlns:a16="http://schemas.microsoft.com/office/drawing/2014/main" id="{3D80AF31-3BDB-6CCD-FCEB-CAD1F6172A6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6" name="Google Shape;1434;p145">
              <a:extLst>
                <a:ext uri="{FF2B5EF4-FFF2-40B4-BE49-F238E27FC236}">
                  <a16:creationId xmlns:a16="http://schemas.microsoft.com/office/drawing/2014/main" id="{B150CA5A-78D6-C82A-5C3B-3E5B2EFD5D06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7" name="Google Shape;1435;p145">
                <a:extLst>
                  <a:ext uri="{FF2B5EF4-FFF2-40B4-BE49-F238E27FC236}">
                    <a16:creationId xmlns:a16="http://schemas.microsoft.com/office/drawing/2014/main" id="{126E4A31-963B-A43D-396D-81A8B21AFE76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8" name="Google Shape;1436;p145">
                <a:extLst>
                  <a:ext uri="{FF2B5EF4-FFF2-40B4-BE49-F238E27FC236}">
                    <a16:creationId xmlns:a16="http://schemas.microsoft.com/office/drawing/2014/main" id="{07340CB2-AE39-7EF0-C9DA-B66223D9FB6F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9" name="Google Shape;1437;p145">
            <a:extLst>
              <a:ext uri="{FF2B5EF4-FFF2-40B4-BE49-F238E27FC236}">
                <a16:creationId xmlns:a16="http://schemas.microsoft.com/office/drawing/2014/main" id="{4F97D5AB-0716-235D-98C3-BDEDBC4A64C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Google Shape;1438;p145">
            <a:extLst>
              <a:ext uri="{FF2B5EF4-FFF2-40B4-BE49-F238E27FC236}">
                <a16:creationId xmlns:a16="http://schemas.microsoft.com/office/drawing/2014/main" id="{EB9A257A-0BA4-65D3-0B88-A1AB2775305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8839193" y="6356351"/>
            <a:ext cx="2743200" cy="365129"/>
          </a:xfrm>
        </p:spPr>
        <p:txBody>
          <a:bodyPr/>
          <a:lstStyle>
            <a:lvl1pPr>
              <a:defRPr/>
            </a:lvl1pPr>
          </a:lstStyle>
          <a:p>
            <a:pPr lvl="0"/>
            <a:fld id="{A449790F-10C3-4893-A8B3-D933C69565F8}" type="slidenum">
              <a:t>‹#›</a:t>
            </a:fld>
            <a:endParaRPr lang="en-US"/>
          </a:p>
        </p:txBody>
      </p:sp>
      <p:cxnSp>
        <p:nvCxnSpPr>
          <p:cNvPr id="11" name="Google Shape;1439;p145">
            <a:extLst>
              <a:ext uri="{FF2B5EF4-FFF2-40B4-BE49-F238E27FC236}">
                <a16:creationId xmlns:a16="http://schemas.microsoft.com/office/drawing/2014/main" id="{9B5F3AC2-C535-F8B4-C62A-30521E0CFF9B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2" name="Google Shape;1440;p145">
            <a:extLst>
              <a:ext uri="{FF2B5EF4-FFF2-40B4-BE49-F238E27FC236}">
                <a16:creationId xmlns:a16="http://schemas.microsoft.com/office/drawing/2014/main" id="{E45A7F1A-C6B2-AFDE-4DDD-3BFFF52F9451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186385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442;p146">
            <a:extLst>
              <a:ext uri="{FF2B5EF4-FFF2-40B4-BE49-F238E27FC236}">
                <a16:creationId xmlns:a16="http://schemas.microsoft.com/office/drawing/2014/main" id="{5CC64EF6-27AC-1B26-6BFC-743FAB97ADB3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443;p146">
              <a:extLst>
                <a:ext uri="{FF2B5EF4-FFF2-40B4-BE49-F238E27FC236}">
                  <a16:creationId xmlns:a16="http://schemas.microsoft.com/office/drawing/2014/main" id="{D207BD37-427B-AE52-8A90-2C97AA2E3AA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444;p146">
              <a:extLst>
                <a:ext uri="{FF2B5EF4-FFF2-40B4-BE49-F238E27FC236}">
                  <a16:creationId xmlns:a16="http://schemas.microsoft.com/office/drawing/2014/main" id="{0D4892FA-19C9-2833-D5D7-075315F92767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445;p146">
                <a:extLst>
                  <a:ext uri="{FF2B5EF4-FFF2-40B4-BE49-F238E27FC236}">
                    <a16:creationId xmlns:a16="http://schemas.microsoft.com/office/drawing/2014/main" id="{730F1D5C-4A50-E85F-36EE-F5296BE909B6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446;p146">
                <a:extLst>
                  <a:ext uri="{FF2B5EF4-FFF2-40B4-BE49-F238E27FC236}">
                    <a16:creationId xmlns:a16="http://schemas.microsoft.com/office/drawing/2014/main" id="{A5D2F3C0-F80E-6890-B16C-8F9D24707715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447;p146">
            <a:extLst>
              <a:ext uri="{FF2B5EF4-FFF2-40B4-BE49-F238E27FC236}">
                <a16:creationId xmlns:a16="http://schemas.microsoft.com/office/drawing/2014/main" id="{48AB4705-5D61-1535-BB8C-F2269B3280C9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448;p146">
            <a:extLst>
              <a:ext uri="{FF2B5EF4-FFF2-40B4-BE49-F238E27FC236}">
                <a16:creationId xmlns:a16="http://schemas.microsoft.com/office/drawing/2014/main" id="{58BE5F7D-A3D4-D9E3-74F1-AF9AD255DED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681160"/>
            <a:ext cx="538797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9" name="Google Shape;1449;p146">
            <a:extLst>
              <a:ext uri="{FF2B5EF4-FFF2-40B4-BE49-F238E27FC236}">
                <a16:creationId xmlns:a16="http://schemas.microsoft.com/office/drawing/2014/main" id="{516CB266-0F99-DF1B-E3A6-4282DC227D7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2505071"/>
            <a:ext cx="5387973" cy="3684583"/>
          </a:xfrm>
          <a:solidFill>
            <a:srgbClr val="F3F6FB"/>
          </a:solidFill>
        </p:spPr>
        <p:txBody>
          <a:bodyPr lIns="182870" tIns="0" rIns="182870" bIns="0">
            <a:normAutofit/>
          </a:bodyPr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0" name="Google Shape;1450;p146">
            <a:extLst>
              <a:ext uri="{FF2B5EF4-FFF2-40B4-BE49-F238E27FC236}">
                <a16:creationId xmlns:a16="http://schemas.microsoft.com/office/drawing/2014/main" id="{B35C1CEC-8196-2211-2500-24E09F72D2D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681160"/>
            <a:ext cx="541020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11" name="Google Shape;1451;p146">
            <a:extLst>
              <a:ext uri="{FF2B5EF4-FFF2-40B4-BE49-F238E27FC236}">
                <a16:creationId xmlns:a16="http://schemas.microsoft.com/office/drawing/2014/main" id="{6334ABF4-D10C-361F-9704-FDF330E93C9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2505071"/>
            <a:ext cx="5410203" cy="3684583"/>
          </a:xfrm>
          <a:solidFill>
            <a:srgbClr val="F3F6FB"/>
          </a:solidFill>
        </p:spPr>
        <p:txBody>
          <a:bodyPr lIns="182870" tIns="0" rIns="182870" bIns="0"/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2" name="Google Shape;1452;p146">
            <a:extLst>
              <a:ext uri="{FF2B5EF4-FFF2-40B4-BE49-F238E27FC236}">
                <a16:creationId xmlns:a16="http://schemas.microsoft.com/office/drawing/2014/main" id="{16EB0C11-2B8A-426B-11D8-54DEB9A3106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D41899C7-5B3E-4493-AB1E-CB9494503340}" type="slidenum">
              <a:t>‹#›</a:t>
            </a:fld>
            <a:endParaRPr lang="en-US"/>
          </a:p>
        </p:txBody>
      </p:sp>
      <p:cxnSp>
        <p:nvCxnSpPr>
          <p:cNvPr id="13" name="Google Shape;1453;p146">
            <a:extLst>
              <a:ext uri="{FF2B5EF4-FFF2-40B4-BE49-F238E27FC236}">
                <a16:creationId xmlns:a16="http://schemas.microsoft.com/office/drawing/2014/main" id="{FD7B9B95-0F52-298E-7E9A-A7799A05E9F5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4" name="Google Shape;1454;p146">
            <a:extLst>
              <a:ext uri="{FF2B5EF4-FFF2-40B4-BE49-F238E27FC236}">
                <a16:creationId xmlns:a16="http://schemas.microsoft.com/office/drawing/2014/main" id="{17146471-838B-B01E-09DA-8F6CE15C750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113491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456;p147">
            <a:extLst>
              <a:ext uri="{FF2B5EF4-FFF2-40B4-BE49-F238E27FC236}">
                <a16:creationId xmlns:a16="http://schemas.microsoft.com/office/drawing/2014/main" id="{3E47F63D-86AA-8583-D8E3-46207F4AA441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457;p147">
              <a:extLst>
                <a:ext uri="{FF2B5EF4-FFF2-40B4-BE49-F238E27FC236}">
                  <a16:creationId xmlns:a16="http://schemas.microsoft.com/office/drawing/2014/main" id="{BFCFD6BF-DED6-7863-C054-E05DF614EDD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458;p147">
              <a:extLst>
                <a:ext uri="{FF2B5EF4-FFF2-40B4-BE49-F238E27FC236}">
                  <a16:creationId xmlns:a16="http://schemas.microsoft.com/office/drawing/2014/main" id="{609C131D-29F5-D887-07C5-B944F4EAE81F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459;p147">
                <a:extLst>
                  <a:ext uri="{FF2B5EF4-FFF2-40B4-BE49-F238E27FC236}">
                    <a16:creationId xmlns:a16="http://schemas.microsoft.com/office/drawing/2014/main" id="{54FE23B8-C75B-EB96-B707-F2614B6E2CA3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460;p147">
                <a:extLst>
                  <a:ext uri="{FF2B5EF4-FFF2-40B4-BE49-F238E27FC236}">
                    <a16:creationId xmlns:a16="http://schemas.microsoft.com/office/drawing/2014/main" id="{FEA02B92-F142-F26D-289E-CB108C961C0F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461;p147">
            <a:extLst>
              <a:ext uri="{FF2B5EF4-FFF2-40B4-BE49-F238E27FC236}">
                <a16:creationId xmlns:a16="http://schemas.microsoft.com/office/drawing/2014/main" id="{F3742B52-412A-D3FA-95B3-145E7CA8D415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462;p147">
            <a:extLst>
              <a:ext uri="{FF2B5EF4-FFF2-40B4-BE49-F238E27FC236}">
                <a16:creationId xmlns:a16="http://schemas.microsoft.com/office/drawing/2014/main" id="{DED978F3-1E10-AB3C-91B2-F059F9E9948D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326F9489-521C-4435-BABF-97A12A081D20}" type="slidenum">
              <a:t>‹#›</a:t>
            </a:fld>
            <a:endParaRPr lang="en-US"/>
          </a:p>
        </p:txBody>
      </p:sp>
      <p:cxnSp>
        <p:nvCxnSpPr>
          <p:cNvPr id="9" name="Google Shape;1463;p147">
            <a:extLst>
              <a:ext uri="{FF2B5EF4-FFF2-40B4-BE49-F238E27FC236}">
                <a16:creationId xmlns:a16="http://schemas.microsoft.com/office/drawing/2014/main" id="{5597EA04-60BB-7FFB-EDDD-C3FE2A7E6931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0" name="Google Shape;1464;p147">
            <a:extLst>
              <a:ext uri="{FF2B5EF4-FFF2-40B4-BE49-F238E27FC236}">
                <a16:creationId xmlns:a16="http://schemas.microsoft.com/office/drawing/2014/main" id="{C86CF03E-0033-2274-AFFF-41B0E7F8DF56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195597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466;p148">
            <a:extLst>
              <a:ext uri="{FF2B5EF4-FFF2-40B4-BE49-F238E27FC236}">
                <a16:creationId xmlns:a16="http://schemas.microsoft.com/office/drawing/2014/main" id="{6B50CC6C-59FC-56FD-709F-FBD0BC897F52}"/>
              </a:ext>
            </a:extLst>
          </p:cNvPr>
          <p:cNvGrpSpPr/>
          <p:nvPr/>
        </p:nvGrpSpPr>
        <p:grpSpPr>
          <a:xfrm>
            <a:off x="0" y="0"/>
            <a:ext cx="12191996" cy="2148830"/>
            <a:chOff x="0" y="0"/>
            <a:chExt cx="12191996" cy="2148830"/>
          </a:xfrm>
        </p:grpSpPr>
        <p:sp>
          <p:nvSpPr>
            <p:cNvPr id="3" name="Google Shape;1467;p148">
              <a:extLst>
                <a:ext uri="{FF2B5EF4-FFF2-40B4-BE49-F238E27FC236}">
                  <a16:creationId xmlns:a16="http://schemas.microsoft.com/office/drawing/2014/main" id="{123CD826-8CDD-14B1-4C37-1FD1EB75BF9C}"/>
                </a:ext>
              </a:extLst>
            </p:cNvPr>
            <p:cNvSpPr/>
            <p:nvPr/>
          </p:nvSpPr>
          <p:spPr>
            <a:xfrm flipH="1">
              <a:off x="0" y="0"/>
              <a:ext cx="12191996" cy="214883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2148830"/>
                <a:gd name="f5" fmla="val 2318293"/>
                <a:gd name="f6" fmla="val 2110341"/>
                <a:gd name="f7" fmla="val 1952334"/>
                <a:gd name="f8" fmla="val 920"/>
                <a:gd name="f9" fmla="val 1343499"/>
                <a:gd name="f10" fmla="val 23864"/>
                <a:gd name="f11" fmla="val 752130"/>
                <a:gd name="f12" fmla="val 152982"/>
                <a:gd name="f13" fmla="val 184205"/>
                <a:gd name="f14" fmla="val 435928"/>
                <a:gd name="f15" fmla="val 536864"/>
                <a:gd name="f16" fmla="val 554713"/>
                <a:gd name="f17" fmla="val 201115"/>
                <a:gd name="f18" fmla="val 452796"/>
                <a:gd name="f19" fmla="val 776357"/>
                <a:gd name="f20" fmla="val 187336"/>
                <a:gd name="f21" fmla="val 1349828"/>
                <a:gd name="f22" fmla="val 76760"/>
                <a:gd name="f23" fmla="val 1947588"/>
                <a:gd name="f24" fmla="val 66249"/>
                <a:gd name="f25" fmla="val 2962940"/>
                <a:gd name="f26" fmla="val 48421"/>
                <a:gd name="f27" fmla="val 3890218"/>
                <a:gd name="f28" fmla="val 291317"/>
                <a:gd name="f29" fmla="val 4778140"/>
                <a:gd name="f30" fmla="val 604018"/>
                <a:gd name="f31" fmla="val 7231510"/>
                <a:gd name="f32" fmla="val 1468126"/>
                <a:gd name="f33" fmla="val 9178927"/>
                <a:gd name="f34" fmla="val 2492024"/>
                <a:gd name="f35" fmla="val 11996242"/>
                <a:gd name="f36" fmla="val 2036894"/>
                <a:gd name="f37" fmla="val 2002266"/>
                <a:gd name="f38" fmla="val 1415250"/>
                <a:gd name="f39" fmla="val 12022971"/>
                <a:gd name="f40" fmla="val 1470801"/>
                <a:gd name="f41" fmla="val 10719696"/>
                <a:gd name="f42" fmla="val 1863939"/>
                <a:gd name="f43" fmla="val 9271154"/>
                <a:gd name="f44" fmla="val 1783804"/>
                <a:gd name="f45" fmla="val 7970940"/>
                <a:gd name="f46" fmla="val 1436986"/>
                <a:gd name="f47" fmla="val 6890984"/>
                <a:gd name="f48" fmla="val 1148958"/>
                <a:gd name="f49" fmla="val 5866930"/>
                <a:gd name="f50" fmla="val 767309"/>
                <a:gd name="f51" fmla="val 4800356"/>
                <a:gd name="f52" fmla="val 456582"/>
                <a:gd name="f53" fmla="val 4068903"/>
                <a:gd name="f54" fmla="val 243471"/>
                <a:gd name="f55" fmla="val 3348204"/>
                <a:gd name="f56" fmla="val 74251"/>
                <a:gd name="f57" fmla="val 2646880"/>
                <a:gd name="f58" fmla="val 17560"/>
                <a:gd name="f59" fmla="*/ f0 1 12192000"/>
                <a:gd name="f60" fmla="*/ f1 1 2148830"/>
                <a:gd name="f61" fmla="+- f4 0 f2"/>
                <a:gd name="f62" fmla="+- f3 0 f2"/>
                <a:gd name="f63" fmla="*/ f62 1 12192000"/>
                <a:gd name="f64" fmla="*/ f61 1 2148830"/>
                <a:gd name="f65" fmla="*/ f2 1 f63"/>
                <a:gd name="f66" fmla="*/ f3 1 f63"/>
                <a:gd name="f67" fmla="*/ f2 1 f64"/>
                <a:gd name="f68" fmla="*/ f4 1 f64"/>
                <a:gd name="f69" fmla="*/ f65 f59 1"/>
                <a:gd name="f70" fmla="*/ f66 f59 1"/>
                <a:gd name="f71" fmla="*/ f68 f60 1"/>
                <a:gd name="f72" fmla="*/ f67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9" t="f72" r="f70" b="f71"/>
              <a:pathLst>
                <a:path w="12192000" h="2148830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1468;p148">
              <a:extLst>
                <a:ext uri="{FF2B5EF4-FFF2-40B4-BE49-F238E27FC236}">
                  <a16:creationId xmlns:a16="http://schemas.microsoft.com/office/drawing/2014/main" id="{5F1E2A59-6CAD-9FB2-27CB-6A33716E9AF2}"/>
                </a:ext>
              </a:extLst>
            </p:cNvPr>
            <p:cNvSpPr/>
            <p:nvPr/>
          </p:nvSpPr>
          <p:spPr>
            <a:xfrm flipH="1">
              <a:off x="0" y="0"/>
              <a:ext cx="12191996" cy="19921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992138"/>
                <a:gd name="f5" fmla="val 2724271"/>
                <a:gd name="f6" fmla="val 1788442"/>
                <a:gd name="f7" fmla="val 1635403"/>
                <a:gd name="f8" fmla="val 12925"/>
                <a:gd name="f9" fmla="val 1134241"/>
                <a:gd name="f10" fmla="val 70905"/>
                <a:gd name="f11" fmla="val 647221"/>
                <a:gd name="f12" fmla="val 207817"/>
                <a:gd name="f13" fmla="val 178220"/>
                <a:gd name="f14" fmla="val 451207"/>
                <a:gd name="f15" fmla="val 552718"/>
                <a:gd name="f16" fmla="val 570885"/>
                <a:gd name="f17" fmla="val 195368"/>
                <a:gd name="f18" fmla="val 467800"/>
                <a:gd name="f19" fmla="val 765758"/>
                <a:gd name="f20" fmla="val 193094"/>
                <a:gd name="f21" fmla="val 1336955"/>
                <a:gd name="f22" fmla="val 73179"/>
                <a:gd name="f23" fmla="val 1934073"/>
                <a:gd name="f24" fmla="val 52850"/>
                <a:gd name="f25" fmla="val 2948304"/>
                <a:gd name="f26" fmla="val 18310"/>
                <a:gd name="f27" fmla="val 3878878"/>
                <a:gd name="f28" fmla="val 245747"/>
                <a:gd name="f29" fmla="val 4771217"/>
                <a:gd name="f30" fmla="val 543645"/>
                <a:gd name="f31" fmla="val 7236913"/>
                <a:gd name="f32" fmla="val 1366709"/>
                <a:gd name="f33" fmla="val 9199689"/>
                <a:gd name="f34" fmla="val 2357774"/>
                <a:gd name="f35" fmla="val 12007222"/>
                <a:gd name="f36" fmla="val 1856729"/>
                <a:gd name="f37" fmla="val 1820900"/>
                <a:gd name="f38" fmla="val 897073"/>
                <a:gd name="f39" fmla="val 12062517"/>
                <a:gd name="f40" fmla="val 950128"/>
                <a:gd name="f41" fmla="val 10950292"/>
                <a:gd name="f42" fmla="val 1376478"/>
                <a:gd name="f43" fmla="val 9595706"/>
                <a:gd name="f44" fmla="val 1466451"/>
                <a:gd name="f45" fmla="val 8435105"/>
                <a:gd name="f46" fmla="val 1266613"/>
                <a:gd name="f47" fmla="val 6618389"/>
                <a:gd name="f48" fmla="val 953715"/>
                <a:gd name="f49" fmla="val 4735222"/>
                <a:gd name="f50" fmla="val 130088"/>
                <a:gd name="f51" fmla="val 2948502"/>
                <a:gd name="f52" fmla="val 20548"/>
                <a:gd name="f53" fmla="*/ f0 1 12192000"/>
                <a:gd name="f54" fmla="*/ f1 1 1992138"/>
                <a:gd name="f55" fmla="+- f4 0 f2"/>
                <a:gd name="f56" fmla="+- f3 0 f2"/>
                <a:gd name="f57" fmla="*/ f56 1 12192000"/>
                <a:gd name="f58" fmla="*/ f55 1 1992138"/>
                <a:gd name="f59" fmla="*/ f2 1 f57"/>
                <a:gd name="f60" fmla="*/ f3 1 f57"/>
                <a:gd name="f61" fmla="*/ f2 1 f58"/>
                <a:gd name="f62" fmla="*/ f4 1 f58"/>
                <a:gd name="f63" fmla="*/ f59 f53 1"/>
                <a:gd name="f64" fmla="*/ f60 f53 1"/>
                <a:gd name="f65" fmla="*/ f62 f54 1"/>
                <a:gd name="f66" fmla="*/ f61 f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3" t="f66" r="f64" b="f65"/>
              <a:pathLst>
                <a:path w="12192000" h="1992138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lose/>
                </a:path>
              </a:pathLst>
            </a:custGeom>
            <a:solidFill>
              <a:srgbClr val="00498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sp>
        <p:nvSpPr>
          <p:cNvPr id="5" name="Google Shape;1469;p148">
            <a:extLst>
              <a:ext uri="{FF2B5EF4-FFF2-40B4-BE49-F238E27FC236}">
                <a16:creationId xmlns:a16="http://schemas.microsoft.com/office/drawing/2014/main" id="{E22AF6CD-4C13-29AE-3248-30995FC43120}"/>
              </a:ext>
            </a:extLst>
          </p:cNvPr>
          <p:cNvSpPr/>
          <p:nvPr/>
        </p:nvSpPr>
        <p:spPr>
          <a:xfrm>
            <a:off x="902366" y="1517693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6" name="Google Shape;1470;p148">
            <a:extLst>
              <a:ext uri="{FF2B5EF4-FFF2-40B4-BE49-F238E27FC236}">
                <a16:creationId xmlns:a16="http://schemas.microsoft.com/office/drawing/2014/main" id="{B2772247-D7EF-A8CD-0A3E-12EC021E7BD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219196" y="3429000"/>
            <a:ext cx="5582649" cy="1413561"/>
          </a:xfrm>
        </p:spPr>
        <p:txBody>
          <a:bodyPr/>
          <a:lstStyle>
            <a:lvl1pPr indent="-228600">
              <a:buNone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7" name="Google Shape;1471;p148">
            <a:extLst>
              <a:ext uri="{FF2B5EF4-FFF2-40B4-BE49-F238E27FC236}">
                <a16:creationId xmlns:a16="http://schemas.microsoft.com/office/drawing/2014/main" id="{9F0504D7-5C51-9B2D-E689-9D78D154BB1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19196" y="1887486"/>
            <a:ext cx="5582649" cy="1078260"/>
          </a:xfrm>
        </p:spPr>
        <p:txBody>
          <a:bodyPr/>
          <a:lstStyle>
            <a:lvl1pPr>
              <a:defRPr sz="6000"/>
            </a:lvl1pPr>
          </a:lstStyle>
          <a:p>
            <a:pPr lvl="0"/>
            <a:endParaRPr lang="en-US"/>
          </a:p>
        </p:txBody>
      </p:sp>
      <p:pic>
        <p:nvPicPr>
          <p:cNvPr id="8" name="Google Shape;1472;p148">
            <a:extLst>
              <a:ext uri="{FF2B5EF4-FFF2-40B4-BE49-F238E27FC236}">
                <a16:creationId xmlns:a16="http://schemas.microsoft.com/office/drawing/2014/main" id="{2D77E85D-C81B-DAC8-7606-53C0EF128BFD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902366" y="228371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4130015245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475;p149">
            <a:extLst>
              <a:ext uri="{FF2B5EF4-FFF2-40B4-BE49-F238E27FC236}">
                <a16:creationId xmlns:a16="http://schemas.microsoft.com/office/drawing/2014/main" id="{EF98DD4C-C3E2-76CE-DFFF-D15E2CC502F2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42382940-EFEE-4D4F-82E8-E871306A1C7E}" type="slidenum">
              <a:t>‹#›</a:t>
            </a:fld>
            <a:endParaRPr lang="en-US"/>
          </a:p>
        </p:txBody>
      </p:sp>
      <p:cxnSp>
        <p:nvCxnSpPr>
          <p:cNvPr id="3" name="Google Shape;1476;p149">
            <a:extLst>
              <a:ext uri="{FF2B5EF4-FFF2-40B4-BE49-F238E27FC236}">
                <a16:creationId xmlns:a16="http://schemas.microsoft.com/office/drawing/2014/main" id="{4B4B22B3-D66C-2348-A823-123B2EFB11AE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4" name="Google Shape;1477;p149">
            <a:extLst>
              <a:ext uri="{FF2B5EF4-FFF2-40B4-BE49-F238E27FC236}">
                <a16:creationId xmlns:a16="http://schemas.microsoft.com/office/drawing/2014/main" id="{E87CF08C-3CF5-375E-1AC9-80B074BD6577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1478;p149">
            <a:extLst>
              <a:ext uri="{FF2B5EF4-FFF2-40B4-BE49-F238E27FC236}">
                <a16:creationId xmlns:a16="http://schemas.microsoft.com/office/drawing/2014/main" id="{31112173-88DE-DAD6-4E8F-24A80CB12783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6" name="Google Shape;1479;p149">
              <a:extLst>
                <a:ext uri="{FF2B5EF4-FFF2-40B4-BE49-F238E27FC236}">
                  <a16:creationId xmlns:a16="http://schemas.microsoft.com/office/drawing/2014/main" id="{79BFD568-2EDE-2D82-0240-A3DB8439A50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7" name="Google Shape;1480;p149">
              <a:extLst>
                <a:ext uri="{FF2B5EF4-FFF2-40B4-BE49-F238E27FC236}">
                  <a16:creationId xmlns:a16="http://schemas.microsoft.com/office/drawing/2014/main" id="{7FB613F7-C63C-E61A-5E63-CBA9BA11B084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8" name="Google Shape;1481;p149">
                <a:extLst>
                  <a:ext uri="{FF2B5EF4-FFF2-40B4-BE49-F238E27FC236}">
                    <a16:creationId xmlns:a16="http://schemas.microsoft.com/office/drawing/2014/main" id="{92B7FD00-B670-DBA5-1F87-AF623A6B2779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9" name="Google Shape;1482;p149">
                <a:extLst>
                  <a:ext uri="{FF2B5EF4-FFF2-40B4-BE49-F238E27FC236}">
                    <a16:creationId xmlns:a16="http://schemas.microsoft.com/office/drawing/2014/main" id="{6636B20D-663F-91A8-456A-E74CFD3D9AF0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98767683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484;p150">
            <a:extLst>
              <a:ext uri="{FF2B5EF4-FFF2-40B4-BE49-F238E27FC236}">
                <a16:creationId xmlns:a16="http://schemas.microsoft.com/office/drawing/2014/main" id="{15382FA6-DB55-F787-554A-36D866A34D62}"/>
              </a:ext>
            </a:extLst>
          </p:cNvPr>
          <p:cNvSpPr/>
          <p:nvPr/>
        </p:nvSpPr>
        <p:spPr>
          <a:xfrm>
            <a:off x="902366" y="1294415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485;p150">
            <a:extLst>
              <a:ext uri="{FF2B5EF4-FFF2-40B4-BE49-F238E27FC236}">
                <a16:creationId xmlns:a16="http://schemas.microsoft.com/office/drawing/2014/main" id="{C1F5367F-BDE4-8E3C-D86A-D53166B409D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1561328"/>
            <a:ext cx="5194432" cy="1826340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486;p150">
            <a:extLst>
              <a:ext uri="{FF2B5EF4-FFF2-40B4-BE49-F238E27FC236}">
                <a16:creationId xmlns:a16="http://schemas.microsoft.com/office/drawing/2014/main" id="{5E48E29A-528C-36FF-CCA5-4CC45AAC3749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766861"/>
            <a:ext cx="5194432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1488;p150">
            <a:extLst>
              <a:ext uri="{FF2B5EF4-FFF2-40B4-BE49-F238E27FC236}">
                <a16:creationId xmlns:a16="http://schemas.microsoft.com/office/drawing/2014/main" id="{B1A1FA90-074E-B64D-2F53-D4B83E490FAE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6" name="Google Shape;1489;p150">
              <a:extLst>
                <a:ext uri="{FF2B5EF4-FFF2-40B4-BE49-F238E27FC236}">
                  <a16:creationId xmlns:a16="http://schemas.microsoft.com/office/drawing/2014/main" id="{3D8E66A4-DCE7-EC99-405B-356311DB74E1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7" name="Google Shape;1490;p150">
              <a:extLst>
                <a:ext uri="{FF2B5EF4-FFF2-40B4-BE49-F238E27FC236}">
                  <a16:creationId xmlns:a16="http://schemas.microsoft.com/office/drawing/2014/main" id="{4D55F330-D159-D718-A213-F5A1F0D035B9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8" name="Google Shape;1491;p150">
              <a:extLst>
                <a:ext uri="{FF2B5EF4-FFF2-40B4-BE49-F238E27FC236}">
                  <a16:creationId xmlns:a16="http://schemas.microsoft.com/office/drawing/2014/main" id="{53B098F4-40C6-866E-4F2A-8B1577AF3F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70424209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09674800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493;p151">
            <a:extLst>
              <a:ext uri="{FF2B5EF4-FFF2-40B4-BE49-F238E27FC236}">
                <a16:creationId xmlns:a16="http://schemas.microsoft.com/office/drawing/2014/main" id="{BE0F8A29-44B8-991B-DA4E-110E460886E4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3" name="Google Shape;1494;p151">
              <a:extLst>
                <a:ext uri="{FF2B5EF4-FFF2-40B4-BE49-F238E27FC236}">
                  <a16:creationId xmlns:a16="http://schemas.microsoft.com/office/drawing/2014/main" id="{948B4696-0A99-8631-3822-1531627DD3B7}"/>
                </a:ext>
              </a:extLst>
            </p:cNvPr>
            <p:cNvSpPr/>
            <p:nvPr/>
          </p:nvSpPr>
          <p:spPr>
            <a:xfrm>
              <a:off x="0" y="5100267"/>
              <a:ext cx="7111371" cy="175773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111369"/>
                <a:gd name="f4" fmla="val 1757730"/>
                <a:gd name="f5" fmla="val 772954"/>
                <a:gd name="f6" fmla="val 2778"/>
                <a:gd name="f7" fmla="val 1769038"/>
                <a:gd name="f8" fmla="val 30799"/>
                <a:gd name="f9" fmla="val 2696750"/>
                <a:gd name="f10" fmla="val 267531"/>
                <a:gd name="f11" fmla="val 3590934"/>
                <a:gd name="f12" fmla="val 566046"/>
                <a:gd name="f13" fmla="val 4684008"/>
                <a:gd name="f14" fmla="val 930921"/>
                <a:gd name="f15" fmla="val 5690778"/>
                <a:gd name="f16" fmla="val 1324625"/>
                <a:gd name="f17" fmla="val 6700767"/>
                <a:gd name="f18" fmla="val 1636882"/>
                <a:gd name="f19" fmla="val 25690"/>
                <a:gd name="f20" fmla="val 2197"/>
                <a:gd name="f21" fmla="val 25414"/>
                <a:gd name="f22" fmla="val 114653"/>
                <a:gd name="f23" fmla="val 14905"/>
                <a:gd name="f24" fmla="val 227801"/>
                <a:gd name="f25" fmla="val 7857"/>
                <a:gd name="f26" fmla="val 341773"/>
                <a:gd name="f27" fmla="val 3976"/>
                <a:gd name="f28" fmla="val 486963"/>
                <a:gd name="f29" fmla="+- 0 0 968"/>
                <a:gd name="f30" fmla="val 630656"/>
                <a:gd name="f31" fmla="+- 0 0 1224"/>
                <a:gd name="f32" fmla="*/ f0 1 7111369"/>
                <a:gd name="f33" fmla="*/ f1 1 1757730"/>
                <a:gd name="f34" fmla="+- f4 0 f2"/>
                <a:gd name="f35" fmla="+- f3 0 f2"/>
                <a:gd name="f36" fmla="*/ f35 1 7111369"/>
                <a:gd name="f37" fmla="*/ f34 1 1757730"/>
                <a:gd name="f38" fmla="*/ f2 1 f36"/>
                <a:gd name="f39" fmla="*/ f3 1 f36"/>
                <a:gd name="f40" fmla="*/ f2 1 f37"/>
                <a:gd name="f41" fmla="*/ f4 1 f37"/>
                <a:gd name="f42" fmla="*/ f38 f32 1"/>
                <a:gd name="f43" fmla="*/ f39 f32 1"/>
                <a:gd name="f44" fmla="*/ f41 f33 1"/>
                <a:gd name="f45" fmla="*/ f40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2" t="f45" r="f43" b="f44"/>
              <a:pathLst>
                <a:path w="7111369" h="1757730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4"/>
                  </a:lnTo>
                  <a:lnTo>
                    <a:pt x="f2" y="f4"/>
                  </a:lnTo>
                  <a:lnTo>
                    <a:pt x="f2" y="f19"/>
                  </a:lnTo>
                  <a:lnTo>
                    <a:pt x="f20" y="f21"/>
                  </a:ln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5" y="f6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1495;p151">
              <a:extLst>
                <a:ext uri="{FF2B5EF4-FFF2-40B4-BE49-F238E27FC236}">
                  <a16:creationId xmlns:a16="http://schemas.microsoft.com/office/drawing/2014/main" id="{38B1550E-99F3-BD22-43DE-D65212E13FD9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5" name="Google Shape;1496;p151">
              <a:extLst>
                <a:ext uri="{FF2B5EF4-FFF2-40B4-BE49-F238E27FC236}">
                  <a16:creationId xmlns:a16="http://schemas.microsoft.com/office/drawing/2014/main" id="{A10F656D-02C3-D4C4-4DDD-A55D499FC3A1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1497;p151">
              <a:extLst>
                <a:ext uri="{FF2B5EF4-FFF2-40B4-BE49-F238E27FC236}">
                  <a16:creationId xmlns:a16="http://schemas.microsoft.com/office/drawing/2014/main" id="{D24F6096-F7EA-D8EE-D921-9FCEF0FCE7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7" name="Google Shape;1498;p151">
            <a:extLst>
              <a:ext uri="{FF2B5EF4-FFF2-40B4-BE49-F238E27FC236}">
                <a16:creationId xmlns:a16="http://schemas.microsoft.com/office/drawing/2014/main" id="{DFB685FC-3098-240A-42A5-E7194217089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701747"/>
            <a:ext cx="9365376" cy="2014679"/>
          </a:xfrm>
        </p:spPr>
        <p:txBody>
          <a:bodyPr anchor="b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499;p151">
            <a:extLst>
              <a:ext uri="{FF2B5EF4-FFF2-40B4-BE49-F238E27FC236}">
                <a16:creationId xmlns:a16="http://schemas.microsoft.com/office/drawing/2014/main" id="{4334F19F-DB8B-0EB0-1EEF-CDE501E67CA1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081637"/>
            <a:ext cx="9365376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544073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Sli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501;p152">
            <a:extLst>
              <a:ext uri="{FF2B5EF4-FFF2-40B4-BE49-F238E27FC236}">
                <a16:creationId xmlns:a16="http://schemas.microsoft.com/office/drawing/2014/main" id="{5B64F3E5-6D3A-23ED-3EE1-687EC4012D7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57200" y="1146255"/>
            <a:ext cx="2350172" cy="2971800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cxnSp>
        <p:nvCxnSpPr>
          <p:cNvPr id="3" name="Google Shape;1502;p152">
            <a:extLst>
              <a:ext uri="{FF2B5EF4-FFF2-40B4-BE49-F238E27FC236}">
                <a16:creationId xmlns:a16="http://schemas.microsoft.com/office/drawing/2014/main" id="{C8B4D9D6-AC89-7327-C8FF-48C7A58BC831}"/>
              </a:ext>
            </a:extLst>
          </p:cNvPr>
          <p:cNvCxnSpPr/>
          <p:nvPr/>
        </p:nvCxnSpPr>
        <p:spPr>
          <a:xfrm>
            <a:off x="457200" y="947985"/>
            <a:ext cx="2350163" cy="0"/>
          </a:xfrm>
          <a:prstGeom prst="straightConnector1">
            <a:avLst/>
          </a:prstGeom>
          <a:noFill/>
          <a:ln w="31747" cap="flat">
            <a:solidFill>
              <a:srgbClr val="F58366"/>
            </a:solidFill>
            <a:prstDash val="solid"/>
            <a:miter/>
          </a:ln>
        </p:spPr>
      </p:cxnSp>
      <p:grpSp>
        <p:nvGrpSpPr>
          <p:cNvPr id="4" name="Google Shape;1503;p152">
            <a:extLst>
              <a:ext uri="{FF2B5EF4-FFF2-40B4-BE49-F238E27FC236}">
                <a16:creationId xmlns:a16="http://schemas.microsoft.com/office/drawing/2014/main" id="{29753CB5-0551-7D41-EED8-9F9E436F93F5}"/>
              </a:ext>
            </a:extLst>
          </p:cNvPr>
          <p:cNvGrpSpPr/>
          <p:nvPr/>
        </p:nvGrpSpPr>
        <p:grpSpPr>
          <a:xfrm>
            <a:off x="0" y="5379424"/>
            <a:ext cx="2807363" cy="753895"/>
            <a:chOff x="0" y="5379424"/>
            <a:chExt cx="2807363" cy="753895"/>
          </a:xfrm>
        </p:grpSpPr>
        <p:sp>
          <p:nvSpPr>
            <p:cNvPr id="5" name="Google Shape;1504;p152">
              <a:extLst>
                <a:ext uri="{FF2B5EF4-FFF2-40B4-BE49-F238E27FC236}">
                  <a16:creationId xmlns:a16="http://schemas.microsoft.com/office/drawing/2014/main" id="{0A0A7F49-B29B-0D1B-7398-FF76A1C8B6F4}"/>
                </a:ext>
              </a:extLst>
            </p:cNvPr>
            <p:cNvSpPr/>
            <p:nvPr/>
          </p:nvSpPr>
          <p:spPr>
            <a:xfrm>
              <a:off x="0" y="5532513"/>
              <a:ext cx="2807363" cy="60080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00807"/>
                <a:gd name="f5" fmla="val 429971"/>
                <a:gd name="f6" fmla="val 123998"/>
                <a:gd name="f7" fmla="val 1184765"/>
                <a:gd name="f8" fmla="val 325331"/>
                <a:gd name="f9" fmla="val 2014184"/>
                <a:gd name="f10" fmla="val 392492"/>
                <a:gd name="f11" fmla="val 2790212"/>
                <a:gd name="f12" fmla="val 235402"/>
                <a:gd name="f13" fmla="val 231522"/>
                <a:gd name="f14" fmla="val 566106"/>
                <a:gd name="f15" fmla="val 2593885"/>
                <a:gd name="f16" fmla="val 587498"/>
                <a:gd name="f17" fmla="val 1673646"/>
                <a:gd name="f18" fmla="val 651184"/>
                <a:gd name="f19" fmla="val 884869"/>
                <a:gd name="f20" fmla="val 479260"/>
                <a:gd name="f21" fmla="val 100844"/>
                <a:gd name="f22" fmla="val 222653"/>
                <a:gd name="f23" fmla="val 188389"/>
                <a:gd name="f24" fmla="*/ f0 1 2807368"/>
                <a:gd name="f25" fmla="*/ f1 1 600807"/>
                <a:gd name="f26" fmla="+- f4 0 f2"/>
                <a:gd name="f27" fmla="+- f3 0 f2"/>
                <a:gd name="f28" fmla="*/ f27 1 2807368"/>
                <a:gd name="f29" fmla="*/ f26 1 600807"/>
                <a:gd name="f30" fmla="*/ f2 1 f28"/>
                <a:gd name="f31" fmla="*/ f3 1 f28"/>
                <a:gd name="f32" fmla="*/ f2 1 f29"/>
                <a:gd name="f33" fmla="*/ f4 1 f29"/>
                <a:gd name="f34" fmla="*/ f30 f24 1"/>
                <a:gd name="f35" fmla="*/ f31 f24 1"/>
                <a:gd name="f36" fmla="*/ f33 f25 1"/>
                <a:gd name="f37" fmla="*/ f32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37" r="f35" b="f36"/>
              <a:pathLst>
                <a:path w="2807368" h="600807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lnTo>
                    <a:pt x="f3" y="f13"/>
                  </a:lnTo>
                  <a:lnTo>
                    <a:pt x="f3" y="f14"/>
                  </a:lnTo>
                  <a:lnTo>
                    <a:pt x="f15" y="f16"/>
                  </a:lnTo>
                  <a:cubicBezTo>
                    <a:pt x="f17" y="f18"/>
                    <a:pt x="f19" y="f20"/>
                    <a:pt x="f21" y="f22"/>
                  </a:cubicBezTo>
                  <a:lnTo>
                    <a:pt x="f2" y="f23"/>
                  </a:ln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6" name="Google Shape;1505;p152">
              <a:extLst>
                <a:ext uri="{FF2B5EF4-FFF2-40B4-BE49-F238E27FC236}">
                  <a16:creationId xmlns:a16="http://schemas.microsoft.com/office/drawing/2014/main" id="{59F13ED2-9A6E-68F0-D6D0-43B3D36105A7}"/>
                </a:ext>
              </a:extLst>
            </p:cNvPr>
            <p:cNvSpPr/>
            <p:nvPr/>
          </p:nvSpPr>
          <p:spPr>
            <a:xfrm>
              <a:off x="0" y="5379424"/>
              <a:ext cx="2807363" cy="64980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49803"/>
                <a:gd name="f5" fmla="val 282676"/>
                <a:gd name="f6" fmla="val 70799"/>
                <a:gd name="f7" fmla="val 435964"/>
                <a:gd name="f8" fmla="val 106085"/>
                <a:gd name="f9" fmla="val 588770"/>
                <a:gd name="f10" fmla="val 137629"/>
                <a:gd name="f11" fmla="val 740881"/>
                <a:gd name="f12" fmla="val 163828"/>
                <a:gd name="f13" fmla="val 1362800"/>
                <a:gd name="f14" fmla="val 270912"/>
                <a:gd name="f15" fmla="val 2067879"/>
                <a:gd name="f16" fmla="val 253759"/>
                <a:gd name="f17" fmla="val 2706471"/>
                <a:gd name="f18" fmla="val 96397"/>
                <a:gd name="f19" fmla="val 67250"/>
                <a:gd name="f20" fmla="val 605551"/>
                <a:gd name="f21" fmla="val 2602685"/>
                <a:gd name="f22" fmla="val 629466"/>
                <a:gd name="f23" fmla="val 1684237"/>
                <a:gd name="f24" fmla="val 708219"/>
                <a:gd name="f25" fmla="val 893252"/>
                <a:gd name="f26" fmla="val 549395"/>
                <a:gd name="f27" fmla="val 105614"/>
                <a:gd name="f28" fmla="val 305882"/>
                <a:gd name="f29" fmla="val 271926"/>
                <a:gd name="f30" fmla="*/ f0 1 2807368"/>
                <a:gd name="f31" fmla="*/ f1 1 649803"/>
                <a:gd name="f32" fmla="+- f4 0 f2"/>
                <a:gd name="f33" fmla="+- f3 0 f2"/>
                <a:gd name="f34" fmla="*/ f33 1 2807368"/>
                <a:gd name="f35" fmla="*/ f32 1 649803"/>
                <a:gd name="f36" fmla="*/ f2 1 f34"/>
                <a:gd name="f37" fmla="*/ f3 1 f34"/>
                <a:gd name="f38" fmla="*/ f2 1 f35"/>
                <a:gd name="f39" fmla="*/ f4 1 f35"/>
                <a:gd name="f40" fmla="*/ f36 f30 1"/>
                <a:gd name="f41" fmla="*/ f37 f30 1"/>
                <a:gd name="f42" fmla="*/ f39 f31 1"/>
                <a:gd name="f43" fmla="*/ f3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2807368" h="649803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19"/>
                  </a:lnTo>
                  <a:lnTo>
                    <a:pt x="f3" y="f20"/>
                  </a:lnTo>
                  <a:lnTo>
                    <a:pt x="f21" y="f22"/>
                  </a:lnTo>
                  <a:cubicBezTo>
                    <a:pt x="f23" y="f24"/>
                    <a:pt x="f25" y="f26"/>
                    <a:pt x="f27" y="f28"/>
                  </a:cubicBezTo>
                  <a:lnTo>
                    <a:pt x="f2" y="f29"/>
                  </a:ln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pic>
        <p:nvPicPr>
          <p:cNvPr id="7" name="Google Shape;1507;p152">
            <a:extLst>
              <a:ext uri="{FF2B5EF4-FFF2-40B4-BE49-F238E27FC236}">
                <a16:creationId xmlns:a16="http://schemas.microsoft.com/office/drawing/2014/main" id="{9EA39F7B-FC89-B4D5-393B-9D59FAF787C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513344" y="4385535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4222815431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509;p153">
            <a:extLst>
              <a:ext uri="{FF2B5EF4-FFF2-40B4-BE49-F238E27FC236}">
                <a16:creationId xmlns:a16="http://schemas.microsoft.com/office/drawing/2014/main" id="{D0D94CD7-4747-1157-0F80-36C73A13A5C1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510;p153">
            <a:extLst>
              <a:ext uri="{FF2B5EF4-FFF2-40B4-BE49-F238E27FC236}">
                <a16:creationId xmlns:a16="http://schemas.microsoft.com/office/drawing/2014/main" id="{D5AAE1C2-FC85-FD65-979D-847A66E42CD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511;p153">
            <a:extLst>
              <a:ext uri="{FF2B5EF4-FFF2-40B4-BE49-F238E27FC236}">
                <a16:creationId xmlns:a16="http://schemas.microsoft.com/office/drawing/2014/main" id="{39211D0F-E321-BCED-0FAA-0D022FE122A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512;p153">
            <a:extLst>
              <a:ext uri="{FF2B5EF4-FFF2-40B4-BE49-F238E27FC236}">
                <a16:creationId xmlns:a16="http://schemas.microsoft.com/office/drawing/2014/main" id="{A4C08324-0179-0729-DA88-28D796ACD1D2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0E079577-CA74-4461-8B0B-1A8D28921637}" type="slidenum">
              <a:t>‹#›</a:t>
            </a:fld>
            <a:endParaRPr lang="en-US"/>
          </a:p>
        </p:txBody>
      </p:sp>
      <p:cxnSp>
        <p:nvCxnSpPr>
          <p:cNvPr id="6" name="Google Shape;1513;p153">
            <a:extLst>
              <a:ext uri="{FF2B5EF4-FFF2-40B4-BE49-F238E27FC236}">
                <a16:creationId xmlns:a16="http://schemas.microsoft.com/office/drawing/2014/main" id="{F2FCDB6C-B235-8F84-E047-12840E9291F6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514;p153">
            <a:extLst>
              <a:ext uri="{FF2B5EF4-FFF2-40B4-BE49-F238E27FC236}">
                <a16:creationId xmlns:a16="http://schemas.microsoft.com/office/drawing/2014/main" id="{FBE19653-25B3-69E7-0311-FE255EE3181C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1515;p153">
            <a:extLst>
              <a:ext uri="{FF2B5EF4-FFF2-40B4-BE49-F238E27FC236}">
                <a16:creationId xmlns:a16="http://schemas.microsoft.com/office/drawing/2014/main" id="{0610CB30-3597-7268-717D-66A87E1AF525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1516;p153">
              <a:extLst>
                <a:ext uri="{FF2B5EF4-FFF2-40B4-BE49-F238E27FC236}">
                  <a16:creationId xmlns:a16="http://schemas.microsoft.com/office/drawing/2014/main" id="{A910C704-236C-ADE1-08B5-434E4D0D35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1517;p153">
              <a:extLst>
                <a:ext uri="{FF2B5EF4-FFF2-40B4-BE49-F238E27FC236}">
                  <a16:creationId xmlns:a16="http://schemas.microsoft.com/office/drawing/2014/main" id="{69763FEE-82BB-BB3E-1EFB-3506D31D3A7D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1518;p153">
                <a:extLst>
                  <a:ext uri="{FF2B5EF4-FFF2-40B4-BE49-F238E27FC236}">
                    <a16:creationId xmlns:a16="http://schemas.microsoft.com/office/drawing/2014/main" id="{5591D2FA-A8E7-00EF-ECC8-5B7AC6A8FE20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1519;p153">
                <a:extLst>
                  <a:ext uri="{FF2B5EF4-FFF2-40B4-BE49-F238E27FC236}">
                    <a16:creationId xmlns:a16="http://schemas.microsoft.com/office/drawing/2014/main" id="{EF936A28-6B0F-B45F-71E6-0D656D9406AA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1520;p153" descr="Open quotation mark with solid fill">
            <a:extLst>
              <a:ext uri="{FF2B5EF4-FFF2-40B4-BE49-F238E27FC236}">
                <a16:creationId xmlns:a16="http://schemas.microsoft.com/office/drawing/2014/main" id="{F56F2F52-D8BD-767F-0841-A11159203F0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437011824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ation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509;p153">
            <a:extLst>
              <a:ext uri="{FF2B5EF4-FFF2-40B4-BE49-F238E27FC236}">
                <a16:creationId xmlns:a16="http://schemas.microsoft.com/office/drawing/2014/main" id="{4CADB8BD-4FC6-1774-72B0-E1521D7CA886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510;p153">
            <a:extLst>
              <a:ext uri="{FF2B5EF4-FFF2-40B4-BE49-F238E27FC236}">
                <a16:creationId xmlns:a16="http://schemas.microsoft.com/office/drawing/2014/main" id="{1FEA6537-9E30-D984-CB60-9B6C7F548BC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511;p153">
            <a:extLst>
              <a:ext uri="{FF2B5EF4-FFF2-40B4-BE49-F238E27FC236}">
                <a16:creationId xmlns:a16="http://schemas.microsoft.com/office/drawing/2014/main" id="{CC95E9A9-AA39-BC5F-E1B4-4EDCD42FE14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512;p153">
            <a:extLst>
              <a:ext uri="{FF2B5EF4-FFF2-40B4-BE49-F238E27FC236}">
                <a16:creationId xmlns:a16="http://schemas.microsoft.com/office/drawing/2014/main" id="{29499B39-CE98-D9E2-D979-77D1C49A9D8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777E21A9-3DFC-47E6-AA4B-26F2B65B9C95}" type="slidenum">
              <a:t>‹#›</a:t>
            </a:fld>
            <a:endParaRPr lang="en-US"/>
          </a:p>
        </p:txBody>
      </p:sp>
      <p:cxnSp>
        <p:nvCxnSpPr>
          <p:cNvPr id="6" name="Google Shape;1513;p153">
            <a:extLst>
              <a:ext uri="{FF2B5EF4-FFF2-40B4-BE49-F238E27FC236}">
                <a16:creationId xmlns:a16="http://schemas.microsoft.com/office/drawing/2014/main" id="{471880E0-871D-FFBE-9955-F1A1E45ED7F3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514;p153">
            <a:extLst>
              <a:ext uri="{FF2B5EF4-FFF2-40B4-BE49-F238E27FC236}">
                <a16:creationId xmlns:a16="http://schemas.microsoft.com/office/drawing/2014/main" id="{0F9E5401-A65E-B261-48A7-2DE19D7AA51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1515;p153">
            <a:extLst>
              <a:ext uri="{FF2B5EF4-FFF2-40B4-BE49-F238E27FC236}">
                <a16:creationId xmlns:a16="http://schemas.microsoft.com/office/drawing/2014/main" id="{701FFB2A-8C77-3D88-481C-961CD40ED803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1516;p153">
              <a:extLst>
                <a:ext uri="{FF2B5EF4-FFF2-40B4-BE49-F238E27FC236}">
                  <a16:creationId xmlns:a16="http://schemas.microsoft.com/office/drawing/2014/main" id="{487F979D-6812-2E76-64B5-1D667A59F99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1517;p153">
              <a:extLst>
                <a:ext uri="{FF2B5EF4-FFF2-40B4-BE49-F238E27FC236}">
                  <a16:creationId xmlns:a16="http://schemas.microsoft.com/office/drawing/2014/main" id="{468DB5DD-1F5B-ED87-1E2C-1858155C8F06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1518;p153">
                <a:extLst>
                  <a:ext uri="{FF2B5EF4-FFF2-40B4-BE49-F238E27FC236}">
                    <a16:creationId xmlns:a16="http://schemas.microsoft.com/office/drawing/2014/main" id="{29260D48-9BE4-2FD7-DBF0-CDF143BEFE75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1519;p153">
                <a:extLst>
                  <a:ext uri="{FF2B5EF4-FFF2-40B4-BE49-F238E27FC236}">
                    <a16:creationId xmlns:a16="http://schemas.microsoft.com/office/drawing/2014/main" id="{D695EF44-A54D-9033-7509-43157F3A108C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1520;p153" descr="Open quotation mark with solid fill">
            <a:extLst>
              <a:ext uri="{FF2B5EF4-FFF2-40B4-BE49-F238E27FC236}">
                <a16:creationId xmlns:a16="http://schemas.microsoft.com/office/drawing/2014/main" id="{EE9AF3EE-AC14-D09A-29E2-4CD9DC0611B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202998467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522;p154">
            <a:extLst>
              <a:ext uri="{FF2B5EF4-FFF2-40B4-BE49-F238E27FC236}">
                <a16:creationId xmlns:a16="http://schemas.microsoft.com/office/drawing/2014/main" id="{AF6593CD-C045-4F18-C2E9-693485FF38FD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523;p154">
              <a:extLst>
                <a:ext uri="{FF2B5EF4-FFF2-40B4-BE49-F238E27FC236}">
                  <a16:creationId xmlns:a16="http://schemas.microsoft.com/office/drawing/2014/main" id="{3875AFCB-EEA2-6AAF-64B1-3B7F22B8776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524;p154">
              <a:extLst>
                <a:ext uri="{FF2B5EF4-FFF2-40B4-BE49-F238E27FC236}">
                  <a16:creationId xmlns:a16="http://schemas.microsoft.com/office/drawing/2014/main" id="{300E8EBC-9CEC-4E69-BDA4-ABA9A3C50850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525;p154">
                <a:extLst>
                  <a:ext uri="{FF2B5EF4-FFF2-40B4-BE49-F238E27FC236}">
                    <a16:creationId xmlns:a16="http://schemas.microsoft.com/office/drawing/2014/main" id="{8AF2A7F5-2CD9-CFE7-F218-979F2302A3D6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526;p154">
                <a:extLst>
                  <a:ext uri="{FF2B5EF4-FFF2-40B4-BE49-F238E27FC236}">
                    <a16:creationId xmlns:a16="http://schemas.microsoft.com/office/drawing/2014/main" id="{1418CD47-3722-8BFB-651A-432EB043459F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527;p154">
            <a:extLst>
              <a:ext uri="{FF2B5EF4-FFF2-40B4-BE49-F238E27FC236}">
                <a16:creationId xmlns:a16="http://schemas.microsoft.com/office/drawing/2014/main" id="{7FBA386B-C480-1EB8-0E8E-0B44502397BD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528;p154">
            <a:extLst>
              <a:ext uri="{FF2B5EF4-FFF2-40B4-BE49-F238E27FC236}">
                <a16:creationId xmlns:a16="http://schemas.microsoft.com/office/drawing/2014/main" id="{10917397-C39C-5A63-91CE-3952F55D2A5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/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9" name="Google Shape;1529;p154">
            <a:extLst>
              <a:ext uri="{FF2B5EF4-FFF2-40B4-BE49-F238E27FC236}">
                <a16:creationId xmlns:a16="http://schemas.microsoft.com/office/drawing/2014/main" id="{372ED2A2-30F8-BFB7-9B2A-72A2BD2874B4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21A218FB-09F2-47EE-89D9-F4FBF068BD05}" type="slidenum">
              <a:t>‹#›</a:t>
            </a:fld>
            <a:endParaRPr lang="en-US"/>
          </a:p>
        </p:txBody>
      </p:sp>
      <p:cxnSp>
        <p:nvCxnSpPr>
          <p:cNvPr id="10" name="Google Shape;1530;p154">
            <a:extLst>
              <a:ext uri="{FF2B5EF4-FFF2-40B4-BE49-F238E27FC236}">
                <a16:creationId xmlns:a16="http://schemas.microsoft.com/office/drawing/2014/main" id="{F47B2EF6-066C-217F-6C48-9B31B4F9CAE2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1" name="Google Shape;1531;p154">
            <a:extLst>
              <a:ext uri="{FF2B5EF4-FFF2-40B4-BE49-F238E27FC236}">
                <a16:creationId xmlns:a16="http://schemas.microsoft.com/office/drawing/2014/main" id="{E824DDEA-75EF-F877-B7C3-E3B31DF80820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407898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533;p155">
            <a:extLst>
              <a:ext uri="{FF2B5EF4-FFF2-40B4-BE49-F238E27FC236}">
                <a16:creationId xmlns:a16="http://schemas.microsoft.com/office/drawing/2014/main" id="{DB3DC8CE-D019-F56D-815F-7DD8ACB1AEF8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3" name="Google Shape;1534;p155">
            <a:extLst>
              <a:ext uri="{FF2B5EF4-FFF2-40B4-BE49-F238E27FC236}">
                <a16:creationId xmlns:a16="http://schemas.microsoft.com/office/drawing/2014/main" id="{5E3A036C-28A1-1423-6699-C3C0F93F4E3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grpSp>
        <p:nvGrpSpPr>
          <p:cNvPr id="4" name="Google Shape;1535;p155">
            <a:extLst>
              <a:ext uri="{FF2B5EF4-FFF2-40B4-BE49-F238E27FC236}">
                <a16:creationId xmlns:a16="http://schemas.microsoft.com/office/drawing/2014/main" id="{CEBF0CD9-C7CC-EFE9-FE43-A2D68A677D40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5" name="Google Shape;1536;p155">
              <a:extLst>
                <a:ext uri="{FF2B5EF4-FFF2-40B4-BE49-F238E27FC236}">
                  <a16:creationId xmlns:a16="http://schemas.microsoft.com/office/drawing/2014/main" id="{7724E092-19C1-E38B-5BCE-CBB3CD8CB4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6" name="Google Shape;1537;p155">
              <a:extLst>
                <a:ext uri="{FF2B5EF4-FFF2-40B4-BE49-F238E27FC236}">
                  <a16:creationId xmlns:a16="http://schemas.microsoft.com/office/drawing/2014/main" id="{2D11FA26-DDEB-D586-911C-9116BC146063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7" name="Google Shape;1538;p155">
                <a:extLst>
                  <a:ext uri="{FF2B5EF4-FFF2-40B4-BE49-F238E27FC236}">
                    <a16:creationId xmlns:a16="http://schemas.microsoft.com/office/drawing/2014/main" id="{714D7ED3-C022-EB29-BA66-587B49A73C9D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8" name="Google Shape;1539;p155">
                <a:extLst>
                  <a:ext uri="{FF2B5EF4-FFF2-40B4-BE49-F238E27FC236}">
                    <a16:creationId xmlns:a16="http://schemas.microsoft.com/office/drawing/2014/main" id="{9ECFEACD-26BB-2784-7215-57D2AE9937EC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9" name="Google Shape;1540;p155">
            <a:extLst>
              <a:ext uri="{FF2B5EF4-FFF2-40B4-BE49-F238E27FC236}">
                <a16:creationId xmlns:a16="http://schemas.microsoft.com/office/drawing/2014/main" id="{95397BDD-4704-1DE5-5F43-CEF0D5B71BD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Google Shape;1541;p155">
            <a:extLst>
              <a:ext uri="{FF2B5EF4-FFF2-40B4-BE49-F238E27FC236}">
                <a16:creationId xmlns:a16="http://schemas.microsoft.com/office/drawing/2014/main" id="{B675B5A9-641E-8652-BD3F-23AE684840F3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8839193" y="6356351"/>
            <a:ext cx="2743200" cy="365129"/>
          </a:xfrm>
        </p:spPr>
        <p:txBody>
          <a:bodyPr/>
          <a:lstStyle>
            <a:lvl1pPr>
              <a:defRPr/>
            </a:lvl1pPr>
          </a:lstStyle>
          <a:p>
            <a:pPr lvl="0"/>
            <a:fld id="{3C7140F3-C8B7-401C-AB83-885325ED9A31}" type="slidenum">
              <a:t>‹#›</a:t>
            </a:fld>
            <a:endParaRPr lang="en-US"/>
          </a:p>
        </p:txBody>
      </p:sp>
      <p:cxnSp>
        <p:nvCxnSpPr>
          <p:cNvPr id="11" name="Google Shape;1542;p155">
            <a:extLst>
              <a:ext uri="{FF2B5EF4-FFF2-40B4-BE49-F238E27FC236}">
                <a16:creationId xmlns:a16="http://schemas.microsoft.com/office/drawing/2014/main" id="{1400EB8E-AF8B-DD29-2EC5-E34F2237664D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2" name="Google Shape;1543;p155">
            <a:extLst>
              <a:ext uri="{FF2B5EF4-FFF2-40B4-BE49-F238E27FC236}">
                <a16:creationId xmlns:a16="http://schemas.microsoft.com/office/drawing/2014/main" id="{3E50D539-ED1B-5B7E-848C-9EE1722268B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006564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545;p156">
            <a:extLst>
              <a:ext uri="{FF2B5EF4-FFF2-40B4-BE49-F238E27FC236}">
                <a16:creationId xmlns:a16="http://schemas.microsoft.com/office/drawing/2014/main" id="{5FE73B97-9623-5358-446E-B2E3853B9443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546;p156">
              <a:extLst>
                <a:ext uri="{FF2B5EF4-FFF2-40B4-BE49-F238E27FC236}">
                  <a16:creationId xmlns:a16="http://schemas.microsoft.com/office/drawing/2014/main" id="{D827D1C0-C3C6-A068-59F1-40637078E6F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547;p156">
              <a:extLst>
                <a:ext uri="{FF2B5EF4-FFF2-40B4-BE49-F238E27FC236}">
                  <a16:creationId xmlns:a16="http://schemas.microsoft.com/office/drawing/2014/main" id="{ACF07B0E-DB88-000D-BD99-9C4C4C661B93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548;p156">
                <a:extLst>
                  <a:ext uri="{FF2B5EF4-FFF2-40B4-BE49-F238E27FC236}">
                    <a16:creationId xmlns:a16="http://schemas.microsoft.com/office/drawing/2014/main" id="{373B5B7E-C40B-378C-1C87-0B74CF75AE47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549;p156">
                <a:extLst>
                  <a:ext uri="{FF2B5EF4-FFF2-40B4-BE49-F238E27FC236}">
                    <a16:creationId xmlns:a16="http://schemas.microsoft.com/office/drawing/2014/main" id="{FAF573CE-47FC-EA22-9F8E-2129B0E4CC81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550;p156">
            <a:extLst>
              <a:ext uri="{FF2B5EF4-FFF2-40B4-BE49-F238E27FC236}">
                <a16:creationId xmlns:a16="http://schemas.microsoft.com/office/drawing/2014/main" id="{C1E0893E-9C83-419B-3CC4-B93EFAC3541A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551;p156">
            <a:extLst>
              <a:ext uri="{FF2B5EF4-FFF2-40B4-BE49-F238E27FC236}">
                <a16:creationId xmlns:a16="http://schemas.microsoft.com/office/drawing/2014/main" id="{B1F455AC-DD6C-052B-D2A2-5797FD28BBC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681160"/>
            <a:ext cx="538797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9" name="Google Shape;1552;p156">
            <a:extLst>
              <a:ext uri="{FF2B5EF4-FFF2-40B4-BE49-F238E27FC236}">
                <a16:creationId xmlns:a16="http://schemas.microsoft.com/office/drawing/2014/main" id="{E753F7C8-F8C3-DD65-452B-6D939A05842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2505071"/>
            <a:ext cx="5387973" cy="3684583"/>
          </a:xfrm>
          <a:solidFill>
            <a:srgbClr val="F3F6FB"/>
          </a:solidFill>
        </p:spPr>
        <p:txBody>
          <a:bodyPr lIns="182870" tIns="0" rIns="182870" bIns="0">
            <a:normAutofit/>
          </a:bodyPr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0" name="Google Shape;1553;p156">
            <a:extLst>
              <a:ext uri="{FF2B5EF4-FFF2-40B4-BE49-F238E27FC236}">
                <a16:creationId xmlns:a16="http://schemas.microsoft.com/office/drawing/2014/main" id="{8E5CDBEF-31E8-5715-242A-DBC09443465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681160"/>
            <a:ext cx="541020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11" name="Google Shape;1554;p156">
            <a:extLst>
              <a:ext uri="{FF2B5EF4-FFF2-40B4-BE49-F238E27FC236}">
                <a16:creationId xmlns:a16="http://schemas.microsoft.com/office/drawing/2014/main" id="{63DD061A-7AA5-DCD3-B88F-FBC231F851F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2505071"/>
            <a:ext cx="5410203" cy="3684583"/>
          </a:xfrm>
          <a:solidFill>
            <a:srgbClr val="F3F6FB"/>
          </a:solidFill>
        </p:spPr>
        <p:txBody>
          <a:bodyPr lIns="182870" tIns="0" rIns="182870" bIns="0"/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2" name="Google Shape;1555;p156">
            <a:extLst>
              <a:ext uri="{FF2B5EF4-FFF2-40B4-BE49-F238E27FC236}">
                <a16:creationId xmlns:a16="http://schemas.microsoft.com/office/drawing/2014/main" id="{2300ED9C-10A5-7E50-3FEF-C09DC85B78F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C3724664-B33B-438A-AE33-AFE330B6052B}" type="slidenum">
              <a:t>‹#›</a:t>
            </a:fld>
            <a:endParaRPr lang="en-US"/>
          </a:p>
        </p:txBody>
      </p:sp>
      <p:cxnSp>
        <p:nvCxnSpPr>
          <p:cNvPr id="13" name="Google Shape;1556;p156">
            <a:extLst>
              <a:ext uri="{FF2B5EF4-FFF2-40B4-BE49-F238E27FC236}">
                <a16:creationId xmlns:a16="http://schemas.microsoft.com/office/drawing/2014/main" id="{2DA8C8E8-AFB6-9ED5-29DE-92C2F45641B8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4" name="Google Shape;1557;p156">
            <a:extLst>
              <a:ext uri="{FF2B5EF4-FFF2-40B4-BE49-F238E27FC236}">
                <a16:creationId xmlns:a16="http://schemas.microsoft.com/office/drawing/2014/main" id="{D23E1ED7-3F2F-B0AA-9254-3A86E285259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818064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559;p157">
            <a:extLst>
              <a:ext uri="{FF2B5EF4-FFF2-40B4-BE49-F238E27FC236}">
                <a16:creationId xmlns:a16="http://schemas.microsoft.com/office/drawing/2014/main" id="{F01C3DA2-36CE-E2D4-1F43-49848F02F63A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560;p157">
              <a:extLst>
                <a:ext uri="{FF2B5EF4-FFF2-40B4-BE49-F238E27FC236}">
                  <a16:creationId xmlns:a16="http://schemas.microsoft.com/office/drawing/2014/main" id="{10BA8776-7968-56E8-F757-5A4A75999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561;p157">
              <a:extLst>
                <a:ext uri="{FF2B5EF4-FFF2-40B4-BE49-F238E27FC236}">
                  <a16:creationId xmlns:a16="http://schemas.microsoft.com/office/drawing/2014/main" id="{492BC522-3631-AC9D-5C66-5AB775022014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562;p157">
                <a:extLst>
                  <a:ext uri="{FF2B5EF4-FFF2-40B4-BE49-F238E27FC236}">
                    <a16:creationId xmlns:a16="http://schemas.microsoft.com/office/drawing/2014/main" id="{4B59F376-F271-EFF7-487A-73AC32F09108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563;p157">
                <a:extLst>
                  <a:ext uri="{FF2B5EF4-FFF2-40B4-BE49-F238E27FC236}">
                    <a16:creationId xmlns:a16="http://schemas.microsoft.com/office/drawing/2014/main" id="{7E978940-274B-E200-101A-F65D0172E5C8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564;p157">
            <a:extLst>
              <a:ext uri="{FF2B5EF4-FFF2-40B4-BE49-F238E27FC236}">
                <a16:creationId xmlns:a16="http://schemas.microsoft.com/office/drawing/2014/main" id="{2FEA130B-EB3F-ABB3-D198-2DE78EA89A2C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565;p157">
            <a:extLst>
              <a:ext uri="{FF2B5EF4-FFF2-40B4-BE49-F238E27FC236}">
                <a16:creationId xmlns:a16="http://schemas.microsoft.com/office/drawing/2014/main" id="{14406B7A-242F-DEF0-9AAC-2D8D442A19E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B3FC6FC4-45A2-4627-985C-CE8A8F4B089C}" type="slidenum">
              <a:t>‹#›</a:t>
            </a:fld>
            <a:endParaRPr lang="en-US"/>
          </a:p>
        </p:txBody>
      </p:sp>
      <p:cxnSp>
        <p:nvCxnSpPr>
          <p:cNvPr id="9" name="Google Shape;1566;p157">
            <a:extLst>
              <a:ext uri="{FF2B5EF4-FFF2-40B4-BE49-F238E27FC236}">
                <a16:creationId xmlns:a16="http://schemas.microsoft.com/office/drawing/2014/main" id="{7E808049-414E-A37F-9E65-3729299EA7C5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0" name="Google Shape;1567;p157">
            <a:extLst>
              <a:ext uri="{FF2B5EF4-FFF2-40B4-BE49-F238E27FC236}">
                <a16:creationId xmlns:a16="http://schemas.microsoft.com/office/drawing/2014/main" id="{5C1A8ECA-2AA5-755E-406C-49A3B5982E23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242836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569;p158">
            <a:extLst>
              <a:ext uri="{FF2B5EF4-FFF2-40B4-BE49-F238E27FC236}">
                <a16:creationId xmlns:a16="http://schemas.microsoft.com/office/drawing/2014/main" id="{1013BB3D-D00C-4303-CB23-20AA271366A4}"/>
              </a:ext>
            </a:extLst>
          </p:cNvPr>
          <p:cNvGrpSpPr/>
          <p:nvPr/>
        </p:nvGrpSpPr>
        <p:grpSpPr>
          <a:xfrm>
            <a:off x="0" y="0"/>
            <a:ext cx="12191996" cy="2148830"/>
            <a:chOff x="0" y="0"/>
            <a:chExt cx="12191996" cy="2148830"/>
          </a:xfrm>
        </p:grpSpPr>
        <p:sp>
          <p:nvSpPr>
            <p:cNvPr id="3" name="Google Shape;1570;p158">
              <a:extLst>
                <a:ext uri="{FF2B5EF4-FFF2-40B4-BE49-F238E27FC236}">
                  <a16:creationId xmlns:a16="http://schemas.microsoft.com/office/drawing/2014/main" id="{72CB055E-63DB-1AC8-9A78-9B3DBE44DBCC}"/>
                </a:ext>
              </a:extLst>
            </p:cNvPr>
            <p:cNvSpPr/>
            <p:nvPr/>
          </p:nvSpPr>
          <p:spPr>
            <a:xfrm flipH="1">
              <a:off x="0" y="0"/>
              <a:ext cx="12191996" cy="214883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2148830"/>
                <a:gd name="f5" fmla="val 2318293"/>
                <a:gd name="f6" fmla="val 2110341"/>
                <a:gd name="f7" fmla="val 1952334"/>
                <a:gd name="f8" fmla="val 920"/>
                <a:gd name="f9" fmla="val 1343499"/>
                <a:gd name="f10" fmla="val 23864"/>
                <a:gd name="f11" fmla="val 752130"/>
                <a:gd name="f12" fmla="val 152982"/>
                <a:gd name="f13" fmla="val 184205"/>
                <a:gd name="f14" fmla="val 435928"/>
                <a:gd name="f15" fmla="val 536864"/>
                <a:gd name="f16" fmla="val 554713"/>
                <a:gd name="f17" fmla="val 201115"/>
                <a:gd name="f18" fmla="val 452796"/>
                <a:gd name="f19" fmla="val 776357"/>
                <a:gd name="f20" fmla="val 187336"/>
                <a:gd name="f21" fmla="val 1349828"/>
                <a:gd name="f22" fmla="val 76760"/>
                <a:gd name="f23" fmla="val 1947588"/>
                <a:gd name="f24" fmla="val 66249"/>
                <a:gd name="f25" fmla="val 2962940"/>
                <a:gd name="f26" fmla="val 48421"/>
                <a:gd name="f27" fmla="val 3890218"/>
                <a:gd name="f28" fmla="val 291317"/>
                <a:gd name="f29" fmla="val 4778140"/>
                <a:gd name="f30" fmla="val 604018"/>
                <a:gd name="f31" fmla="val 7231510"/>
                <a:gd name="f32" fmla="val 1468126"/>
                <a:gd name="f33" fmla="val 9178927"/>
                <a:gd name="f34" fmla="val 2492024"/>
                <a:gd name="f35" fmla="val 11996242"/>
                <a:gd name="f36" fmla="val 2036894"/>
                <a:gd name="f37" fmla="val 2002266"/>
                <a:gd name="f38" fmla="val 1415250"/>
                <a:gd name="f39" fmla="val 12022971"/>
                <a:gd name="f40" fmla="val 1470801"/>
                <a:gd name="f41" fmla="val 10719696"/>
                <a:gd name="f42" fmla="val 1863939"/>
                <a:gd name="f43" fmla="val 9271154"/>
                <a:gd name="f44" fmla="val 1783804"/>
                <a:gd name="f45" fmla="val 7970940"/>
                <a:gd name="f46" fmla="val 1436986"/>
                <a:gd name="f47" fmla="val 6890984"/>
                <a:gd name="f48" fmla="val 1148958"/>
                <a:gd name="f49" fmla="val 5866930"/>
                <a:gd name="f50" fmla="val 767309"/>
                <a:gd name="f51" fmla="val 4800356"/>
                <a:gd name="f52" fmla="val 456582"/>
                <a:gd name="f53" fmla="val 4068903"/>
                <a:gd name="f54" fmla="val 243471"/>
                <a:gd name="f55" fmla="val 3348204"/>
                <a:gd name="f56" fmla="val 74251"/>
                <a:gd name="f57" fmla="val 2646880"/>
                <a:gd name="f58" fmla="val 17560"/>
                <a:gd name="f59" fmla="*/ f0 1 12192000"/>
                <a:gd name="f60" fmla="*/ f1 1 2148830"/>
                <a:gd name="f61" fmla="+- f4 0 f2"/>
                <a:gd name="f62" fmla="+- f3 0 f2"/>
                <a:gd name="f63" fmla="*/ f62 1 12192000"/>
                <a:gd name="f64" fmla="*/ f61 1 2148830"/>
                <a:gd name="f65" fmla="*/ f2 1 f63"/>
                <a:gd name="f66" fmla="*/ f3 1 f63"/>
                <a:gd name="f67" fmla="*/ f2 1 f64"/>
                <a:gd name="f68" fmla="*/ f4 1 f64"/>
                <a:gd name="f69" fmla="*/ f65 f59 1"/>
                <a:gd name="f70" fmla="*/ f66 f59 1"/>
                <a:gd name="f71" fmla="*/ f68 f60 1"/>
                <a:gd name="f72" fmla="*/ f67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9" t="f72" r="f70" b="f71"/>
              <a:pathLst>
                <a:path w="12192000" h="2148830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1571;p158">
              <a:extLst>
                <a:ext uri="{FF2B5EF4-FFF2-40B4-BE49-F238E27FC236}">
                  <a16:creationId xmlns:a16="http://schemas.microsoft.com/office/drawing/2014/main" id="{892C2689-FD4C-0028-4D0D-FF76EF99F26C}"/>
                </a:ext>
              </a:extLst>
            </p:cNvPr>
            <p:cNvSpPr/>
            <p:nvPr/>
          </p:nvSpPr>
          <p:spPr>
            <a:xfrm flipH="1">
              <a:off x="0" y="0"/>
              <a:ext cx="12191996" cy="19921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992138"/>
                <a:gd name="f5" fmla="val 2724271"/>
                <a:gd name="f6" fmla="val 1788442"/>
                <a:gd name="f7" fmla="val 1635403"/>
                <a:gd name="f8" fmla="val 12925"/>
                <a:gd name="f9" fmla="val 1134241"/>
                <a:gd name="f10" fmla="val 70905"/>
                <a:gd name="f11" fmla="val 647221"/>
                <a:gd name="f12" fmla="val 207817"/>
                <a:gd name="f13" fmla="val 178220"/>
                <a:gd name="f14" fmla="val 451207"/>
                <a:gd name="f15" fmla="val 552718"/>
                <a:gd name="f16" fmla="val 570885"/>
                <a:gd name="f17" fmla="val 195368"/>
                <a:gd name="f18" fmla="val 467800"/>
                <a:gd name="f19" fmla="val 765758"/>
                <a:gd name="f20" fmla="val 193094"/>
                <a:gd name="f21" fmla="val 1336955"/>
                <a:gd name="f22" fmla="val 73179"/>
                <a:gd name="f23" fmla="val 1934073"/>
                <a:gd name="f24" fmla="val 52850"/>
                <a:gd name="f25" fmla="val 2948304"/>
                <a:gd name="f26" fmla="val 18310"/>
                <a:gd name="f27" fmla="val 3878878"/>
                <a:gd name="f28" fmla="val 245747"/>
                <a:gd name="f29" fmla="val 4771217"/>
                <a:gd name="f30" fmla="val 543645"/>
                <a:gd name="f31" fmla="val 7236913"/>
                <a:gd name="f32" fmla="val 1366709"/>
                <a:gd name="f33" fmla="val 9199689"/>
                <a:gd name="f34" fmla="val 2357774"/>
                <a:gd name="f35" fmla="val 12007222"/>
                <a:gd name="f36" fmla="val 1856729"/>
                <a:gd name="f37" fmla="val 1820900"/>
                <a:gd name="f38" fmla="val 897073"/>
                <a:gd name="f39" fmla="val 12062517"/>
                <a:gd name="f40" fmla="val 950128"/>
                <a:gd name="f41" fmla="val 10950292"/>
                <a:gd name="f42" fmla="val 1376478"/>
                <a:gd name="f43" fmla="val 9595706"/>
                <a:gd name="f44" fmla="val 1466451"/>
                <a:gd name="f45" fmla="val 8435105"/>
                <a:gd name="f46" fmla="val 1266613"/>
                <a:gd name="f47" fmla="val 6618389"/>
                <a:gd name="f48" fmla="val 953715"/>
                <a:gd name="f49" fmla="val 4735222"/>
                <a:gd name="f50" fmla="val 130088"/>
                <a:gd name="f51" fmla="val 2948502"/>
                <a:gd name="f52" fmla="val 20548"/>
                <a:gd name="f53" fmla="*/ f0 1 12192000"/>
                <a:gd name="f54" fmla="*/ f1 1 1992138"/>
                <a:gd name="f55" fmla="+- f4 0 f2"/>
                <a:gd name="f56" fmla="+- f3 0 f2"/>
                <a:gd name="f57" fmla="*/ f56 1 12192000"/>
                <a:gd name="f58" fmla="*/ f55 1 1992138"/>
                <a:gd name="f59" fmla="*/ f2 1 f57"/>
                <a:gd name="f60" fmla="*/ f3 1 f57"/>
                <a:gd name="f61" fmla="*/ f2 1 f58"/>
                <a:gd name="f62" fmla="*/ f4 1 f58"/>
                <a:gd name="f63" fmla="*/ f59 f53 1"/>
                <a:gd name="f64" fmla="*/ f60 f53 1"/>
                <a:gd name="f65" fmla="*/ f62 f54 1"/>
                <a:gd name="f66" fmla="*/ f61 f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3" t="f66" r="f64" b="f65"/>
              <a:pathLst>
                <a:path w="12192000" h="1992138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lose/>
                </a:path>
              </a:pathLst>
            </a:custGeom>
            <a:solidFill>
              <a:srgbClr val="00498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sp>
        <p:nvSpPr>
          <p:cNvPr id="5" name="Google Shape;1572;p158">
            <a:extLst>
              <a:ext uri="{FF2B5EF4-FFF2-40B4-BE49-F238E27FC236}">
                <a16:creationId xmlns:a16="http://schemas.microsoft.com/office/drawing/2014/main" id="{61A9AEE1-0969-E533-9FF8-9BAF4540A19F}"/>
              </a:ext>
            </a:extLst>
          </p:cNvPr>
          <p:cNvSpPr/>
          <p:nvPr/>
        </p:nvSpPr>
        <p:spPr>
          <a:xfrm>
            <a:off x="902366" y="1517693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6" name="Google Shape;1573;p158">
            <a:extLst>
              <a:ext uri="{FF2B5EF4-FFF2-40B4-BE49-F238E27FC236}">
                <a16:creationId xmlns:a16="http://schemas.microsoft.com/office/drawing/2014/main" id="{4BE23826-92BA-BF19-5246-010416DF127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219196" y="3429000"/>
            <a:ext cx="5582649" cy="1413561"/>
          </a:xfrm>
        </p:spPr>
        <p:txBody>
          <a:bodyPr/>
          <a:lstStyle>
            <a:lvl1pPr indent="-228600">
              <a:buNone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7" name="Google Shape;1574;p158">
            <a:extLst>
              <a:ext uri="{FF2B5EF4-FFF2-40B4-BE49-F238E27FC236}">
                <a16:creationId xmlns:a16="http://schemas.microsoft.com/office/drawing/2014/main" id="{5BB71B29-33BA-9144-88F3-98EED25F582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19196" y="1887486"/>
            <a:ext cx="5582649" cy="1078260"/>
          </a:xfrm>
        </p:spPr>
        <p:txBody>
          <a:bodyPr/>
          <a:lstStyle>
            <a:lvl1pPr>
              <a:defRPr sz="6000"/>
            </a:lvl1pPr>
          </a:lstStyle>
          <a:p>
            <a:pPr lvl="0"/>
            <a:endParaRPr lang="en-US"/>
          </a:p>
        </p:txBody>
      </p:sp>
      <p:pic>
        <p:nvPicPr>
          <p:cNvPr id="8" name="Google Shape;1575;p158">
            <a:extLst>
              <a:ext uri="{FF2B5EF4-FFF2-40B4-BE49-F238E27FC236}">
                <a16:creationId xmlns:a16="http://schemas.microsoft.com/office/drawing/2014/main" id="{D571A679-FA93-2DC1-5251-5DE7F174951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902366" y="228371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506805473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578;p159">
            <a:extLst>
              <a:ext uri="{FF2B5EF4-FFF2-40B4-BE49-F238E27FC236}">
                <a16:creationId xmlns:a16="http://schemas.microsoft.com/office/drawing/2014/main" id="{B6829493-8FAB-F7F3-5566-A6127134B60C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3C5E02D1-2A05-4AD2-A7CE-5B1B9F9B71F0}" type="slidenum">
              <a:t>‹#›</a:t>
            </a:fld>
            <a:endParaRPr lang="en-US"/>
          </a:p>
        </p:txBody>
      </p:sp>
      <p:cxnSp>
        <p:nvCxnSpPr>
          <p:cNvPr id="3" name="Google Shape;1579;p159">
            <a:extLst>
              <a:ext uri="{FF2B5EF4-FFF2-40B4-BE49-F238E27FC236}">
                <a16:creationId xmlns:a16="http://schemas.microsoft.com/office/drawing/2014/main" id="{24A3C3EB-525D-4846-7F95-91F95FE0E8D2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4" name="Google Shape;1580;p159">
            <a:extLst>
              <a:ext uri="{FF2B5EF4-FFF2-40B4-BE49-F238E27FC236}">
                <a16:creationId xmlns:a16="http://schemas.microsoft.com/office/drawing/2014/main" id="{8E59BA5F-8A00-8FC0-B7E8-AC64EB99325E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1581;p159">
            <a:extLst>
              <a:ext uri="{FF2B5EF4-FFF2-40B4-BE49-F238E27FC236}">
                <a16:creationId xmlns:a16="http://schemas.microsoft.com/office/drawing/2014/main" id="{1FC7E547-1739-3508-9349-AD1C576202CB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6" name="Google Shape;1582;p159">
              <a:extLst>
                <a:ext uri="{FF2B5EF4-FFF2-40B4-BE49-F238E27FC236}">
                  <a16:creationId xmlns:a16="http://schemas.microsoft.com/office/drawing/2014/main" id="{FF7045F7-6156-7410-C6E6-FDB6FE97C9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7" name="Google Shape;1583;p159">
              <a:extLst>
                <a:ext uri="{FF2B5EF4-FFF2-40B4-BE49-F238E27FC236}">
                  <a16:creationId xmlns:a16="http://schemas.microsoft.com/office/drawing/2014/main" id="{A772F2B2-98C9-F1E3-273D-FBF0D97E7F51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8" name="Google Shape;1584;p159">
                <a:extLst>
                  <a:ext uri="{FF2B5EF4-FFF2-40B4-BE49-F238E27FC236}">
                    <a16:creationId xmlns:a16="http://schemas.microsoft.com/office/drawing/2014/main" id="{494EA5E6-9590-F6B0-7794-8A1948B9EB06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9" name="Google Shape;1585;p159">
                <a:extLst>
                  <a:ext uri="{FF2B5EF4-FFF2-40B4-BE49-F238E27FC236}">
                    <a16:creationId xmlns:a16="http://schemas.microsoft.com/office/drawing/2014/main" id="{5C1F05FF-BF6A-1095-D76C-D78C8B91CB11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1617541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04501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587;p160">
            <a:extLst>
              <a:ext uri="{FF2B5EF4-FFF2-40B4-BE49-F238E27FC236}">
                <a16:creationId xmlns:a16="http://schemas.microsoft.com/office/drawing/2014/main" id="{21732829-22C2-AF5B-3888-BDAC9AF5CA1A}"/>
              </a:ext>
            </a:extLst>
          </p:cNvPr>
          <p:cNvSpPr/>
          <p:nvPr/>
        </p:nvSpPr>
        <p:spPr>
          <a:xfrm>
            <a:off x="-21168" y="6629400"/>
            <a:ext cx="12213165" cy="228600"/>
          </a:xfrm>
          <a:prstGeom prst="rect">
            <a:avLst/>
          </a:prstGeom>
          <a:solidFill>
            <a:srgbClr val="767676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3" name="Google Shape;1588;p160">
            <a:extLst>
              <a:ext uri="{FF2B5EF4-FFF2-40B4-BE49-F238E27FC236}">
                <a16:creationId xmlns:a16="http://schemas.microsoft.com/office/drawing/2014/main" id="{8F89C51C-AFE0-8ED9-7E51-63255DD7678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945971" y="408517"/>
            <a:ext cx="3706282" cy="1813986"/>
          </a:xfrm>
          <a:prstGeom prst="rect">
            <a:avLst/>
          </a:prstGeom>
          <a:noFill/>
          <a:ln cap="flat">
            <a:noFill/>
          </a:ln>
        </p:spPr>
      </p:pic>
      <p:grpSp>
        <p:nvGrpSpPr>
          <p:cNvPr id="4" name="Google Shape;1589;p160">
            <a:extLst>
              <a:ext uri="{FF2B5EF4-FFF2-40B4-BE49-F238E27FC236}">
                <a16:creationId xmlns:a16="http://schemas.microsoft.com/office/drawing/2014/main" id="{E1ECC21A-944E-15A4-251D-3FFB186E5B9B}"/>
              </a:ext>
            </a:extLst>
          </p:cNvPr>
          <p:cNvGrpSpPr/>
          <p:nvPr/>
        </p:nvGrpSpPr>
        <p:grpSpPr>
          <a:xfrm>
            <a:off x="0" y="0"/>
            <a:ext cx="1862669" cy="6629400"/>
            <a:chOff x="0" y="0"/>
            <a:chExt cx="1862669" cy="6629400"/>
          </a:xfrm>
        </p:grpSpPr>
        <p:sp>
          <p:nvSpPr>
            <p:cNvPr id="5" name="Google Shape;1590;p160">
              <a:extLst>
                <a:ext uri="{FF2B5EF4-FFF2-40B4-BE49-F238E27FC236}">
                  <a16:creationId xmlns:a16="http://schemas.microsoft.com/office/drawing/2014/main" id="{AFD82F98-F809-7FBA-8F6E-EB3F2FA894DC}"/>
                </a:ext>
              </a:extLst>
            </p:cNvPr>
            <p:cNvSpPr/>
            <p:nvPr/>
          </p:nvSpPr>
          <p:spPr>
            <a:xfrm>
              <a:off x="0" y="0"/>
              <a:ext cx="1782229" cy="6629400"/>
            </a:xfrm>
            <a:prstGeom prst="rect">
              <a:avLst/>
            </a:prstGeom>
            <a:solidFill>
              <a:srgbClr val="800000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24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1591;p160">
              <a:extLst>
                <a:ext uri="{FF2B5EF4-FFF2-40B4-BE49-F238E27FC236}">
                  <a16:creationId xmlns:a16="http://schemas.microsoft.com/office/drawing/2014/main" id="{3906B594-F9EE-E08D-8C36-9C18D68B70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alphaModFix/>
            </a:blip>
            <a:srcRect/>
            <a:stretch>
              <a:fillRect/>
            </a:stretch>
          </p:blipFill>
          <p:spPr>
            <a:xfrm>
              <a:off x="0" y="0"/>
              <a:ext cx="1862669" cy="6629400"/>
            </a:xfrm>
            <a:prstGeom prst="rect">
              <a:avLst/>
            </a:prstGeom>
            <a:solidFill>
              <a:srgbClr val="79818A"/>
            </a:solidFill>
            <a:ln cap="flat">
              <a:noFill/>
            </a:ln>
          </p:spPr>
        </p:pic>
      </p:grpSp>
      <p:sp>
        <p:nvSpPr>
          <p:cNvPr id="7" name="Google Shape;1592;p160">
            <a:extLst>
              <a:ext uri="{FF2B5EF4-FFF2-40B4-BE49-F238E27FC236}">
                <a16:creationId xmlns:a16="http://schemas.microsoft.com/office/drawing/2014/main" id="{011DE38C-D050-5FE1-B8D2-D73329A9E3EA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147492" y="4195760"/>
            <a:ext cx="5488512" cy="365760"/>
          </a:xfrm>
        </p:spPr>
        <p:txBody>
          <a:bodyPr/>
          <a:lstStyle>
            <a:lvl1pPr>
              <a:buSzPts val="1867"/>
              <a:defRPr sz="1867"/>
            </a:lvl1pPr>
          </a:lstStyle>
          <a:p>
            <a:pPr lvl="0"/>
            <a:endParaRPr lang="en-US"/>
          </a:p>
        </p:txBody>
      </p:sp>
      <p:sp>
        <p:nvSpPr>
          <p:cNvPr id="8" name="Google Shape;1593;p160">
            <a:extLst>
              <a:ext uri="{FF2B5EF4-FFF2-40B4-BE49-F238E27FC236}">
                <a16:creationId xmlns:a16="http://schemas.microsoft.com/office/drawing/2014/main" id="{F5ED79E2-B223-78C5-B590-AAB0542849E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621871" y="1806424"/>
            <a:ext cx="10189826" cy="2278209"/>
          </a:xfrm>
        </p:spPr>
        <p:txBody>
          <a:bodyPr anchor="b"/>
          <a:lstStyle>
            <a:lvl1pPr>
              <a:defRPr sz="5333">
                <a:solidFill>
                  <a:srgbClr val="79818A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9" name="Google Shape;1594;p160">
            <a:extLst>
              <a:ext uri="{FF2B5EF4-FFF2-40B4-BE49-F238E27FC236}">
                <a16:creationId xmlns:a16="http://schemas.microsoft.com/office/drawing/2014/main" id="{FE978B69-10B0-801E-4A59-3572DC34206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147483" y="4600575"/>
            <a:ext cx="5486400" cy="365760"/>
          </a:xfrm>
        </p:spPr>
        <p:txBody>
          <a:bodyPr/>
          <a:lstStyle>
            <a:lvl1pPr indent="-347151">
              <a:buSzPts val="1867"/>
              <a:defRPr sz="1867"/>
            </a:lvl1pPr>
          </a:lstStyle>
          <a:p>
            <a:pPr lvl="0"/>
            <a:endParaRPr lang="en-US"/>
          </a:p>
        </p:txBody>
      </p:sp>
      <p:sp>
        <p:nvSpPr>
          <p:cNvPr id="10" name="Google Shape;1595;p160">
            <a:extLst>
              <a:ext uri="{FF2B5EF4-FFF2-40B4-BE49-F238E27FC236}">
                <a16:creationId xmlns:a16="http://schemas.microsoft.com/office/drawing/2014/main" id="{286D9F2B-0D82-75E0-E7DF-D0A8380D3FF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147483" y="5005389"/>
            <a:ext cx="5486400" cy="365760"/>
          </a:xfrm>
        </p:spPr>
        <p:txBody>
          <a:bodyPr/>
          <a:lstStyle>
            <a:lvl1pPr indent="-347151">
              <a:buSzPts val="1867"/>
              <a:defRPr sz="1867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183388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587;p160">
            <a:extLst>
              <a:ext uri="{FF2B5EF4-FFF2-40B4-BE49-F238E27FC236}">
                <a16:creationId xmlns:a16="http://schemas.microsoft.com/office/drawing/2014/main" id="{86F4270B-B1C7-1ECC-223C-E19CC6763CD3}"/>
              </a:ext>
            </a:extLst>
          </p:cNvPr>
          <p:cNvSpPr/>
          <p:nvPr/>
        </p:nvSpPr>
        <p:spPr>
          <a:xfrm>
            <a:off x="-21168" y="6629400"/>
            <a:ext cx="12213165" cy="228600"/>
          </a:xfrm>
          <a:prstGeom prst="rect">
            <a:avLst/>
          </a:prstGeom>
          <a:solidFill>
            <a:srgbClr val="767676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3" name="Google Shape;1588;p160">
            <a:extLst>
              <a:ext uri="{FF2B5EF4-FFF2-40B4-BE49-F238E27FC236}">
                <a16:creationId xmlns:a16="http://schemas.microsoft.com/office/drawing/2014/main" id="{D80843C5-FFAF-C5CC-567A-31915979812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945971" y="408517"/>
            <a:ext cx="3706282" cy="1813986"/>
          </a:xfrm>
          <a:prstGeom prst="rect">
            <a:avLst/>
          </a:prstGeom>
          <a:noFill/>
          <a:ln cap="flat">
            <a:noFill/>
          </a:ln>
        </p:spPr>
      </p:pic>
      <p:grpSp>
        <p:nvGrpSpPr>
          <p:cNvPr id="4" name="Google Shape;1589;p160">
            <a:extLst>
              <a:ext uri="{FF2B5EF4-FFF2-40B4-BE49-F238E27FC236}">
                <a16:creationId xmlns:a16="http://schemas.microsoft.com/office/drawing/2014/main" id="{2956D84C-2A3E-237D-F961-03C1C7A550E8}"/>
              </a:ext>
            </a:extLst>
          </p:cNvPr>
          <p:cNvGrpSpPr/>
          <p:nvPr/>
        </p:nvGrpSpPr>
        <p:grpSpPr>
          <a:xfrm>
            <a:off x="0" y="0"/>
            <a:ext cx="1862669" cy="6629400"/>
            <a:chOff x="0" y="0"/>
            <a:chExt cx="1862669" cy="6629400"/>
          </a:xfrm>
        </p:grpSpPr>
        <p:sp>
          <p:nvSpPr>
            <p:cNvPr id="5" name="Google Shape;1590;p160">
              <a:extLst>
                <a:ext uri="{FF2B5EF4-FFF2-40B4-BE49-F238E27FC236}">
                  <a16:creationId xmlns:a16="http://schemas.microsoft.com/office/drawing/2014/main" id="{4D14067B-37DA-167A-BEAF-689F20CFF890}"/>
                </a:ext>
              </a:extLst>
            </p:cNvPr>
            <p:cNvSpPr/>
            <p:nvPr/>
          </p:nvSpPr>
          <p:spPr>
            <a:xfrm>
              <a:off x="0" y="0"/>
              <a:ext cx="1782229" cy="6629400"/>
            </a:xfrm>
            <a:prstGeom prst="rect">
              <a:avLst/>
            </a:prstGeom>
            <a:solidFill>
              <a:srgbClr val="800000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24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1591;p160">
              <a:extLst>
                <a:ext uri="{FF2B5EF4-FFF2-40B4-BE49-F238E27FC236}">
                  <a16:creationId xmlns:a16="http://schemas.microsoft.com/office/drawing/2014/main" id="{8AB2EDEC-450B-9ACD-84A3-A7A5EA74F06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alphaModFix/>
            </a:blip>
            <a:srcRect/>
            <a:stretch>
              <a:fillRect/>
            </a:stretch>
          </p:blipFill>
          <p:spPr>
            <a:xfrm>
              <a:off x="0" y="0"/>
              <a:ext cx="1862669" cy="6629400"/>
            </a:xfrm>
            <a:prstGeom prst="rect">
              <a:avLst/>
            </a:prstGeom>
            <a:solidFill>
              <a:srgbClr val="79818A"/>
            </a:solidFill>
            <a:ln cap="flat">
              <a:noFill/>
            </a:ln>
          </p:spPr>
        </p:pic>
      </p:grpSp>
      <p:sp>
        <p:nvSpPr>
          <p:cNvPr id="7" name="Google Shape;1592;p160">
            <a:extLst>
              <a:ext uri="{FF2B5EF4-FFF2-40B4-BE49-F238E27FC236}">
                <a16:creationId xmlns:a16="http://schemas.microsoft.com/office/drawing/2014/main" id="{081E0487-C65B-0691-3645-3C28C6A8DE8D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147492" y="4195760"/>
            <a:ext cx="5488512" cy="365760"/>
          </a:xfrm>
        </p:spPr>
        <p:txBody>
          <a:bodyPr/>
          <a:lstStyle>
            <a:lvl1pPr>
              <a:buSzPts val="1867"/>
              <a:defRPr sz="1867"/>
            </a:lvl1pPr>
          </a:lstStyle>
          <a:p>
            <a:pPr lvl="0"/>
            <a:endParaRPr lang="en-US"/>
          </a:p>
        </p:txBody>
      </p:sp>
      <p:sp>
        <p:nvSpPr>
          <p:cNvPr id="8" name="Google Shape;1593;p160">
            <a:extLst>
              <a:ext uri="{FF2B5EF4-FFF2-40B4-BE49-F238E27FC236}">
                <a16:creationId xmlns:a16="http://schemas.microsoft.com/office/drawing/2014/main" id="{AD894EF7-322E-B252-077F-36FA725B88F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621871" y="1806424"/>
            <a:ext cx="10189826" cy="2278209"/>
          </a:xfrm>
        </p:spPr>
        <p:txBody>
          <a:bodyPr anchor="b"/>
          <a:lstStyle>
            <a:lvl1pPr>
              <a:defRPr sz="5333">
                <a:solidFill>
                  <a:srgbClr val="79818A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9" name="Google Shape;1594;p160">
            <a:extLst>
              <a:ext uri="{FF2B5EF4-FFF2-40B4-BE49-F238E27FC236}">
                <a16:creationId xmlns:a16="http://schemas.microsoft.com/office/drawing/2014/main" id="{F1E7C98E-226D-0E24-EEAB-6A7D560ED23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147483" y="4600575"/>
            <a:ext cx="5486400" cy="365760"/>
          </a:xfrm>
        </p:spPr>
        <p:txBody>
          <a:bodyPr/>
          <a:lstStyle>
            <a:lvl1pPr indent="-347151">
              <a:buSzPts val="1867"/>
              <a:defRPr sz="1867"/>
            </a:lvl1pPr>
          </a:lstStyle>
          <a:p>
            <a:pPr lvl="0"/>
            <a:endParaRPr lang="en-US"/>
          </a:p>
        </p:txBody>
      </p:sp>
      <p:sp>
        <p:nvSpPr>
          <p:cNvPr id="10" name="Google Shape;1595;p160">
            <a:extLst>
              <a:ext uri="{FF2B5EF4-FFF2-40B4-BE49-F238E27FC236}">
                <a16:creationId xmlns:a16="http://schemas.microsoft.com/office/drawing/2014/main" id="{6388CBC3-0FAD-7009-4FE4-52ED50F9B51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147483" y="5005389"/>
            <a:ext cx="5486400" cy="365760"/>
          </a:xfrm>
        </p:spPr>
        <p:txBody>
          <a:bodyPr/>
          <a:lstStyle>
            <a:lvl1pPr indent="-347151">
              <a:buSzPts val="1867"/>
              <a:defRPr sz="1867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083922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587;p160">
            <a:extLst>
              <a:ext uri="{FF2B5EF4-FFF2-40B4-BE49-F238E27FC236}">
                <a16:creationId xmlns:a16="http://schemas.microsoft.com/office/drawing/2014/main" id="{9D38C332-0EFC-55B6-0B3A-7AEF1B462368}"/>
              </a:ext>
            </a:extLst>
          </p:cNvPr>
          <p:cNvSpPr/>
          <p:nvPr/>
        </p:nvSpPr>
        <p:spPr>
          <a:xfrm>
            <a:off x="-21168" y="6629400"/>
            <a:ext cx="12213165" cy="228600"/>
          </a:xfrm>
          <a:prstGeom prst="rect">
            <a:avLst/>
          </a:prstGeom>
          <a:solidFill>
            <a:srgbClr val="767676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3" name="Google Shape;1588;p160">
            <a:extLst>
              <a:ext uri="{FF2B5EF4-FFF2-40B4-BE49-F238E27FC236}">
                <a16:creationId xmlns:a16="http://schemas.microsoft.com/office/drawing/2014/main" id="{6D3F3421-EA1A-40A9-3972-FBDC8C75C4E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945971" y="408517"/>
            <a:ext cx="3706282" cy="1813986"/>
          </a:xfrm>
          <a:prstGeom prst="rect">
            <a:avLst/>
          </a:prstGeom>
          <a:noFill/>
          <a:ln cap="flat">
            <a:noFill/>
          </a:ln>
        </p:spPr>
      </p:pic>
      <p:grpSp>
        <p:nvGrpSpPr>
          <p:cNvPr id="4" name="Google Shape;1589;p160">
            <a:extLst>
              <a:ext uri="{FF2B5EF4-FFF2-40B4-BE49-F238E27FC236}">
                <a16:creationId xmlns:a16="http://schemas.microsoft.com/office/drawing/2014/main" id="{EE946D15-05A6-31C2-AD7A-2837E71D1BDE}"/>
              </a:ext>
            </a:extLst>
          </p:cNvPr>
          <p:cNvGrpSpPr/>
          <p:nvPr/>
        </p:nvGrpSpPr>
        <p:grpSpPr>
          <a:xfrm>
            <a:off x="0" y="0"/>
            <a:ext cx="1862669" cy="6629400"/>
            <a:chOff x="0" y="0"/>
            <a:chExt cx="1862669" cy="6629400"/>
          </a:xfrm>
        </p:grpSpPr>
        <p:sp>
          <p:nvSpPr>
            <p:cNvPr id="5" name="Google Shape;1590;p160">
              <a:extLst>
                <a:ext uri="{FF2B5EF4-FFF2-40B4-BE49-F238E27FC236}">
                  <a16:creationId xmlns:a16="http://schemas.microsoft.com/office/drawing/2014/main" id="{9DDFD2BF-4C10-72D1-B285-EC1324AD566F}"/>
                </a:ext>
              </a:extLst>
            </p:cNvPr>
            <p:cNvSpPr/>
            <p:nvPr/>
          </p:nvSpPr>
          <p:spPr>
            <a:xfrm>
              <a:off x="0" y="0"/>
              <a:ext cx="1782229" cy="6629400"/>
            </a:xfrm>
            <a:prstGeom prst="rect">
              <a:avLst/>
            </a:prstGeom>
            <a:solidFill>
              <a:srgbClr val="800000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24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1591;p160">
              <a:extLst>
                <a:ext uri="{FF2B5EF4-FFF2-40B4-BE49-F238E27FC236}">
                  <a16:creationId xmlns:a16="http://schemas.microsoft.com/office/drawing/2014/main" id="{DC9C9185-5283-2085-7312-4B5BFD4F5A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alphaModFix/>
            </a:blip>
            <a:srcRect l="7219" t="16937" r="72250" b="20588"/>
            <a:stretch>
              <a:fillRect/>
            </a:stretch>
          </p:blipFill>
          <p:spPr>
            <a:xfrm>
              <a:off x="0" y="0"/>
              <a:ext cx="1862669" cy="6629400"/>
            </a:xfrm>
            <a:prstGeom prst="rect">
              <a:avLst/>
            </a:prstGeom>
            <a:solidFill>
              <a:srgbClr val="79818A"/>
            </a:solidFill>
            <a:ln cap="flat">
              <a:noFill/>
            </a:ln>
          </p:spPr>
        </p:pic>
      </p:grpSp>
      <p:sp>
        <p:nvSpPr>
          <p:cNvPr id="7" name="Google Shape;1592;p160">
            <a:extLst>
              <a:ext uri="{FF2B5EF4-FFF2-40B4-BE49-F238E27FC236}">
                <a16:creationId xmlns:a16="http://schemas.microsoft.com/office/drawing/2014/main" id="{3226358E-327A-CB10-DA4C-178F1FEDEB99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147492" y="4195760"/>
            <a:ext cx="5488512" cy="365760"/>
          </a:xfrm>
        </p:spPr>
        <p:txBody>
          <a:bodyPr/>
          <a:lstStyle>
            <a:lvl1pPr>
              <a:buSzPts val="1867"/>
              <a:defRPr sz="1867"/>
            </a:lvl1pPr>
          </a:lstStyle>
          <a:p>
            <a:pPr lvl="0"/>
            <a:endParaRPr lang="en-US"/>
          </a:p>
        </p:txBody>
      </p:sp>
      <p:sp>
        <p:nvSpPr>
          <p:cNvPr id="8" name="Google Shape;1593;p160">
            <a:extLst>
              <a:ext uri="{FF2B5EF4-FFF2-40B4-BE49-F238E27FC236}">
                <a16:creationId xmlns:a16="http://schemas.microsoft.com/office/drawing/2014/main" id="{2802C4AB-E0C1-857B-1C77-D95F18620D9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621871" y="1806424"/>
            <a:ext cx="10189826" cy="2278209"/>
          </a:xfrm>
        </p:spPr>
        <p:txBody>
          <a:bodyPr anchor="b"/>
          <a:lstStyle>
            <a:lvl1pPr>
              <a:defRPr sz="5333">
                <a:solidFill>
                  <a:srgbClr val="79818A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9" name="Google Shape;1594;p160">
            <a:extLst>
              <a:ext uri="{FF2B5EF4-FFF2-40B4-BE49-F238E27FC236}">
                <a16:creationId xmlns:a16="http://schemas.microsoft.com/office/drawing/2014/main" id="{6DE9F2CA-8FE8-4579-7C55-A0911C36EB1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147483" y="4600575"/>
            <a:ext cx="5486400" cy="365760"/>
          </a:xfrm>
        </p:spPr>
        <p:txBody>
          <a:bodyPr/>
          <a:lstStyle>
            <a:lvl1pPr indent="-347151">
              <a:buSzPts val="1867"/>
              <a:defRPr sz="1867"/>
            </a:lvl1pPr>
          </a:lstStyle>
          <a:p>
            <a:pPr lvl="0"/>
            <a:endParaRPr lang="en-US"/>
          </a:p>
        </p:txBody>
      </p:sp>
      <p:sp>
        <p:nvSpPr>
          <p:cNvPr id="10" name="Google Shape;1595;p160">
            <a:extLst>
              <a:ext uri="{FF2B5EF4-FFF2-40B4-BE49-F238E27FC236}">
                <a16:creationId xmlns:a16="http://schemas.microsoft.com/office/drawing/2014/main" id="{D9C793A7-9ADE-7ABD-606D-8F88A76E450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147483" y="5005389"/>
            <a:ext cx="5486400" cy="365760"/>
          </a:xfrm>
        </p:spPr>
        <p:txBody>
          <a:bodyPr/>
          <a:lstStyle>
            <a:lvl1pPr indent="-347151">
              <a:buSzPts val="1867"/>
              <a:defRPr sz="1867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296178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597;p161">
            <a:extLst>
              <a:ext uri="{FF2B5EF4-FFF2-40B4-BE49-F238E27FC236}">
                <a16:creationId xmlns:a16="http://schemas.microsoft.com/office/drawing/2014/main" id="{FD3BD499-8135-EE03-8B6A-19C8011BAE9F}"/>
              </a:ext>
            </a:extLst>
          </p:cNvPr>
          <p:cNvSpPr/>
          <p:nvPr/>
        </p:nvSpPr>
        <p:spPr>
          <a:xfrm>
            <a:off x="-10579" y="6620932"/>
            <a:ext cx="12213165" cy="237067"/>
          </a:xfrm>
          <a:prstGeom prst="rect">
            <a:avLst/>
          </a:prstGeom>
          <a:solidFill>
            <a:srgbClr val="767676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598;p161">
            <a:extLst>
              <a:ext uri="{FF2B5EF4-FFF2-40B4-BE49-F238E27FC236}">
                <a16:creationId xmlns:a16="http://schemas.microsoft.com/office/drawing/2014/main" id="{B22DCC7D-2D47-21C5-9CE0-8A7CF531B18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18111" y="224841"/>
            <a:ext cx="11715722" cy="569323"/>
          </a:xfrm>
        </p:spPr>
        <p:txBody>
          <a:bodyPr/>
          <a:lstStyle>
            <a:lvl1pPr>
              <a:defRPr sz="2933">
                <a:solidFill>
                  <a:srgbClr val="79818A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599;p161">
            <a:extLst>
              <a:ext uri="{FF2B5EF4-FFF2-40B4-BE49-F238E27FC236}">
                <a16:creationId xmlns:a16="http://schemas.microsoft.com/office/drawing/2014/main" id="{AB845C23-586A-3F65-31A0-7164C578637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18111" y="917198"/>
            <a:ext cx="11715722" cy="4958672"/>
          </a:xfrm>
        </p:spPr>
        <p:txBody>
          <a:bodyPr/>
          <a:lstStyle>
            <a:lvl1pPr indent="-347151">
              <a:buSzPts val="1867"/>
              <a:buFont typeface="Noto Sans Symbols"/>
              <a:buChar char="▪"/>
              <a:defRPr sz="1867" b="1"/>
            </a:lvl1pPr>
          </a:lstStyle>
          <a:p>
            <a:pPr lvl="0"/>
            <a:endParaRPr lang="en-US"/>
          </a:p>
        </p:txBody>
      </p:sp>
      <p:sp>
        <p:nvSpPr>
          <p:cNvPr id="5" name="Google Shape;1600;p161">
            <a:extLst>
              <a:ext uri="{FF2B5EF4-FFF2-40B4-BE49-F238E27FC236}">
                <a16:creationId xmlns:a16="http://schemas.microsoft.com/office/drawing/2014/main" id="{823D0556-5D9D-8474-895B-18C90252D58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858932" y="5969002"/>
            <a:ext cx="8074901" cy="649818"/>
          </a:xfrm>
        </p:spPr>
        <p:txBody>
          <a:bodyPr anchor="b"/>
          <a:lstStyle>
            <a:lvl1pPr indent="-313246">
              <a:buSzPts val="1333"/>
              <a:defRPr sz="1333"/>
            </a:lvl1pPr>
          </a:lstStyle>
          <a:p>
            <a:pPr lvl="0"/>
            <a:endParaRPr lang="en-US"/>
          </a:p>
        </p:txBody>
      </p:sp>
      <p:sp>
        <p:nvSpPr>
          <p:cNvPr id="6" name="Google Shape;1601;p161">
            <a:extLst>
              <a:ext uri="{FF2B5EF4-FFF2-40B4-BE49-F238E27FC236}">
                <a16:creationId xmlns:a16="http://schemas.microsoft.com/office/drawing/2014/main" id="{59FA9AA0-B747-8A37-FC90-0F10C718D5AC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 sz="1467">
                <a:solidFill>
                  <a:srgbClr val="FFFFFF"/>
                </a:solidFill>
              </a:defRPr>
            </a:lvl1pPr>
          </a:lstStyle>
          <a:p>
            <a:pPr lvl="0"/>
            <a:fld id="{A6C91345-123E-4088-80AC-83EC3731C901}" type="slidenum">
              <a:t>‹#›</a:t>
            </a:fld>
            <a:endParaRPr lang="en-US"/>
          </a:p>
        </p:txBody>
      </p:sp>
      <p:pic>
        <p:nvPicPr>
          <p:cNvPr id="7" name="Google Shape;1602;p161" descr="M:\Marketing Communication and Referral Access\Luis\newbrand\UCM_logo\master\horizontal\UCM_Logo_Master_Brand_Horizontal_Tagline_rgb.jpg">
            <a:extLst>
              <a:ext uri="{FF2B5EF4-FFF2-40B4-BE49-F238E27FC236}">
                <a16:creationId xmlns:a16="http://schemas.microsoft.com/office/drawing/2014/main" id="{D7A74251-3D5E-6DB1-0521-E66BE1DD3B7D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101598" y="5969002"/>
            <a:ext cx="3704344" cy="65193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763308696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_Yale Blu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604;p162">
            <a:extLst>
              <a:ext uri="{FF2B5EF4-FFF2-40B4-BE49-F238E27FC236}">
                <a16:creationId xmlns:a16="http://schemas.microsoft.com/office/drawing/2014/main" id="{764B32A3-8812-C43F-C9BF-AAD336F670F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5400857"/>
            <a:ext cx="8178613" cy="381643"/>
          </a:xfrm>
        </p:spPr>
        <p:txBody>
          <a:bodyPr>
            <a:spAutoFit/>
          </a:bodyPr>
          <a:lstStyle>
            <a:lvl1pPr indent="-228600" algn="r"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605;p162">
            <a:extLst>
              <a:ext uri="{FF2B5EF4-FFF2-40B4-BE49-F238E27FC236}">
                <a16:creationId xmlns:a16="http://schemas.microsoft.com/office/drawing/2014/main" id="{996D15EA-995E-5536-50A8-FFE8E4B9345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826556" y="1807147"/>
            <a:ext cx="8178613" cy="1629460"/>
          </a:xfrm>
        </p:spPr>
        <p:txBody>
          <a:bodyPr anchor="b"/>
          <a:lstStyle>
            <a:lvl1pPr>
              <a:defRPr sz="5333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606;p162">
            <a:extLst>
              <a:ext uri="{FF2B5EF4-FFF2-40B4-BE49-F238E27FC236}">
                <a16:creationId xmlns:a16="http://schemas.microsoft.com/office/drawing/2014/main" id="{2BCAAF11-F8FC-7E14-64E2-B153B5C2C89B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1" tIns="45701" rIns="91421" bIns="45701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607;p162">
            <a:extLst>
              <a:ext uri="{FF2B5EF4-FFF2-40B4-BE49-F238E27FC236}">
                <a16:creationId xmlns:a16="http://schemas.microsoft.com/office/drawing/2014/main" id="{42F8E506-BE4D-8BAF-7FAA-BDA8323DD67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Google Shape;1608;p162">
            <a:extLst>
              <a:ext uri="{FF2B5EF4-FFF2-40B4-BE49-F238E27FC236}">
                <a16:creationId xmlns:a16="http://schemas.microsoft.com/office/drawing/2014/main" id="{BF920912-8280-15A9-1D71-0F3485236B3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8E718770-EF65-4862-B94D-06240DFD1226}" type="slidenum">
              <a:t>‹#›</a:t>
            </a:fld>
            <a:endParaRPr lang="en-US"/>
          </a:p>
        </p:txBody>
      </p:sp>
      <p:sp>
        <p:nvSpPr>
          <p:cNvPr id="7" name="Google Shape;1609;p162">
            <a:extLst>
              <a:ext uri="{FF2B5EF4-FFF2-40B4-BE49-F238E27FC236}">
                <a16:creationId xmlns:a16="http://schemas.microsoft.com/office/drawing/2014/main" id="{EEAC22C7-7681-6455-7CDC-F99B4E953CD1}"/>
              </a:ext>
            </a:extLst>
          </p:cNvPr>
          <p:cNvSpPr/>
          <p:nvPr/>
        </p:nvSpPr>
        <p:spPr>
          <a:xfrm rot="10799991">
            <a:off x="-28" y="2000223"/>
            <a:ext cx="2785070" cy="2042851"/>
          </a:xfrm>
          <a:custGeom>
            <a:avLst/>
            <a:gdLst>
              <a:gd name="f0" fmla="val w"/>
              <a:gd name="f1" fmla="val h"/>
              <a:gd name="f2" fmla="val 0"/>
              <a:gd name="f3" fmla="val 10293751"/>
              <a:gd name="f4" fmla="val 1031873"/>
              <a:gd name="f5" fmla="val 3579068"/>
              <a:gd name="f6" fmla="val 1"/>
              <a:gd name="f7" fmla="val 1031872"/>
              <a:gd name="f8" fmla="*/ f0 1 10293751"/>
              <a:gd name="f9" fmla="*/ f1 1 1031873"/>
              <a:gd name="f10" fmla="+- f4 0 f2"/>
              <a:gd name="f11" fmla="+- f3 0 f2"/>
              <a:gd name="f12" fmla="*/ f11 1 10293751"/>
              <a:gd name="f13" fmla="*/ f10 1 1031873"/>
              <a:gd name="f14" fmla="*/ f2 1 f12"/>
              <a:gd name="f15" fmla="*/ f3 1 f12"/>
              <a:gd name="f16" fmla="*/ f2 1 f13"/>
              <a:gd name="f17" fmla="*/ f4 1 f13"/>
              <a:gd name="f18" fmla="*/ f14 f8 1"/>
              <a:gd name="f19" fmla="*/ f15 f8 1"/>
              <a:gd name="f20" fmla="*/ f17 f9 1"/>
              <a:gd name="f21" fmla="*/ f16 f9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8" t="f21" r="f19" b="f20"/>
            <a:pathLst>
              <a:path w="10293751" h="1031873">
                <a:moveTo>
                  <a:pt x="f5" y="f2"/>
                </a:moveTo>
                <a:lnTo>
                  <a:pt x="f3" y="f6"/>
                </a:lnTo>
                <a:lnTo>
                  <a:pt x="f3" y="f4"/>
                </a:lnTo>
                <a:lnTo>
                  <a:pt x="f2" y="f7"/>
                </a:lnTo>
                <a:lnTo>
                  <a:pt x="f5" y="f2"/>
                </a:lnTo>
                <a:close/>
              </a:path>
            </a:pathLst>
          </a:cu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8" name="Google Shape;1610;p162">
            <a:extLst>
              <a:ext uri="{FF2B5EF4-FFF2-40B4-BE49-F238E27FC236}">
                <a16:creationId xmlns:a16="http://schemas.microsoft.com/office/drawing/2014/main" id="{C51BFC55-FBBE-4B7F-C198-A774E013260F}"/>
              </a:ext>
            </a:extLst>
          </p:cNvPr>
          <p:cNvSpPr/>
          <p:nvPr/>
        </p:nvSpPr>
        <p:spPr>
          <a:xfrm>
            <a:off x="0" y="6115049"/>
            <a:ext cx="12191996" cy="742950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9" name="Google Shape;1611;p162">
            <a:extLst>
              <a:ext uri="{FF2B5EF4-FFF2-40B4-BE49-F238E27FC236}">
                <a16:creationId xmlns:a16="http://schemas.microsoft.com/office/drawing/2014/main" id="{F0D4271D-CFA3-51B5-FF8C-F0892F2F929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3447397"/>
            <a:ext cx="8178613" cy="713314"/>
          </a:xfrm>
        </p:spPr>
        <p:txBody>
          <a:bodyPr/>
          <a:lstStyle>
            <a:lvl1pPr indent="-228600">
              <a:buNone/>
              <a:defRPr sz="3200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10" name="Google Shape;1612;p162">
            <a:extLst>
              <a:ext uri="{FF2B5EF4-FFF2-40B4-BE49-F238E27FC236}">
                <a16:creationId xmlns:a16="http://schemas.microsoft.com/office/drawing/2014/main" id="{AFFAFB97-26E2-E767-BF63-15472DE1153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2829830" y="4178332"/>
            <a:ext cx="4395959" cy="1140165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621769812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614;p163">
            <a:extLst>
              <a:ext uri="{FF2B5EF4-FFF2-40B4-BE49-F238E27FC236}">
                <a16:creationId xmlns:a16="http://schemas.microsoft.com/office/drawing/2014/main" id="{2C62E165-98EA-C8BE-1512-9BC13FCB26CC}"/>
              </a:ext>
            </a:extLst>
          </p:cNvPr>
          <p:cNvSpPr/>
          <p:nvPr/>
        </p:nvSpPr>
        <p:spPr>
          <a:xfrm>
            <a:off x="-21168" y="6629400"/>
            <a:ext cx="12213165" cy="228600"/>
          </a:xfrm>
          <a:prstGeom prst="rect">
            <a:avLst/>
          </a:prstGeom>
          <a:solidFill>
            <a:srgbClr val="767676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3" name="Google Shape;1615;p163">
            <a:extLst>
              <a:ext uri="{FF2B5EF4-FFF2-40B4-BE49-F238E27FC236}">
                <a16:creationId xmlns:a16="http://schemas.microsoft.com/office/drawing/2014/main" id="{B07482A4-A0E8-D3D7-487F-FE95EB70064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945971" y="408517"/>
            <a:ext cx="3706282" cy="1813986"/>
          </a:xfrm>
          <a:prstGeom prst="rect">
            <a:avLst/>
          </a:prstGeom>
          <a:noFill/>
          <a:ln cap="flat">
            <a:noFill/>
          </a:ln>
        </p:spPr>
      </p:pic>
      <p:grpSp>
        <p:nvGrpSpPr>
          <p:cNvPr id="4" name="Google Shape;1616;p163">
            <a:extLst>
              <a:ext uri="{FF2B5EF4-FFF2-40B4-BE49-F238E27FC236}">
                <a16:creationId xmlns:a16="http://schemas.microsoft.com/office/drawing/2014/main" id="{A8A52CF1-A8F1-571A-4159-C36B2851CCD6}"/>
              </a:ext>
            </a:extLst>
          </p:cNvPr>
          <p:cNvGrpSpPr/>
          <p:nvPr/>
        </p:nvGrpSpPr>
        <p:grpSpPr>
          <a:xfrm>
            <a:off x="0" y="0"/>
            <a:ext cx="1862669" cy="6629400"/>
            <a:chOff x="0" y="0"/>
            <a:chExt cx="1862669" cy="6629400"/>
          </a:xfrm>
        </p:grpSpPr>
        <p:sp>
          <p:nvSpPr>
            <p:cNvPr id="5" name="Google Shape;1617;p163">
              <a:extLst>
                <a:ext uri="{FF2B5EF4-FFF2-40B4-BE49-F238E27FC236}">
                  <a16:creationId xmlns:a16="http://schemas.microsoft.com/office/drawing/2014/main" id="{EB33A367-DB28-D56A-BE67-87BEF6AD5C4D}"/>
                </a:ext>
              </a:extLst>
            </p:cNvPr>
            <p:cNvSpPr/>
            <p:nvPr/>
          </p:nvSpPr>
          <p:spPr>
            <a:xfrm>
              <a:off x="0" y="0"/>
              <a:ext cx="1782229" cy="6629400"/>
            </a:xfrm>
            <a:prstGeom prst="rect">
              <a:avLst/>
            </a:prstGeom>
            <a:solidFill>
              <a:srgbClr val="800000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24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1618;p163">
              <a:extLst>
                <a:ext uri="{FF2B5EF4-FFF2-40B4-BE49-F238E27FC236}">
                  <a16:creationId xmlns:a16="http://schemas.microsoft.com/office/drawing/2014/main" id="{8A6E7AAA-4B8C-17C4-AB5D-D5CC63FE3A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alphaModFix/>
            </a:blip>
            <a:srcRect/>
            <a:stretch>
              <a:fillRect/>
            </a:stretch>
          </p:blipFill>
          <p:spPr>
            <a:xfrm>
              <a:off x="0" y="0"/>
              <a:ext cx="1862669" cy="6629400"/>
            </a:xfrm>
            <a:prstGeom prst="rect">
              <a:avLst/>
            </a:prstGeom>
            <a:solidFill>
              <a:srgbClr val="79818A"/>
            </a:solidFill>
            <a:ln cap="flat">
              <a:noFill/>
            </a:ln>
          </p:spPr>
        </p:pic>
      </p:grpSp>
      <p:sp>
        <p:nvSpPr>
          <p:cNvPr id="7" name="Google Shape;1619;p163">
            <a:extLst>
              <a:ext uri="{FF2B5EF4-FFF2-40B4-BE49-F238E27FC236}">
                <a16:creationId xmlns:a16="http://schemas.microsoft.com/office/drawing/2014/main" id="{D4D61D37-EF41-C644-B117-A71B1F956677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147492" y="4195760"/>
            <a:ext cx="5488512" cy="365760"/>
          </a:xfrm>
        </p:spPr>
        <p:txBody>
          <a:bodyPr/>
          <a:lstStyle>
            <a:lvl1pPr>
              <a:buSzPts val="1867"/>
              <a:defRPr sz="1867"/>
            </a:lvl1pPr>
          </a:lstStyle>
          <a:p>
            <a:pPr lvl="0"/>
            <a:endParaRPr lang="en-US"/>
          </a:p>
        </p:txBody>
      </p:sp>
      <p:sp>
        <p:nvSpPr>
          <p:cNvPr id="8" name="Google Shape;1620;p163">
            <a:extLst>
              <a:ext uri="{FF2B5EF4-FFF2-40B4-BE49-F238E27FC236}">
                <a16:creationId xmlns:a16="http://schemas.microsoft.com/office/drawing/2014/main" id="{C7C61890-7CB2-EE2E-FCBD-768596A8BBA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621871" y="1806424"/>
            <a:ext cx="10189826" cy="2278209"/>
          </a:xfrm>
        </p:spPr>
        <p:txBody>
          <a:bodyPr anchor="b"/>
          <a:lstStyle>
            <a:lvl1pPr>
              <a:defRPr sz="5333">
                <a:solidFill>
                  <a:srgbClr val="79818A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9" name="Google Shape;1621;p163">
            <a:extLst>
              <a:ext uri="{FF2B5EF4-FFF2-40B4-BE49-F238E27FC236}">
                <a16:creationId xmlns:a16="http://schemas.microsoft.com/office/drawing/2014/main" id="{DB56ED37-C78E-D315-24A2-762DF3E9E63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147483" y="4600575"/>
            <a:ext cx="5486400" cy="365760"/>
          </a:xfrm>
        </p:spPr>
        <p:txBody>
          <a:bodyPr/>
          <a:lstStyle>
            <a:lvl1pPr indent="-347151">
              <a:buSzPts val="1867"/>
              <a:defRPr sz="1867"/>
            </a:lvl1pPr>
          </a:lstStyle>
          <a:p>
            <a:pPr lvl="0"/>
            <a:endParaRPr lang="en-US"/>
          </a:p>
        </p:txBody>
      </p:sp>
      <p:sp>
        <p:nvSpPr>
          <p:cNvPr id="10" name="Google Shape;1622;p163">
            <a:extLst>
              <a:ext uri="{FF2B5EF4-FFF2-40B4-BE49-F238E27FC236}">
                <a16:creationId xmlns:a16="http://schemas.microsoft.com/office/drawing/2014/main" id="{0C18DF97-5500-8F27-1722-CF26D510429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147483" y="5005389"/>
            <a:ext cx="5486400" cy="365760"/>
          </a:xfrm>
        </p:spPr>
        <p:txBody>
          <a:bodyPr/>
          <a:lstStyle>
            <a:lvl1pPr indent="-347151">
              <a:buSzPts val="1867"/>
              <a:defRPr sz="1867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647791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624;p164">
            <a:extLst>
              <a:ext uri="{FF2B5EF4-FFF2-40B4-BE49-F238E27FC236}">
                <a16:creationId xmlns:a16="http://schemas.microsoft.com/office/drawing/2014/main" id="{C5123977-7194-4884-B3AA-7566D179F567}"/>
              </a:ext>
            </a:extLst>
          </p:cNvPr>
          <p:cNvSpPr/>
          <p:nvPr/>
        </p:nvSpPr>
        <p:spPr>
          <a:xfrm>
            <a:off x="-10579" y="6620932"/>
            <a:ext cx="12213165" cy="237067"/>
          </a:xfrm>
          <a:prstGeom prst="rect">
            <a:avLst/>
          </a:prstGeom>
          <a:solidFill>
            <a:srgbClr val="767676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625;p164">
            <a:extLst>
              <a:ext uri="{FF2B5EF4-FFF2-40B4-BE49-F238E27FC236}">
                <a16:creationId xmlns:a16="http://schemas.microsoft.com/office/drawing/2014/main" id="{87E0BEB3-A71A-BABC-9B27-F57629D9484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18111" y="224841"/>
            <a:ext cx="11715722" cy="569323"/>
          </a:xfrm>
        </p:spPr>
        <p:txBody>
          <a:bodyPr/>
          <a:lstStyle>
            <a:lvl1pPr>
              <a:defRPr sz="2933">
                <a:solidFill>
                  <a:srgbClr val="79818A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626;p164">
            <a:extLst>
              <a:ext uri="{FF2B5EF4-FFF2-40B4-BE49-F238E27FC236}">
                <a16:creationId xmlns:a16="http://schemas.microsoft.com/office/drawing/2014/main" id="{C0DBB5EA-85A3-A8D5-EA43-443EB3BB323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18111" y="917198"/>
            <a:ext cx="11715722" cy="4958672"/>
          </a:xfrm>
        </p:spPr>
        <p:txBody>
          <a:bodyPr/>
          <a:lstStyle>
            <a:lvl1pPr indent="-347151">
              <a:buSzPts val="1867"/>
              <a:buFont typeface="Noto Sans Symbols"/>
              <a:buChar char="▪"/>
              <a:defRPr sz="1867" b="1"/>
            </a:lvl1pPr>
          </a:lstStyle>
          <a:p>
            <a:pPr lvl="0"/>
            <a:endParaRPr lang="en-US"/>
          </a:p>
        </p:txBody>
      </p:sp>
      <p:sp>
        <p:nvSpPr>
          <p:cNvPr id="5" name="Google Shape;1627;p164">
            <a:extLst>
              <a:ext uri="{FF2B5EF4-FFF2-40B4-BE49-F238E27FC236}">
                <a16:creationId xmlns:a16="http://schemas.microsoft.com/office/drawing/2014/main" id="{1BA62BD9-CEDE-A319-B1A0-DF7F4817CDA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858932" y="5969002"/>
            <a:ext cx="8074901" cy="649818"/>
          </a:xfrm>
        </p:spPr>
        <p:txBody>
          <a:bodyPr anchor="b"/>
          <a:lstStyle>
            <a:lvl1pPr indent="-313246">
              <a:buSzPts val="1333"/>
              <a:defRPr sz="1333"/>
            </a:lvl1pPr>
          </a:lstStyle>
          <a:p>
            <a:pPr lvl="0"/>
            <a:endParaRPr lang="en-US"/>
          </a:p>
        </p:txBody>
      </p:sp>
      <p:sp>
        <p:nvSpPr>
          <p:cNvPr id="6" name="Google Shape;1628;p164">
            <a:extLst>
              <a:ext uri="{FF2B5EF4-FFF2-40B4-BE49-F238E27FC236}">
                <a16:creationId xmlns:a16="http://schemas.microsoft.com/office/drawing/2014/main" id="{022AD9CA-77E3-D216-1C1D-39EC14D814AC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 sz="1467">
                <a:solidFill>
                  <a:srgbClr val="FFFFFF"/>
                </a:solidFill>
              </a:defRPr>
            </a:lvl1pPr>
          </a:lstStyle>
          <a:p>
            <a:pPr lvl="0"/>
            <a:fld id="{E523522A-F6B2-4B4D-8E56-664346DF411A}" type="slidenum">
              <a:t>‹#›</a:t>
            </a:fld>
            <a:endParaRPr lang="en-US"/>
          </a:p>
        </p:txBody>
      </p:sp>
      <p:pic>
        <p:nvPicPr>
          <p:cNvPr id="7" name="Google Shape;1629;p164" descr="M:\Marketing Communication and Referral Access\Luis\newbrand\UCM_logo\master\horizontal\UCM_Logo_Master_Brand_Horizontal_Tagline_rgb.jpg">
            <a:extLst>
              <a:ext uri="{FF2B5EF4-FFF2-40B4-BE49-F238E27FC236}">
                <a16:creationId xmlns:a16="http://schemas.microsoft.com/office/drawing/2014/main" id="{FCDE1DCE-696A-702A-A640-82DAC9DEEE0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101598" y="5969002"/>
            <a:ext cx="3704344" cy="65193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961368516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_Yale Blu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631;p165">
            <a:extLst>
              <a:ext uri="{FF2B5EF4-FFF2-40B4-BE49-F238E27FC236}">
                <a16:creationId xmlns:a16="http://schemas.microsoft.com/office/drawing/2014/main" id="{841A1405-A754-6D14-A34A-263C7EC059D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5400857"/>
            <a:ext cx="8178613" cy="381643"/>
          </a:xfrm>
        </p:spPr>
        <p:txBody>
          <a:bodyPr>
            <a:spAutoFit/>
          </a:bodyPr>
          <a:lstStyle>
            <a:lvl1pPr indent="-228600" algn="r"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632;p165">
            <a:extLst>
              <a:ext uri="{FF2B5EF4-FFF2-40B4-BE49-F238E27FC236}">
                <a16:creationId xmlns:a16="http://schemas.microsoft.com/office/drawing/2014/main" id="{D849C4CA-AFEB-968F-479F-4058611A18D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826556" y="1807147"/>
            <a:ext cx="8178613" cy="1629460"/>
          </a:xfrm>
        </p:spPr>
        <p:txBody>
          <a:bodyPr anchor="b"/>
          <a:lstStyle>
            <a:lvl1pPr>
              <a:defRPr sz="5333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633;p165">
            <a:extLst>
              <a:ext uri="{FF2B5EF4-FFF2-40B4-BE49-F238E27FC236}">
                <a16:creationId xmlns:a16="http://schemas.microsoft.com/office/drawing/2014/main" id="{0DE0EC6F-B060-45D5-BE7D-FBBB3C2D3EEB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1" tIns="45701" rIns="91421" bIns="45701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634;p165">
            <a:extLst>
              <a:ext uri="{FF2B5EF4-FFF2-40B4-BE49-F238E27FC236}">
                <a16:creationId xmlns:a16="http://schemas.microsoft.com/office/drawing/2014/main" id="{B2738781-7622-7D93-87E2-49CC9EAE2A6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Google Shape;1635;p165">
            <a:extLst>
              <a:ext uri="{FF2B5EF4-FFF2-40B4-BE49-F238E27FC236}">
                <a16:creationId xmlns:a16="http://schemas.microsoft.com/office/drawing/2014/main" id="{C6892620-2681-E328-56C6-73F5602B1E8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96A43731-EF38-488B-A2BD-357D099F4BC0}" type="slidenum">
              <a:t>‹#›</a:t>
            </a:fld>
            <a:endParaRPr lang="en-US"/>
          </a:p>
        </p:txBody>
      </p:sp>
      <p:sp>
        <p:nvSpPr>
          <p:cNvPr id="7" name="Google Shape;1636;p165">
            <a:extLst>
              <a:ext uri="{FF2B5EF4-FFF2-40B4-BE49-F238E27FC236}">
                <a16:creationId xmlns:a16="http://schemas.microsoft.com/office/drawing/2014/main" id="{73C32F4C-0DCC-2058-732A-42CDF91F267B}"/>
              </a:ext>
            </a:extLst>
          </p:cNvPr>
          <p:cNvSpPr/>
          <p:nvPr/>
        </p:nvSpPr>
        <p:spPr>
          <a:xfrm rot="10799991">
            <a:off x="-28" y="2000223"/>
            <a:ext cx="2785070" cy="2042851"/>
          </a:xfrm>
          <a:custGeom>
            <a:avLst/>
            <a:gdLst>
              <a:gd name="f0" fmla="val w"/>
              <a:gd name="f1" fmla="val h"/>
              <a:gd name="f2" fmla="val 0"/>
              <a:gd name="f3" fmla="val 10293751"/>
              <a:gd name="f4" fmla="val 1031873"/>
              <a:gd name="f5" fmla="val 3579068"/>
              <a:gd name="f6" fmla="val 1"/>
              <a:gd name="f7" fmla="val 1031872"/>
              <a:gd name="f8" fmla="*/ f0 1 10293751"/>
              <a:gd name="f9" fmla="*/ f1 1 1031873"/>
              <a:gd name="f10" fmla="+- f4 0 f2"/>
              <a:gd name="f11" fmla="+- f3 0 f2"/>
              <a:gd name="f12" fmla="*/ f11 1 10293751"/>
              <a:gd name="f13" fmla="*/ f10 1 1031873"/>
              <a:gd name="f14" fmla="*/ f2 1 f12"/>
              <a:gd name="f15" fmla="*/ f3 1 f12"/>
              <a:gd name="f16" fmla="*/ f2 1 f13"/>
              <a:gd name="f17" fmla="*/ f4 1 f13"/>
              <a:gd name="f18" fmla="*/ f14 f8 1"/>
              <a:gd name="f19" fmla="*/ f15 f8 1"/>
              <a:gd name="f20" fmla="*/ f17 f9 1"/>
              <a:gd name="f21" fmla="*/ f16 f9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8" t="f21" r="f19" b="f20"/>
            <a:pathLst>
              <a:path w="10293751" h="1031873">
                <a:moveTo>
                  <a:pt x="f5" y="f2"/>
                </a:moveTo>
                <a:lnTo>
                  <a:pt x="f3" y="f6"/>
                </a:lnTo>
                <a:lnTo>
                  <a:pt x="f3" y="f4"/>
                </a:lnTo>
                <a:lnTo>
                  <a:pt x="f2" y="f7"/>
                </a:lnTo>
                <a:lnTo>
                  <a:pt x="f5" y="f2"/>
                </a:lnTo>
                <a:close/>
              </a:path>
            </a:pathLst>
          </a:cu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8" name="Google Shape;1637;p165">
            <a:extLst>
              <a:ext uri="{FF2B5EF4-FFF2-40B4-BE49-F238E27FC236}">
                <a16:creationId xmlns:a16="http://schemas.microsoft.com/office/drawing/2014/main" id="{650B5C36-10FE-EE94-CA44-EE34D048DD9A}"/>
              </a:ext>
            </a:extLst>
          </p:cNvPr>
          <p:cNvSpPr/>
          <p:nvPr/>
        </p:nvSpPr>
        <p:spPr>
          <a:xfrm>
            <a:off x="0" y="6115049"/>
            <a:ext cx="12191996" cy="742950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9" name="Google Shape;1638;p165">
            <a:extLst>
              <a:ext uri="{FF2B5EF4-FFF2-40B4-BE49-F238E27FC236}">
                <a16:creationId xmlns:a16="http://schemas.microsoft.com/office/drawing/2014/main" id="{EA511F79-D1EC-8B79-5DF7-CE17EC5A63F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3447397"/>
            <a:ext cx="8178613" cy="713314"/>
          </a:xfrm>
        </p:spPr>
        <p:txBody>
          <a:bodyPr/>
          <a:lstStyle>
            <a:lvl1pPr indent="-228600">
              <a:buNone/>
              <a:defRPr sz="3200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10" name="Google Shape;1639;p165">
            <a:extLst>
              <a:ext uri="{FF2B5EF4-FFF2-40B4-BE49-F238E27FC236}">
                <a16:creationId xmlns:a16="http://schemas.microsoft.com/office/drawing/2014/main" id="{85BE721C-DDFB-04A2-5A23-F27A96AA803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2829830" y="4178332"/>
            <a:ext cx="4395959" cy="1140165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529626454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641;p166">
            <a:extLst>
              <a:ext uri="{FF2B5EF4-FFF2-40B4-BE49-F238E27FC236}">
                <a16:creationId xmlns:a16="http://schemas.microsoft.com/office/drawing/2014/main" id="{DC8EBFEE-7C8C-3830-C7CC-3CFF6F71A37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48992" y="783841"/>
            <a:ext cx="10177756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642;p166">
            <a:extLst>
              <a:ext uri="{FF2B5EF4-FFF2-40B4-BE49-F238E27FC236}">
                <a16:creationId xmlns:a16="http://schemas.microsoft.com/office/drawing/2014/main" id="{EF18667E-1D44-5084-E436-501B2CE9E500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4" name="Google Shape;1643;p166">
            <a:extLst>
              <a:ext uri="{FF2B5EF4-FFF2-40B4-BE49-F238E27FC236}">
                <a16:creationId xmlns:a16="http://schemas.microsoft.com/office/drawing/2014/main" id="{0127742C-2C08-23A9-0FAF-594848F4F023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5" name="Google Shape;1644;p166">
            <a:extLst>
              <a:ext uri="{FF2B5EF4-FFF2-40B4-BE49-F238E27FC236}">
                <a16:creationId xmlns:a16="http://schemas.microsoft.com/office/drawing/2014/main" id="{65ED02D5-6B70-83E9-2810-75812F98703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48782" y="1615022"/>
            <a:ext cx="10176933" cy="3812115"/>
          </a:xfrm>
        </p:spPr>
        <p:txBody>
          <a:bodyPr/>
          <a:lstStyle>
            <a:lvl1pPr indent="-364040">
              <a:buSzPts val="2133"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6" name="Google Shape;1645;p166">
            <a:extLst>
              <a:ext uri="{FF2B5EF4-FFF2-40B4-BE49-F238E27FC236}">
                <a16:creationId xmlns:a16="http://schemas.microsoft.com/office/drawing/2014/main" id="{9BCFB8A2-0A34-9D93-13FE-B0F876636AE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668535558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647;p167">
            <a:extLst>
              <a:ext uri="{FF2B5EF4-FFF2-40B4-BE49-F238E27FC236}">
                <a16:creationId xmlns:a16="http://schemas.microsoft.com/office/drawing/2014/main" id="{CCF72B5A-D3A0-E6EC-0785-72758E293944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3" name="Google Shape;1648;p167">
            <a:extLst>
              <a:ext uri="{FF2B5EF4-FFF2-40B4-BE49-F238E27FC236}">
                <a16:creationId xmlns:a16="http://schemas.microsoft.com/office/drawing/2014/main" id="{CD8B16D3-47EE-B1ED-9338-76B03677402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Google Shape;1649;p167">
            <a:extLst>
              <a:ext uri="{FF2B5EF4-FFF2-40B4-BE49-F238E27FC236}">
                <a16:creationId xmlns:a16="http://schemas.microsoft.com/office/drawing/2014/main" id="{4B8008FB-D5F5-B37D-4763-365C590E89FC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5" name="Google Shape;1650;p167">
            <a:extLst>
              <a:ext uri="{FF2B5EF4-FFF2-40B4-BE49-F238E27FC236}">
                <a16:creationId xmlns:a16="http://schemas.microsoft.com/office/drawing/2014/main" id="{CE7594EB-FD40-613E-20B8-2148DCBD18F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48992" y="806857"/>
            <a:ext cx="10156176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Google Shape;1651;p167">
            <a:extLst>
              <a:ext uri="{FF2B5EF4-FFF2-40B4-BE49-F238E27FC236}">
                <a16:creationId xmlns:a16="http://schemas.microsoft.com/office/drawing/2014/main" id="{22AA5A54-93EB-AF94-BCEA-CB43202A76D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48992" y="1637854"/>
            <a:ext cx="10156176" cy="4117159"/>
          </a:xfrm>
        </p:spPr>
        <p:txBody>
          <a:bodyPr/>
          <a:lstStyle>
            <a:lvl1pPr indent="-228600">
              <a:lnSpc>
                <a:spcPct val="90000"/>
              </a:lnSpc>
              <a:buNone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78517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30210660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Section | Picture and Copy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653;p168">
            <a:extLst>
              <a:ext uri="{FF2B5EF4-FFF2-40B4-BE49-F238E27FC236}">
                <a16:creationId xmlns:a16="http://schemas.microsoft.com/office/drawing/2014/main" id="{D636B774-667B-3DF0-259F-A80C2ACDD395}"/>
              </a:ext>
            </a:extLst>
          </p:cNvPr>
          <p:cNvSpPr/>
          <p:nvPr/>
        </p:nvSpPr>
        <p:spPr>
          <a:xfrm>
            <a:off x="0" y="6313118"/>
            <a:ext cx="12191996" cy="544881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654;p168">
            <a:extLst>
              <a:ext uri="{FF2B5EF4-FFF2-40B4-BE49-F238E27FC236}">
                <a16:creationId xmlns:a16="http://schemas.microsoft.com/office/drawing/2014/main" id="{27009049-E1DC-1953-1C87-F4E464E63F0E}"/>
              </a:ext>
            </a:extLst>
          </p:cNvPr>
          <p:cNvSpPr/>
          <p:nvPr/>
        </p:nvSpPr>
        <p:spPr>
          <a:xfrm>
            <a:off x="0" y="6301514"/>
            <a:ext cx="12191996" cy="45720"/>
          </a:xfrm>
          <a:prstGeom prst="rect">
            <a:avLst/>
          </a:prstGeom>
          <a:solidFill>
            <a:srgbClr val="A4D65E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1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4" name="Google Shape;1655;p168">
            <a:extLst>
              <a:ext uri="{FF2B5EF4-FFF2-40B4-BE49-F238E27FC236}">
                <a16:creationId xmlns:a16="http://schemas.microsoft.com/office/drawing/2014/main" id="{8ECCC539-A5C0-2A5A-DE54-959A30DED0C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186836" y="1294452"/>
            <a:ext cx="3983336" cy="3788084"/>
          </a:xfrm>
        </p:spPr>
        <p:txBody>
          <a:bodyPr/>
          <a:lstStyle>
            <a:lvl1pPr indent="-228600">
              <a:buNone/>
              <a:defRPr sz="1200" i="1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656;p168">
            <a:extLst>
              <a:ext uri="{FF2B5EF4-FFF2-40B4-BE49-F238E27FC236}">
                <a16:creationId xmlns:a16="http://schemas.microsoft.com/office/drawing/2014/main" id="{7797C585-3042-76A1-BF74-59FA1EB2F0A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549393" y="1997122"/>
            <a:ext cx="5466557" cy="3085414"/>
          </a:xfrm>
        </p:spPr>
        <p:txBody>
          <a:bodyPr/>
          <a:lstStyle>
            <a:lvl1pPr indent="-228600">
              <a:lnSpc>
                <a:spcPct val="90000"/>
              </a:lnSpc>
              <a:buNone/>
              <a:defRPr sz="2133"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Google Shape;1657;p168">
            <a:extLst>
              <a:ext uri="{FF2B5EF4-FFF2-40B4-BE49-F238E27FC236}">
                <a16:creationId xmlns:a16="http://schemas.microsoft.com/office/drawing/2014/main" id="{349A111D-C2F7-42E7-5F2E-2B85756236E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49393" y="1154521"/>
            <a:ext cx="5466557" cy="830997"/>
          </a:xfrm>
        </p:spPr>
        <p:txBody>
          <a:bodyPr anchor="b">
            <a:spAutoFit/>
          </a:bodyPr>
          <a:lstStyle>
            <a:lvl1pPr>
              <a:defRPr sz="4800">
                <a:solidFill>
                  <a:srgbClr val="003B5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7" name="Google Shape;1658;p168">
            <a:extLst>
              <a:ext uri="{FF2B5EF4-FFF2-40B4-BE49-F238E27FC236}">
                <a16:creationId xmlns:a16="http://schemas.microsoft.com/office/drawing/2014/main" id="{DACF65C0-6315-5B23-925E-1642F508A7BB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132667" y="6364406"/>
            <a:ext cx="5059329" cy="493593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799624492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614;p163">
            <a:extLst>
              <a:ext uri="{FF2B5EF4-FFF2-40B4-BE49-F238E27FC236}">
                <a16:creationId xmlns:a16="http://schemas.microsoft.com/office/drawing/2014/main" id="{4E079BFB-76D4-1391-15EE-869B1661EFF3}"/>
              </a:ext>
            </a:extLst>
          </p:cNvPr>
          <p:cNvSpPr/>
          <p:nvPr/>
        </p:nvSpPr>
        <p:spPr>
          <a:xfrm>
            <a:off x="-21168" y="6629400"/>
            <a:ext cx="12213165" cy="228600"/>
          </a:xfrm>
          <a:prstGeom prst="rect">
            <a:avLst/>
          </a:prstGeom>
          <a:solidFill>
            <a:srgbClr val="767676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3" name="Google Shape;1615;p163">
            <a:extLst>
              <a:ext uri="{FF2B5EF4-FFF2-40B4-BE49-F238E27FC236}">
                <a16:creationId xmlns:a16="http://schemas.microsoft.com/office/drawing/2014/main" id="{70BA4EA1-E943-3233-23AB-BF8EA4113AB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945971" y="408517"/>
            <a:ext cx="3706282" cy="1813986"/>
          </a:xfrm>
          <a:prstGeom prst="rect">
            <a:avLst/>
          </a:prstGeom>
          <a:noFill/>
          <a:ln cap="flat">
            <a:noFill/>
          </a:ln>
        </p:spPr>
      </p:pic>
      <p:grpSp>
        <p:nvGrpSpPr>
          <p:cNvPr id="4" name="Google Shape;1616;p163">
            <a:extLst>
              <a:ext uri="{FF2B5EF4-FFF2-40B4-BE49-F238E27FC236}">
                <a16:creationId xmlns:a16="http://schemas.microsoft.com/office/drawing/2014/main" id="{36D821A0-FAB8-0500-E0D7-59C5B329FB59}"/>
              </a:ext>
            </a:extLst>
          </p:cNvPr>
          <p:cNvGrpSpPr/>
          <p:nvPr/>
        </p:nvGrpSpPr>
        <p:grpSpPr>
          <a:xfrm>
            <a:off x="0" y="0"/>
            <a:ext cx="1862669" cy="6629400"/>
            <a:chOff x="0" y="0"/>
            <a:chExt cx="1862669" cy="6629400"/>
          </a:xfrm>
        </p:grpSpPr>
        <p:sp>
          <p:nvSpPr>
            <p:cNvPr id="5" name="Google Shape;1617;p163">
              <a:extLst>
                <a:ext uri="{FF2B5EF4-FFF2-40B4-BE49-F238E27FC236}">
                  <a16:creationId xmlns:a16="http://schemas.microsoft.com/office/drawing/2014/main" id="{4FA76F73-8227-CF45-6BFC-0AE76506A998}"/>
                </a:ext>
              </a:extLst>
            </p:cNvPr>
            <p:cNvSpPr/>
            <p:nvPr/>
          </p:nvSpPr>
          <p:spPr>
            <a:xfrm>
              <a:off x="0" y="0"/>
              <a:ext cx="1782229" cy="6629400"/>
            </a:xfrm>
            <a:prstGeom prst="rect">
              <a:avLst/>
            </a:prstGeom>
            <a:solidFill>
              <a:srgbClr val="800000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24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1618;p163">
              <a:extLst>
                <a:ext uri="{FF2B5EF4-FFF2-40B4-BE49-F238E27FC236}">
                  <a16:creationId xmlns:a16="http://schemas.microsoft.com/office/drawing/2014/main" id="{6CE38A3D-1431-220F-4118-75291AA734D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alphaModFix/>
            </a:blip>
            <a:srcRect/>
            <a:stretch>
              <a:fillRect/>
            </a:stretch>
          </p:blipFill>
          <p:spPr>
            <a:xfrm>
              <a:off x="0" y="0"/>
              <a:ext cx="1862669" cy="6629400"/>
            </a:xfrm>
            <a:prstGeom prst="rect">
              <a:avLst/>
            </a:prstGeom>
            <a:solidFill>
              <a:srgbClr val="79818A"/>
            </a:solidFill>
            <a:ln cap="flat">
              <a:noFill/>
            </a:ln>
          </p:spPr>
        </p:pic>
      </p:grpSp>
      <p:sp>
        <p:nvSpPr>
          <p:cNvPr id="7" name="Google Shape;1619;p163">
            <a:extLst>
              <a:ext uri="{FF2B5EF4-FFF2-40B4-BE49-F238E27FC236}">
                <a16:creationId xmlns:a16="http://schemas.microsoft.com/office/drawing/2014/main" id="{7CDFB854-0807-94C2-4BF3-1AE62F2474C5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147492" y="4195760"/>
            <a:ext cx="5488512" cy="365760"/>
          </a:xfrm>
        </p:spPr>
        <p:txBody>
          <a:bodyPr/>
          <a:lstStyle>
            <a:lvl1pPr>
              <a:buSzPts val="1867"/>
              <a:defRPr sz="1867"/>
            </a:lvl1pPr>
          </a:lstStyle>
          <a:p>
            <a:pPr lvl="0"/>
            <a:endParaRPr lang="en-US"/>
          </a:p>
        </p:txBody>
      </p:sp>
      <p:sp>
        <p:nvSpPr>
          <p:cNvPr id="8" name="Google Shape;1620;p163">
            <a:extLst>
              <a:ext uri="{FF2B5EF4-FFF2-40B4-BE49-F238E27FC236}">
                <a16:creationId xmlns:a16="http://schemas.microsoft.com/office/drawing/2014/main" id="{69E568CC-BD2F-7B4E-3FF0-F0EE0854FEE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621871" y="1806424"/>
            <a:ext cx="10189826" cy="2278209"/>
          </a:xfrm>
        </p:spPr>
        <p:txBody>
          <a:bodyPr anchor="b"/>
          <a:lstStyle>
            <a:lvl1pPr>
              <a:defRPr sz="5333">
                <a:solidFill>
                  <a:srgbClr val="79818A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9" name="Google Shape;1621;p163">
            <a:extLst>
              <a:ext uri="{FF2B5EF4-FFF2-40B4-BE49-F238E27FC236}">
                <a16:creationId xmlns:a16="http://schemas.microsoft.com/office/drawing/2014/main" id="{B7E2B7E4-0B84-075C-36D9-00DDCD66FFA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147483" y="4600575"/>
            <a:ext cx="5486400" cy="365760"/>
          </a:xfrm>
        </p:spPr>
        <p:txBody>
          <a:bodyPr/>
          <a:lstStyle>
            <a:lvl1pPr indent="-347151">
              <a:buSzPts val="1867"/>
              <a:defRPr sz="1867"/>
            </a:lvl1pPr>
          </a:lstStyle>
          <a:p>
            <a:pPr lvl="0"/>
            <a:endParaRPr lang="en-US"/>
          </a:p>
        </p:txBody>
      </p:sp>
      <p:sp>
        <p:nvSpPr>
          <p:cNvPr id="10" name="Google Shape;1622;p163">
            <a:extLst>
              <a:ext uri="{FF2B5EF4-FFF2-40B4-BE49-F238E27FC236}">
                <a16:creationId xmlns:a16="http://schemas.microsoft.com/office/drawing/2014/main" id="{2EB54265-CB01-91AD-BE2A-51B866B84CC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147483" y="5005389"/>
            <a:ext cx="5486400" cy="365760"/>
          </a:xfrm>
        </p:spPr>
        <p:txBody>
          <a:bodyPr/>
          <a:lstStyle>
            <a:lvl1pPr indent="-347151">
              <a:buSzPts val="1867"/>
              <a:defRPr sz="1867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1079836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_Yale Blu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631;p165">
            <a:extLst>
              <a:ext uri="{FF2B5EF4-FFF2-40B4-BE49-F238E27FC236}">
                <a16:creationId xmlns:a16="http://schemas.microsoft.com/office/drawing/2014/main" id="{9531B064-8268-5E81-601E-AD090E5F468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5400857"/>
            <a:ext cx="8178613" cy="381643"/>
          </a:xfrm>
        </p:spPr>
        <p:txBody>
          <a:bodyPr>
            <a:spAutoFit/>
          </a:bodyPr>
          <a:lstStyle>
            <a:lvl1pPr indent="-228600" algn="r"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632;p165">
            <a:extLst>
              <a:ext uri="{FF2B5EF4-FFF2-40B4-BE49-F238E27FC236}">
                <a16:creationId xmlns:a16="http://schemas.microsoft.com/office/drawing/2014/main" id="{92734131-94D7-0C6C-BF07-38618B3BD90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826556" y="1807147"/>
            <a:ext cx="8178613" cy="1629460"/>
          </a:xfrm>
        </p:spPr>
        <p:txBody>
          <a:bodyPr anchor="b"/>
          <a:lstStyle>
            <a:lvl1pPr>
              <a:defRPr sz="5333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633;p165">
            <a:extLst>
              <a:ext uri="{FF2B5EF4-FFF2-40B4-BE49-F238E27FC236}">
                <a16:creationId xmlns:a16="http://schemas.microsoft.com/office/drawing/2014/main" id="{5B4C7A4B-E1E8-7C5D-9A57-9E798A31553D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1" tIns="45701" rIns="91421" bIns="45701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634;p165">
            <a:extLst>
              <a:ext uri="{FF2B5EF4-FFF2-40B4-BE49-F238E27FC236}">
                <a16:creationId xmlns:a16="http://schemas.microsoft.com/office/drawing/2014/main" id="{2855BEEA-86F2-AEF6-22E4-4693C423F79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Google Shape;1635;p165">
            <a:extLst>
              <a:ext uri="{FF2B5EF4-FFF2-40B4-BE49-F238E27FC236}">
                <a16:creationId xmlns:a16="http://schemas.microsoft.com/office/drawing/2014/main" id="{8F5B3BF1-8B52-A43B-0DDF-EE99CD1019B7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C2FE12CD-728B-4BE6-9A36-AF69B23DB1BD}" type="slidenum">
              <a:t>‹#›</a:t>
            </a:fld>
            <a:endParaRPr lang="en-US"/>
          </a:p>
        </p:txBody>
      </p:sp>
      <p:sp>
        <p:nvSpPr>
          <p:cNvPr id="7" name="Google Shape;1636;p165">
            <a:extLst>
              <a:ext uri="{FF2B5EF4-FFF2-40B4-BE49-F238E27FC236}">
                <a16:creationId xmlns:a16="http://schemas.microsoft.com/office/drawing/2014/main" id="{A1364FA9-6663-B29F-F554-181270094377}"/>
              </a:ext>
            </a:extLst>
          </p:cNvPr>
          <p:cNvSpPr/>
          <p:nvPr/>
        </p:nvSpPr>
        <p:spPr>
          <a:xfrm rot="10799991">
            <a:off x="-28" y="2000223"/>
            <a:ext cx="2785070" cy="2042851"/>
          </a:xfrm>
          <a:custGeom>
            <a:avLst/>
            <a:gdLst>
              <a:gd name="f0" fmla="val w"/>
              <a:gd name="f1" fmla="val h"/>
              <a:gd name="f2" fmla="val 0"/>
              <a:gd name="f3" fmla="val 10293751"/>
              <a:gd name="f4" fmla="val 1031873"/>
              <a:gd name="f5" fmla="val 3579068"/>
              <a:gd name="f6" fmla="val 1"/>
              <a:gd name="f7" fmla="val 1031872"/>
              <a:gd name="f8" fmla="*/ f0 1 10293751"/>
              <a:gd name="f9" fmla="*/ f1 1 1031873"/>
              <a:gd name="f10" fmla="+- f4 0 f2"/>
              <a:gd name="f11" fmla="+- f3 0 f2"/>
              <a:gd name="f12" fmla="*/ f11 1 10293751"/>
              <a:gd name="f13" fmla="*/ f10 1 1031873"/>
              <a:gd name="f14" fmla="*/ f2 1 f12"/>
              <a:gd name="f15" fmla="*/ f3 1 f12"/>
              <a:gd name="f16" fmla="*/ f2 1 f13"/>
              <a:gd name="f17" fmla="*/ f4 1 f13"/>
              <a:gd name="f18" fmla="*/ f14 f8 1"/>
              <a:gd name="f19" fmla="*/ f15 f8 1"/>
              <a:gd name="f20" fmla="*/ f17 f9 1"/>
              <a:gd name="f21" fmla="*/ f16 f9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8" t="f21" r="f19" b="f20"/>
            <a:pathLst>
              <a:path w="10293751" h="1031873">
                <a:moveTo>
                  <a:pt x="f5" y="f2"/>
                </a:moveTo>
                <a:lnTo>
                  <a:pt x="f3" y="f6"/>
                </a:lnTo>
                <a:lnTo>
                  <a:pt x="f3" y="f4"/>
                </a:lnTo>
                <a:lnTo>
                  <a:pt x="f2" y="f7"/>
                </a:lnTo>
                <a:lnTo>
                  <a:pt x="f5" y="f2"/>
                </a:lnTo>
                <a:close/>
              </a:path>
            </a:pathLst>
          </a:cu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8" name="Google Shape;1637;p165">
            <a:extLst>
              <a:ext uri="{FF2B5EF4-FFF2-40B4-BE49-F238E27FC236}">
                <a16:creationId xmlns:a16="http://schemas.microsoft.com/office/drawing/2014/main" id="{B68473BB-42A2-A657-5468-F512205B6C6C}"/>
              </a:ext>
            </a:extLst>
          </p:cNvPr>
          <p:cNvSpPr/>
          <p:nvPr/>
        </p:nvSpPr>
        <p:spPr>
          <a:xfrm>
            <a:off x="0" y="6115049"/>
            <a:ext cx="12191996" cy="742950"/>
          </a:xfrm>
          <a:prstGeom prst="rect">
            <a:avLst/>
          </a:prstGeom>
          <a:solidFill>
            <a:srgbClr val="003B5C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9" name="Google Shape;1638;p165">
            <a:extLst>
              <a:ext uri="{FF2B5EF4-FFF2-40B4-BE49-F238E27FC236}">
                <a16:creationId xmlns:a16="http://schemas.microsoft.com/office/drawing/2014/main" id="{DEBBC1C0-EE0B-2AEA-304C-428B6C8563B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826556" y="3447397"/>
            <a:ext cx="8178613" cy="713314"/>
          </a:xfrm>
        </p:spPr>
        <p:txBody>
          <a:bodyPr/>
          <a:lstStyle>
            <a:lvl1pPr indent="-228600">
              <a:buNone/>
              <a:defRPr sz="3200">
                <a:solidFill>
                  <a:srgbClr val="00314C"/>
                </a:solidFill>
                <a:latin typeface="Verdana"/>
                <a:ea typeface="Verdana"/>
                <a:cs typeface="Verdana"/>
              </a:defRPr>
            </a:lvl1pPr>
          </a:lstStyle>
          <a:p>
            <a:pPr lvl="0"/>
            <a:endParaRPr lang="en-US"/>
          </a:p>
        </p:txBody>
      </p:sp>
      <p:pic>
        <p:nvPicPr>
          <p:cNvPr id="10" name="Google Shape;1639;p165">
            <a:extLst>
              <a:ext uri="{FF2B5EF4-FFF2-40B4-BE49-F238E27FC236}">
                <a16:creationId xmlns:a16="http://schemas.microsoft.com/office/drawing/2014/main" id="{2A5929EB-8E8D-EBF7-C349-7AC6AF47730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2829830" y="4178332"/>
            <a:ext cx="4395959" cy="1140165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36534081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614;p163">
            <a:extLst>
              <a:ext uri="{FF2B5EF4-FFF2-40B4-BE49-F238E27FC236}">
                <a16:creationId xmlns:a16="http://schemas.microsoft.com/office/drawing/2014/main" id="{580AAE2E-E3C5-1C39-5B07-0573E6FD998A}"/>
              </a:ext>
            </a:extLst>
          </p:cNvPr>
          <p:cNvSpPr/>
          <p:nvPr/>
        </p:nvSpPr>
        <p:spPr>
          <a:xfrm>
            <a:off x="-21168" y="6629400"/>
            <a:ext cx="12213165" cy="228600"/>
          </a:xfrm>
          <a:prstGeom prst="rect">
            <a:avLst/>
          </a:prstGeom>
          <a:solidFill>
            <a:srgbClr val="767676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3" name="Google Shape;1615;p163">
            <a:extLst>
              <a:ext uri="{FF2B5EF4-FFF2-40B4-BE49-F238E27FC236}">
                <a16:creationId xmlns:a16="http://schemas.microsoft.com/office/drawing/2014/main" id="{E6D410BA-8F83-54E4-4E6A-7FBF51E75F5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7945971" y="408517"/>
            <a:ext cx="3706282" cy="1813986"/>
          </a:xfrm>
          <a:prstGeom prst="rect">
            <a:avLst/>
          </a:prstGeom>
          <a:noFill/>
          <a:ln cap="flat">
            <a:noFill/>
          </a:ln>
        </p:spPr>
      </p:pic>
      <p:grpSp>
        <p:nvGrpSpPr>
          <p:cNvPr id="4" name="Google Shape;1616;p163">
            <a:extLst>
              <a:ext uri="{FF2B5EF4-FFF2-40B4-BE49-F238E27FC236}">
                <a16:creationId xmlns:a16="http://schemas.microsoft.com/office/drawing/2014/main" id="{CA7F0CBB-B527-9E5C-2A3F-B816638B6B3C}"/>
              </a:ext>
            </a:extLst>
          </p:cNvPr>
          <p:cNvGrpSpPr/>
          <p:nvPr/>
        </p:nvGrpSpPr>
        <p:grpSpPr>
          <a:xfrm>
            <a:off x="0" y="0"/>
            <a:ext cx="1862669" cy="6629400"/>
            <a:chOff x="0" y="0"/>
            <a:chExt cx="1862669" cy="6629400"/>
          </a:xfrm>
        </p:grpSpPr>
        <p:sp>
          <p:nvSpPr>
            <p:cNvPr id="5" name="Google Shape;1617;p163">
              <a:extLst>
                <a:ext uri="{FF2B5EF4-FFF2-40B4-BE49-F238E27FC236}">
                  <a16:creationId xmlns:a16="http://schemas.microsoft.com/office/drawing/2014/main" id="{4DB49121-63C9-11E7-BAA0-DBAE02994EA3}"/>
                </a:ext>
              </a:extLst>
            </p:cNvPr>
            <p:cNvSpPr/>
            <p:nvPr/>
          </p:nvSpPr>
          <p:spPr>
            <a:xfrm>
              <a:off x="0" y="0"/>
              <a:ext cx="1782229" cy="6629400"/>
            </a:xfrm>
            <a:prstGeom prst="rect">
              <a:avLst/>
            </a:prstGeom>
            <a:solidFill>
              <a:srgbClr val="800000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24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1618;p163">
              <a:extLst>
                <a:ext uri="{FF2B5EF4-FFF2-40B4-BE49-F238E27FC236}">
                  <a16:creationId xmlns:a16="http://schemas.microsoft.com/office/drawing/2014/main" id="{FD798ADA-28AB-23FC-C878-74355A8930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alphaModFix/>
            </a:blip>
            <a:srcRect l="7219" t="16937" r="72250" b="20588"/>
            <a:stretch>
              <a:fillRect/>
            </a:stretch>
          </p:blipFill>
          <p:spPr>
            <a:xfrm>
              <a:off x="0" y="0"/>
              <a:ext cx="1862669" cy="6629400"/>
            </a:xfrm>
            <a:prstGeom prst="rect">
              <a:avLst/>
            </a:prstGeom>
            <a:solidFill>
              <a:srgbClr val="79818A"/>
            </a:solidFill>
            <a:ln cap="flat">
              <a:noFill/>
            </a:ln>
          </p:spPr>
        </p:pic>
      </p:grpSp>
      <p:sp>
        <p:nvSpPr>
          <p:cNvPr id="7" name="Google Shape;1619;p163">
            <a:extLst>
              <a:ext uri="{FF2B5EF4-FFF2-40B4-BE49-F238E27FC236}">
                <a16:creationId xmlns:a16="http://schemas.microsoft.com/office/drawing/2014/main" id="{F174BFBA-FC8D-068B-2EA7-986B7DFBF08F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147492" y="4195760"/>
            <a:ext cx="5488512" cy="365760"/>
          </a:xfrm>
        </p:spPr>
        <p:txBody>
          <a:bodyPr/>
          <a:lstStyle>
            <a:lvl1pPr>
              <a:buSzPts val="1867"/>
              <a:defRPr sz="1867"/>
            </a:lvl1pPr>
          </a:lstStyle>
          <a:p>
            <a:pPr lvl="0"/>
            <a:endParaRPr lang="en-US"/>
          </a:p>
        </p:txBody>
      </p:sp>
      <p:sp>
        <p:nvSpPr>
          <p:cNvPr id="8" name="Google Shape;1620;p163">
            <a:extLst>
              <a:ext uri="{FF2B5EF4-FFF2-40B4-BE49-F238E27FC236}">
                <a16:creationId xmlns:a16="http://schemas.microsoft.com/office/drawing/2014/main" id="{CA7AE1CD-BD81-D2FC-AE5F-C55EF1E64B2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621871" y="1806424"/>
            <a:ext cx="10189826" cy="2278209"/>
          </a:xfrm>
        </p:spPr>
        <p:txBody>
          <a:bodyPr anchor="b"/>
          <a:lstStyle>
            <a:lvl1pPr>
              <a:defRPr sz="5333">
                <a:solidFill>
                  <a:srgbClr val="79818A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9" name="Google Shape;1621;p163">
            <a:extLst>
              <a:ext uri="{FF2B5EF4-FFF2-40B4-BE49-F238E27FC236}">
                <a16:creationId xmlns:a16="http://schemas.microsoft.com/office/drawing/2014/main" id="{DE210175-E8A5-4372-FA6E-BC3AC414979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147483" y="4600575"/>
            <a:ext cx="5486400" cy="365760"/>
          </a:xfrm>
        </p:spPr>
        <p:txBody>
          <a:bodyPr/>
          <a:lstStyle>
            <a:lvl1pPr indent="-347151">
              <a:buSzPts val="1867"/>
              <a:defRPr sz="1867"/>
            </a:lvl1pPr>
          </a:lstStyle>
          <a:p>
            <a:pPr lvl="0"/>
            <a:endParaRPr lang="en-US"/>
          </a:p>
        </p:txBody>
      </p:sp>
      <p:sp>
        <p:nvSpPr>
          <p:cNvPr id="10" name="Google Shape;1622;p163">
            <a:extLst>
              <a:ext uri="{FF2B5EF4-FFF2-40B4-BE49-F238E27FC236}">
                <a16:creationId xmlns:a16="http://schemas.microsoft.com/office/drawing/2014/main" id="{9D4A1633-499A-16CA-7C4D-412DDF75936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147483" y="5005389"/>
            <a:ext cx="5486400" cy="365760"/>
          </a:xfrm>
        </p:spPr>
        <p:txBody>
          <a:bodyPr/>
          <a:lstStyle>
            <a:lvl1pPr indent="-347151">
              <a:buSzPts val="1867"/>
              <a:defRPr sz="1867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3031068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660;p169">
            <a:extLst>
              <a:ext uri="{FF2B5EF4-FFF2-40B4-BE49-F238E27FC236}">
                <a16:creationId xmlns:a16="http://schemas.microsoft.com/office/drawing/2014/main" id="{A6722FC7-D5A2-71B6-2AE6-703F1E7160F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63082" y="4406905"/>
            <a:ext cx="10363196" cy="1362071"/>
          </a:xfrm>
        </p:spPr>
        <p:txBody>
          <a:bodyPr anchor="t"/>
          <a:lstStyle>
            <a:lvl1pPr>
              <a:defRPr sz="4000"/>
            </a:lvl1pPr>
          </a:lstStyle>
          <a:p>
            <a:pPr lvl="0"/>
            <a:endParaRPr lang="en-US"/>
          </a:p>
        </p:txBody>
      </p:sp>
      <p:sp>
        <p:nvSpPr>
          <p:cNvPr id="3" name="Google Shape;1661;p169">
            <a:extLst>
              <a:ext uri="{FF2B5EF4-FFF2-40B4-BE49-F238E27FC236}">
                <a16:creationId xmlns:a16="http://schemas.microsoft.com/office/drawing/2014/main" id="{4357BF12-8A92-3896-A1FA-99149AEE3F9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63082" y="2906713"/>
            <a:ext cx="10363196" cy="1500182"/>
          </a:xfrm>
        </p:spPr>
        <p:txBody>
          <a:bodyPr anchor="b"/>
          <a:lstStyle>
            <a:lvl1pPr indent="-228600">
              <a:buNone/>
              <a:defRPr sz="2000">
                <a:solidFill>
                  <a:srgbClr val="919497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662;p169">
            <a:extLst>
              <a:ext uri="{FF2B5EF4-FFF2-40B4-BE49-F238E27FC236}">
                <a16:creationId xmlns:a16="http://schemas.microsoft.com/office/drawing/2014/main" id="{811242B5-8209-8D44-8657-11BE647AA69E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1" tIns="45701" rIns="91421" bIns="45701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663;p169">
            <a:extLst>
              <a:ext uri="{FF2B5EF4-FFF2-40B4-BE49-F238E27FC236}">
                <a16:creationId xmlns:a16="http://schemas.microsoft.com/office/drawing/2014/main" id="{301A69CE-E688-D89C-2513-7D83F5533ADE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Google Shape;1664;p169">
            <a:extLst>
              <a:ext uri="{FF2B5EF4-FFF2-40B4-BE49-F238E27FC236}">
                <a16:creationId xmlns:a16="http://schemas.microsoft.com/office/drawing/2014/main" id="{0AD3D12E-FA4B-1ED8-9575-E581407784B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508900E2-5168-4083-9650-36437CD04986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669413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JECT_WITH_CAPTIO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666;p170">
            <a:extLst>
              <a:ext uri="{FF2B5EF4-FFF2-40B4-BE49-F238E27FC236}">
                <a16:creationId xmlns:a16="http://schemas.microsoft.com/office/drawing/2014/main" id="{06EAD518-EC06-D9B7-A84F-ADE138DEFA8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09603" y="273048"/>
            <a:ext cx="4011079" cy="1162046"/>
          </a:xfrm>
        </p:spPr>
        <p:txBody>
          <a:bodyPr anchor="b"/>
          <a:lstStyle>
            <a:lvl1pPr>
              <a:defRPr sz="2000"/>
            </a:lvl1pPr>
          </a:lstStyle>
          <a:p>
            <a:pPr lvl="0"/>
            <a:endParaRPr lang="en-US"/>
          </a:p>
        </p:txBody>
      </p:sp>
      <p:sp>
        <p:nvSpPr>
          <p:cNvPr id="3" name="Google Shape;1667;p170">
            <a:extLst>
              <a:ext uri="{FF2B5EF4-FFF2-40B4-BE49-F238E27FC236}">
                <a16:creationId xmlns:a16="http://schemas.microsoft.com/office/drawing/2014/main" id="{E94D6B41-B2C2-DED4-1F26-77F0127FD33F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4766730" y="273058"/>
            <a:ext cx="6815663" cy="5853110"/>
          </a:xfrm>
        </p:spPr>
        <p:txBody>
          <a:bodyPr/>
          <a:lstStyle>
            <a:lvl1pPr indent="-431797">
              <a:buSzPts val="3200"/>
              <a:defRPr sz="3200"/>
            </a:lvl1pPr>
          </a:lstStyle>
          <a:p>
            <a:pPr lvl="0"/>
            <a:endParaRPr lang="en-US"/>
          </a:p>
        </p:txBody>
      </p:sp>
      <p:sp>
        <p:nvSpPr>
          <p:cNvPr id="4" name="Google Shape;1668;p170">
            <a:extLst>
              <a:ext uri="{FF2B5EF4-FFF2-40B4-BE49-F238E27FC236}">
                <a16:creationId xmlns:a16="http://schemas.microsoft.com/office/drawing/2014/main" id="{7E2344AF-5A2F-7644-D70A-0A4D129693E9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609603" y="1435105"/>
            <a:ext cx="4011079" cy="4691064"/>
          </a:xfrm>
        </p:spPr>
        <p:txBody>
          <a:bodyPr/>
          <a:lstStyle>
            <a:lvl1pPr indent="-228600">
              <a:buNone/>
              <a:defRPr sz="1400"/>
            </a:lvl1pPr>
          </a:lstStyle>
          <a:p>
            <a:pPr lvl="0"/>
            <a:endParaRPr lang="en-US"/>
          </a:p>
        </p:txBody>
      </p:sp>
      <p:sp>
        <p:nvSpPr>
          <p:cNvPr id="5" name="Google Shape;1669;p170">
            <a:extLst>
              <a:ext uri="{FF2B5EF4-FFF2-40B4-BE49-F238E27FC236}">
                <a16:creationId xmlns:a16="http://schemas.microsoft.com/office/drawing/2014/main" id="{37BCA73E-B490-35E6-16B8-F1CF9D1D9C4B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1" tIns="45701" rIns="91421" bIns="45701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Google Shape;1670;p170">
            <a:extLst>
              <a:ext uri="{FF2B5EF4-FFF2-40B4-BE49-F238E27FC236}">
                <a16:creationId xmlns:a16="http://schemas.microsoft.com/office/drawing/2014/main" id="{B33F58E0-DF96-DD44-DE6D-91FE8D2CF81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7" name="Google Shape;1671;p170">
            <a:extLst>
              <a:ext uri="{FF2B5EF4-FFF2-40B4-BE49-F238E27FC236}">
                <a16:creationId xmlns:a16="http://schemas.microsoft.com/office/drawing/2014/main" id="{72B80730-7B63-674A-D7D1-6F65409D38F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F19394CE-4D22-4FFF-A492-08E4DE3A5526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417732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VERYDAY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673;p171">
            <a:extLst>
              <a:ext uri="{FF2B5EF4-FFF2-40B4-BE49-F238E27FC236}">
                <a16:creationId xmlns:a16="http://schemas.microsoft.com/office/drawing/2014/main" id="{04014714-A676-0CD6-52BE-5C0850E812BB}"/>
              </a:ext>
            </a:extLst>
          </p:cNvPr>
          <p:cNvSpPr/>
          <p:nvPr/>
        </p:nvSpPr>
        <p:spPr>
          <a:xfrm>
            <a:off x="0" y="0"/>
            <a:ext cx="12191996" cy="1313060"/>
          </a:xfrm>
          <a:prstGeom prst="rect">
            <a:avLst/>
          </a:prstGeom>
          <a:gradFill>
            <a:gsLst>
              <a:gs pos="0">
                <a:srgbClr val="1C498B"/>
              </a:gs>
              <a:gs pos="100000">
                <a:srgbClr val="79818A"/>
              </a:gs>
            </a:gsLst>
            <a:lin ang="0"/>
          </a:gra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674;p171">
            <a:extLst>
              <a:ext uri="{FF2B5EF4-FFF2-40B4-BE49-F238E27FC236}">
                <a16:creationId xmlns:a16="http://schemas.microsoft.com/office/drawing/2014/main" id="{1CFC283B-9FAE-A057-6598-D213986DE943}"/>
              </a:ext>
            </a:extLst>
          </p:cNvPr>
          <p:cNvSpPr/>
          <p:nvPr/>
        </p:nvSpPr>
        <p:spPr>
          <a:xfrm>
            <a:off x="6863641" y="16267"/>
            <a:ext cx="5328355" cy="812270"/>
          </a:xfrm>
          <a:custGeom>
            <a:avLst/>
            <a:gdLst>
              <a:gd name="f0" fmla="val w"/>
              <a:gd name="f1" fmla="val h"/>
              <a:gd name="f2" fmla="val 0"/>
              <a:gd name="f3" fmla="val 21600"/>
              <a:gd name="f4" fmla="val 20619"/>
              <a:gd name="f5" fmla="val 7043"/>
              <a:gd name="f6" fmla="val 1599"/>
              <a:gd name="f7" fmla="val 10431"/>
              <a:gd name="f8" fmla="val 3359"/>
              <a:gd name="f9" fmla="val 12009"/>
              <a:gd name="f10" fmla="val 5125"/>
              <a:gd name="f11" fmla="val 11638"/>
              <a:gd name="f12" fmla="val 8965"/>
              <a:gd name="f13" fmla="val 10834"/>
              <a:gd name="f14" fmla="val 12429"/>
              <a:gd name="f15" fmla="val 1037"/>
              <a:gd name="f16" fmla="val 16255"/>
              <a:gd name="f17" fmla="val 77"/>
              <a:gd name="f18" fmla="val 18093"/>
              <a:gd name="f19" fmla="+- 0 0 385"/>
              <a:gd name="f20" fmla="val 19927"/>
              <a:gd name="f21" fmla="val 1227"/>
              <a:gd name="f22" fmla="val 21590"/>
              <a:gd name="f23" fmla="val 4766"/>
              <a:gd name="f24" fmla="val 14041"/>
              <a:gd name="f25" fmla="val 19718"/>
              <a:gd name="f26" fmla="val 9870"/>
              <a:gd name="f27" fmla="val 17612"/>
              <a:gd name="f28" fmla="val 8157"/>
              <a:gd name="f29" fmla="val 15523"/>
              <a:gd name="f30" fmla="val 9097"/>
              <a:gd name="f31" fmla="val 12138"/>
              <a:gd name="f32" fmla="val 10620"/>
              <a:gd name="f33" fmla="val 9076"/>
              <a:gd name="f34" fmla="val 19001"/>
              <a:gd name="f35" fmla="val 5674"/>
              <a:gd name="f36" fmla="val 20410"/>
              <a:gd name="f37" fmla="val 3728"/>
              <a:gd name="f38" fmla="val 21215"/>
              <a:gd name="f39" fmla="val 1770"/>
              <a:gd name="f40" fmla="val 19679"/>
              <a:gd name="f41" fmla="val 15961"/>
              <a:gd name="f42" fmla="*/ f0 1 21600"/>
              <a:gd name="f43" fmla="*/ f1 1 20619"/>
              <a:gd name="f44" fmla="+- f4 0 f2"/>
              <a:gd name="f45" fmla="+- f3 0 f2"/>
              <a:gd name="f46" fmla="*/ f45 1 21600"/>
              <a:gd name="f47" fmla="*/ f44 1 20619"/>
              <a:gd name="f48" fmla="*/ f2 1 f46"/>
              <a:gd name="f49" fmla="*/ f3 1 f46"/>
              <a:gd name="f50" fmla="*/ f2 1 f47"/>
              <a:gd name="f51" fmla="*/ f4 1 f47"/>
              <a:gd name="f52" fmla="*/ f48 f42 1"/>
              <a:gd name="f53" fmla="*/ f49 f42 1"/>
              <a:gd name="f54" fmla="*/ f51 f43 1"/>
              <a:gd name="f55" fmla="*/ f50 f43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52" t="f55" r="f53" b="f54"/>
            <a:pathLst>
              <a:path w="21600" h="20619">
                <a:moveTo>
                  <a:pt x="f2" y="f5"/>
                </a:moveTo>
                <a:cubicBezTo>
                  <a:pt x="f6" y="f7"/>
                  <a:pt x="f8" y="f9"/>
                  <a:pt x="f10" y="f11"/>
                </a:cubicBezTo>
                <a:cubicBezTo>
                  <a:pt x="f12" y="f13"/>
                  <a:pt x="f14" y="f15"/>
                  <a:pt x="f16" y="f17"/>
                </a:cubicBezTo>
                <a:cubicBezTo>
                  <a:pt x="f18" y="f19"/>
                  <a:pt x="f20" y="f21"/>
                  <a:pt x="f22" y="f23"/>
                </a:cubicBezTo>
                <a:lnTo>
                  <a:pt x="f3" y="f24"/>
                </a:lnTo>
                <a:cubicBezTo>
                  <a:pt x="f25" y="f26"/>
                  <a:pt x="f27" y="f28"/>
                  <a:pt x="f29" y="f30"/>
                </a:cubicBezTo>
                <a:cubicBezTo>
                  <a:pt x="f31" y="f32"/>
                  <a:pt x="f33" y="f34"/>
                  <a:pt x="f35" y="f36"/>
                </a:cubicBezTo>
                <a:cubicBezTo>
                  <a:pt x="f37" y="f38"/>
                  <a:pt x="f39" y="f40"/>
                  <a:pt x="f2" y="f41"/>
                </a:cubicBezTo>
                <a:lnTo>
                  <a:pt x="f2" y="f5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/>
          </a:gradFill>
          <a:ln cap="flat">
            <a:noFill/>
            <a:prstDash val="solid"/>
          </a:ln>
        </p:spPr>
        <p:txBody>
          <a:bodyPr vert="horz" wrap="square" lIns="0" tIns="0" rIns="0" bIns="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525" b="0" i="0" u="none" strike="noStrike" kern="1200" cap="none" spc="0" baseline="0">
              <a:solidFill>
                <a:srgbClr val="FFFFFF"/>
              </a:solidFill>
              <a:uFillTx/>
              <a:latin typeface="Helvetica Neue"/>
              <a:ea typeface="Helvetica Neue"/>
              <a:cs typeface="Helvetica Neue"/>
            </a:endParaRPr>
          </a:p>
        </p:txBody>
      </p:sp>
      <p:sp>
        <p:nvSpPr>
          <p:cNvPr id="4" name="Google Shape;1675;p171">
            <a:extLst>
              <a:ext uri="{FF2B5EF4-FFF2-40B4-BE49-F238E27FC236}">
                <a16:creationId xmlns:a16="http://schemas.microsoft.com/office/drawing/2014/main" id="{1D2E6A1A-9B85-B790-64D2-22FF739992D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08543" y="1707788"/>
            <a:ext cx="11203667" cy="4648571"/>
          </a:xfrm>
        </p:spPr>
        <p:txBody>
          <a:bodyPr/>
          <a:lstStyle>
            <a:lvl1pPr>
              <a:defRPr>
                <a:solidFill>
                  <a:srgbClr val="4B545E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676;p171">
            <a:extLst>
              <a:ext uri="{FF2B5EF4-FFF2-40B4-BE49-F238E27FC236}">
                <a16:creationId xmlns:a16="http://schemas.microsoft.com/office/drawing/2014/main" id="{238630A3-6F9D-3FF7-B7A2-2A078A266782}"/>
              </a:ext>
            </a:extLst>
          </p:cNvPr>
          <p:cNvSpPr/>
          <p:nvPr/>
        </p:nvSpPr>
        <p:spPr>
          <a:xfrm>
            <a:off x="6863641" y="519644"/>
            <a:ext cx="5328355" cy="812270"/>
          </a:xfrm>
          <a:custGeom>
            <a:avLst/>
            <a:gdLst>
              <a:gd name="f0" fmla="val w"/>
              <a:gd name="f1" fmla="val h"/>
              <a:gd name="f2" fmla="val 0"/>
              <a:gd name="f3" fmla="val 21600"/>
              <a:gd name="f4" fmla="val 20619"/>
              <a:gd name="f5" fmla="val 7043"/>
              <a:gd name="f6" fmla="val 1599"/>
              <a:gd name="f7" fmla="val 10431"/>
              <a:gd name="f8" fmla="val 3359"/>
              <a:gd name="f9" fmla="val 12009"/>
              <a:gd name="f10" fmla="val 5125"/>
              <a:gd name="f11" fmla="val 11638"/>
              <a:gd name="f12" fmla="val 8965"/>
              <a:gd name="f13" fmla="val 10834"/>
              <a:gd name="f14" fmla="val 12429"/>
              <a:gd name="f15" fmla="val 1037"/>
              <a:gd name="f16" fmla="val 16255"/>
              <a:gd name="f17" fmla="val 77"/>
              <a:gd name="f18" fmla="val 18093"/>
              <a:gd name="f19" fmla="+- 0 0 385"/>
              <a:gd name="f20" fmla="val 19927"/>
              <a:gd name="f21" fmla="val 1227"/>
              <a:gd name="f22" fmla="val 21590"/>
              <a:gd name="f23" fmla="val 4766"/>
              <a:gd name="f24" fmla="val 14041"/>
              <a:gd name="f25" fmla="val 19718"/>
              <a:gd name="f26" fmla="val 9870"/>
              <a:gd name="f27" fmla="val 17612"/>
              <a:gd name="f28" fmla="val 8157"/>
              <a:gd name="f29" fmla="val 15523"/>
              <a:gd name="f30" fmla="val 9097"/>
              <a:gd name="f31" fmla="val 12138"/>
              <a:gd name="f32" fmla="val 10620"/>
              <a:gd name="f33" fmla="val 9076"/>
              <a:gd name="f34" fmla="val 19001"/>
              <a:gd name="f35" fmla="val 5674"/>
              <a:gd name="f36" fmla="val 20410"/>
              <a:gd name="f37" fmla="val 3728"/>
              <a:gd name="f38" fmla="val 21215"/>
              <a:gd name="f39" fmla="val 1770"/>
              <a:gd name="f40" fmla="val 19679"/>
              <a:gd name="f41" fmla="val 15961"/>
              <a:gd name="f42" fmla="*/ f0 1 21600"/>
              <a:gd name="f43" fmla="*/ f1 1 20619"/>
              <a:gd name="f44" fmla="+- f4 0 f2"/>
              <a:gd name="f45" fmla="+- f3 0 f2"/>
              <a:gd name="f46" fmla="*/ f45 1 21600"/>
              <a:gd name="f47" fmla="*/ f44 1 20619"/>
              <a:gd name="f48" fmla="*/ f2 1 f46"/>
              <a:gd name="f49" fmla="*/ f3 1 f46"/>
              <a:gd name="f50" fmla="*/ f2 1 f47"/>
              <a:gd name="f51" fmla="*/ f4 1 f47"/>
              <a:gd name="f52" fmla="*/ f48 f42 1"/>
              <a:gd name="f53" fmla="*/ f49 f42 1"/>
              <a:gd name="f54" fmla="*/ f51 f43 1"/>
              <a:gd name="f55" fmla="*/ f50 f43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52" t="f55" r="f53" b="f54"/>
            <a:pathLst>
              <a:path w="21600" h="20619">
                <a:moveTo>
                  <a:pt x="f2" y="f5"/>
                </a:moveTo>
                <a:cubicBezTo>
                  <a:pt x="f6" y="f7"/>
                  <a:pt x="f8" y="f9"/>
                  <a:pt x="f10" y="f11"/>
                </a:cubicBezTo>
                <a:cubicBezTo>
                  <a:pt x="f12" y="f13"/>
                  <a:pt x="f14" y="f15"/>
                  <a:pt x="f16" y="f17"/>
                </a:cubicBezTo>
                <a:cubicBezTo>
                  <a:pt x="f18" y="f19"/>
                  <a:pt x="f20" y="f21"/>
                  <a:pt x="f22" y="f23"/>
                </a:cubicBezTo>
                <a:lnTo>
                  <a:pt x="f3" y="f24"/>
                </a:lnTo>
                <a:cubicBezTo>
                  <a:pt x="f25" y="f26"/>
                  <a:pt x="f27" y="f28"/>
                  <a:pt x="f29" y="f30"/>
                </a:cubicBezTo>
                <a:cubicBezTo>
                  <a:pt x="f31" y="f32"/>
                  <a:pt x="f33" y="f34"/>
                  <a:pt x="f35" y="f36"/>
                </a:cubicBezTo>
                <a:cubicBezTo>
                  <a:pt x="f37" y="f38"/>
                  <a:pt x="f39" y="f40"/>
                  <a:pt x="f2" y="f41"/>
                </a:cubicBezTo>
                <a:lnTo>
                  <a:pt x="f2" y="f5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/>
          </a:gradFill>
          <a:ln cap="flat">
            <a:noFill/>
            <a:prstDash val="solid"/>
          </a:ln>
        </p:spPr>
        <p:txBody>
          <a:bodyPr vert="horz" wrap="square" lIns="0" tIns="0" rIns="0" bIns="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525" b="0" i="0" u="none" strike="noStrike" kern="1200" cap="none" spc="0" baseline="0">
              <a:solidFill>
                <a:srgbClr val="FFFFFF"/>
              </a:solidFill>
              <a:uFillTx/>
              <a:latin typeface="Helvetica Neue"/>
              <a:ea typeface="Helvetica Neue"/>
              <a:cs typeface="Helvetica Neue"/>
            </a:endParaRPr>
          </a:p>
        </p:txBody>
      </p:sp>
      <p:sp>
        <p:nvSpPr>
          <p:cNvPr id="6" name="Google Shape;1677;p171">
            <a:extLst>
              <a:ext uri="{FF2B5EF4-FFF2-40B4-BE49-F238E27FC236}">
                <a16:creationId xmlns:a16="http://schemas.microsoft.com/office/drawing/2014/main" id="{153742F9-2490-62C1-953A-34C55D25BB5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04796" y="170060"/>
            <a:ext cx="11430000" cy="1143000"/>
          </a:xfrm>
        </p:spPr>
        <p:txBody>
          <a:bodyPr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7" name="Google Shape;1678;p171">
            <a:extLst>
              <a:ext uri="{FF2B5EF4-FFF2-40B4-BE49-F238E27FC236}">
                <a16:creationId xmlns:a16="http://schemas.microsoft.com/office/drawing/2014/main" id="{4EB70CE3-772E-87D0-C222-41C9F046052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32183" y="953344"/>
            <a:ext cx="11430109" cy="415923"/>
          </a:xfrm>
        </p:spPr>
        <p:txBody>
          <a:bodyPr>
            <a:normAutofit/>
          </a:bodyPr>
          <a:lstStyle>
            <a:lvl1pPr indent="-228600">
              <a:buNone/>
              <a:defRPr sz="1400">
                <a:solidFill>
                  <a:srgbClr val="FFFFFF"/>
                </a:solidFill>
              </a:defRPr>
            </a:lvl1pPr>
          </a:lstStyle>
          <a:p>
            <a:pPr lvl="0"/>
            <a:endParaRPr lang="en-US"/>
          </a:p>
        </p:txBody>
      </p:sp>
      <p:cxnSp>
        <p:nvCxnSpPr>
          <p:cNvPr id="8" name="Google Shape;1679;p171">
            <a:extLst>
              <a:ext uri="{FF2B5EF4-FFF2-40B4-BE49-F238E27FC236}">
                <a16:creationId xmlns:a16="http://schemas.microsoft.com/office/drawing/2014/main" id="{897CE0F7-57D1-78C4-921A-2DE5BDC3EE85}"/>
              </a:ext>
            </a:extLst>
          </p:cNvPr>
          <p:cNvCxnSpPr/>
          <p:nvPr/>
        </p:nvCxnSpPr>
        <p:spPr>
          <a:xfrm>
            <a:off x="11311722" y="6447269"/>
            <a:ext cx="0" cy="267883"/>
          </a:xfrm>
          <a:prstGeom prst="straightConnector1">
            <a:avLst/>
          </a:prstGeom>
          <a:noFill/>
          <a:ln w="9528" cap="flat">
            <a:solidFill>
              <a:srgbClr val="7F7F7F"/>
            </a:solidFill>
            <a:prstDash val="solid"/>
            <a:miter/>
          </a:ln>
        </p:spPr>
      </p:cxnSp>
      <p:sp>
        <p:nvSpPr>
          <p:cNvPr id="9" name="Google Shape;1680;p171">
            <a:extLst>
              <a:ext uri="{FF2B5EF4-FFF2-40B4-BE49-F238E27FC236}">
                <a16:creationId xmlns:a16="http://schemas.microsoft.com/office/drawing/2014/main" id="{99B2BE43-39DD-F5FA-7D74-D39428D6FDB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11202597" y="6454530"/>
            <a:ext cx="559704" cy="319171"/>
          </a:xfrm>
        </p:spPr>
        <p:txBody>
          <a:bodyPr/>
          <a:lstStyle>
            <a:lvl1pPr>
              <a:defRPr sz="1000">
                <a:solidFill>
                  <a:srgbClr val="7F7F7F"/>
                </a:solidFill>
              </a:defRPr>
            </a:lvl1pPr>
          </a:lstStyle>
          <a:p>
            <a:pPr lvl="0"/>
            <a:fld id="{4519882D-F08F-4DC8-A3D1-A2D26B41BFAF}" type="slidenum">
              <a:t>‹#›</a:t>
            </a:fld>
            <a:endParaRPr lang="en-US"/>
          </a:p>
        </p:txBody>
      </p:sp>
      <p:pic>
        <p:nvPicPr>
          <p:cNvPr id="10" name="Google Shape;1681;p171">
            <a:extLst>
              <a:ext uri="{FF2B5EF4-FFF2-40B4-BE49-F238E27FC236}">
                <a16:creationId xmlns:a16="http://schemas.microsoft.com/office/drawing/2014/main" id="{702B5412-E2F1-4AF4-358D-DE322649F1EF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9596463" y="6492240"/>
            <a:ext cx="1606134" cy="2292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105764301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683;p172">
            <a:extLst>
              <a:ext uri="{FF2B5EF4-FFF2-40B4-BE49-F238E27FC236}">
                <a16:creationId xmlns:a16="http://schemas.microsoft.com/office/drawing/2014/main" id="{32AE67AD-1191-B340-0938-68017BBF4B93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684;p172">
            <a:extLst>
              <a:ext uri="{FF2B5EF4-FFF2-40B4-BE49-F238E27FC236}">
                <a16:creationId xmlns:a16="http://schemas.microsoft.com/office/drawing/2014/main" id="{0FFC5B44-F297-0548-88E1-0E55DACEA6F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685;p172">
            <a:extLst>
              <a:ext uri="{FF2B5EF4-FFF2-40B4-BE49-F238E27FC236}">
                <a16:creationId xmlns:a16="http://schemas.microsoft.com/office/drawing/2014/main" id="{AF2BB2D2-3EEC-4E7D-C877-6EB7E0E85DF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686;p172">
            <a:extLst>
              <a:ext uri="{FF2B5EF4-FFF2-40B4-BE49-F238E27FC236}">
                <a16:creationId xmlns:a16="http://schemas.microsoft.com/office/drawing/2014/main" id="{B72AA88D-1014-4AF6-E02A-7DBB4AC88F24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DEB09AA5-AEC0-4567-BB7D-5C774E465568}" type="slidenum">
              <a:t>‹#›</a:t>
            </a:fld>
            <a:endParaRPr lang="en-US"/>
          </a:p>
        </p:txBody>
      </p:sp>
      <p:cxnSp>
        <p:nvCxnSpPr>
          <p:cNvPr id="6" name="Google Shape;1687;p172">
            <a:extLst>
              <a:ext uri="{FF2B5EF4-FFF2-40B4-BE49-F238E27FC236}">
                <a16:creationId xmlns:a16="http://schemas.microsoft.com/office/drawing/2014/main" id="{566B5C0E-4A46-5D65-59D1-64757575190A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688;p172">
            <a:extLst>
              <a:ext uri="{FF2B5EF4-FFF2-40B4-BE49-F238E27FC236}">
                <a16:creationId xmlns:a16="http://schemas.microsoft.com/office/drawing/2014/main" id="{0ACB1DC3-C9BD-F4CA-D8F0-AF2A1716DE9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1689;p172">
            <a:extLst>
              <a:ext uri="{FF2B5EF4-FFF2-40B4-BE49-F238E27FC236}">
                <a16:creationId xmlns:a16="http://schemas.microsoft.com/office/drawing/2014/main" id="{3ADC82F5-101E-1FC9-7E30-9B82DC0A9FDA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1690;p172">
              <a:extLst>
                <a:ext uri="{FF2B5EF4-FFF2-40B4-BE49-F238E27FC236}">
                  <a16:creationId xmlns:a16="http://schemas.microsoft.com/office/drawing/2014/main" id="{5F1FE18B-55E8-1C0C-9929-D7B3246A9F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1691;p172">
              <a:extLst>
                <a:ext uri="{FF2B5EF4-FFF2-40B4-BE49-F238E27FC236}">
                  <a16:creationId xmlns:a16="http://schemas.microsoft.com/office/drawing/2014/main" id="{321FAF4F-03E7-2B41-51B1-D6EBE68612F4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1692;p172">
                <a:extLst>
                  <a:ext uri="{FF2B5EF4-FFF2-40B4-BE49-F238E27FC236}">
                    <a16:creationId xmlns:a16="http://schemas.microsoft.com/office/drawing/2014/main" id="{56B13F54-2EE0-E2E6-BD6A-EA3391BA17FD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1693;p172">
                <a:extLst>
                  <a:ext uri="{FF2B5EF4-FFF2-40B4-BE49-F238E27FC236}">
                    <a16:creationId xmlns:a16="http://schemas.microsoft.com/office/drawing/2014/main" id="{F269CD3E-7134-6672-C44E-5B0FF4460549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1694;p172" descr="Open quotation mark with solid fill">
            <a:extLst>
              <a:ext uri="{FF2B5EF4-FFF2-40B4-BE49-F238E27FC236}">
                <a16:creationId xmlns:a16="http://schemas.microsoft.com/office/drawing/2014/main" id="{3EE12AB6-413D-87A9-B5B8-17633DAD3BF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072992372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VERYDAY CONTENT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696;p173">
            <a:extLst>
              <a:ext uri="{FF2B5EF4-FFF2-40B4-BE49-F238E27FC236}">
                <a16:creationId xmlns:a16="http://schemas.microsoft.com/office/drawing/2014/main" id="{4FB746F3-5CB6-F3F1-348A-AD7E65476C6C}"/>
              </a:ext>
            </a:extLst>
          </p:cNvPr>
          <p:cNvSpPr/>
          <p:nvPr/>
        </p:nvSpPr>
        <p:spPr>
          <a:xfrm>
            <a:off x="0" y="0"/>
            <a:ext cx="12191996" cy="1313060"/>
          </a:xfrm>
          <a:prstGeom prst="rect">
            <a:avLst/>
          </a:prstGeom>
          <a:gradFill>
            <a:gsLst>
              <a:gs pos="0">
                <a:srgbClr val="1C498B"/>
              </a:gs>
              <a:gs pos="100000">
                <a:srgbClr val="79818A"/>
              </a:gs>
            </a:gsLst>
            <a:lin ang="0"/>
          </a:gra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697;p173">
            <a:extLst>
              <a:ext uri="{FF2B5EF4-FFF2-40B4-BE49-F238E27FC236}">
                <a16:creationId xmlns:a16="http://schemas.microsoft.com/office/drawing/2014/main" id="{CC89A081-D092-3D87-DD05-D6C68D575948}"/>
              </a:ext>
            </a:extLst>
          </p:cNvPr>
          <p:cNvSpPr/>
          <p:nvPr/>
        </p:nvSpPr>
        <p:spPr>
          <a:xfrm>
            <a:off x="6863641" y="16267"/>
            <a:ext cx="5328355" cy="812270"/>
          </a:xfrm>
          <a:custGeom>
            <a:avLst/>
            <a:gdLst>
              <a:gd name="f0" fmla="val w"/>
              <a:gd name="f1" fmla="val h"/>
              <a:gd name="f2" fmla="val 0"/>
              <a:gd name="f3" fmla="val 21600"/>
              <a:gd name="f4" fmla="val 20619"/>
              <a:gd name="f5" fmla="val 7043"/>
              <a:gd name="f6" fmla="val 1599"/>
              <a:gd name="f7" fmla="val 10431"/>
              <a:gd name="f8" fmla="val 3359"/>
              <a:gd name="f9" fmla="val 12009"/>
              <a:gd name="f10" fmla="val 5125"/>
              <a:gd name="f11" fmla="val 11638"/>
              <a:gd name="f12" fmla="val 8965"/>
              <a:gd name="f13" fmla="val 10834"/>
              <a:gd name="f14" fmla="val 12429"/>
              <a:gd name="f15" fmla="val 1037"/>
              <a:gd name="f16" fmla="val 16255"/>
              <a:gd name="f17" fmla="val 77"/>
              <a:gd name="f18" fmla="val 18093"/>
              <a:gd name="f19" fmla="+- 0 0 385"/>
              <a:gd name="f20" fmla="val 19927"/>
              <a:gd name="f21" fmla="val 1227"/>
              <a:gd name="f22" fmla="val 21590"/>
              <a:gd name="f23" fmla="val 4766"/>
              <a:gd name="f24" fmla="val 14041"/>
              <a:gd name="f25" fmla="val 19718"/>
              <a:gd name="f26" fmla="val 9870"/>
              <a:gd name="f27" fmla="val 17612"/>
              <a:gd name="f28" fmla="val 8157"/>
              <a:gd name="f29" fmla="val 15523"/>
              <a:gd name="f30" fmla="val 9097"/>
              <a:gd name="f31" fmla="val 12138"/>
              <a:gd name="f32" fmla="val 10620"/>
              <a:gd name="f33" fmla="val 9076"/>
              <a:gd name="f34" fmla="val 19001"/>
              <a:gd name="f35" fmla="val 5674"/>
              <a:gd name="f36" fmla="val 20410"/>
              <a:gd name="f37" fmla="val 3728"/>
              <a:gd name="f38" fmla="val 21215"/>
              <a:gd name="f39" fmla="val 1770"/>
              <a:gd name="f40" fmla="val 19679"/>
              <a:gd name="f41" fmla="val 15961"/>
              <a:gd name="f42" fmla="*/ f0 1 21600"/>
              <a:gd name="f43" fmla="*/ f1 1 20619"/>
              <a:gd name="f44" fmla="+- f4 0 f2"/>
              <a:gd name="f45" fmla="+- f3 0 f2"/>
              <a:gd name="f46" fmla="*/ f45 1 21600"/>
              <a:gd name="f47" fmla="*/ f44 1 20619"/>
              <a:gd name="f48" fmla="*/ f2 1 f46"/>
              <a:gd name="f49" fmla="*/ f3 1 f46"/>
              <a:gd name="f50" fmla="*/ f2 1 f47"/>
              <a:gd name="f51" fmla="*/ f4 1 f47"/>
              <a:gd name="f52" fmla="*/ f48 f42 1"/>
              <a:gd name="f53" fmla="*/ f49 f42 1"/>
              <a:gd name="f54" fmla="*/ f51 f43 1"/>
              <a:gd name="f55" fmla="*/ f50 f43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52" t="f55" r="f53" b="f54"/>
            <a:pathLst>
              <a:path w="21600" h="20619">
                <a:moveTo>
                  <a:pt x="f2" y="f5"/>
                </a:moveTo>
                <a:cubicBezTo>
                  <a:pt x="f6" y="f7"/>
                  <a:pt x="f8" y="f9"/>
                  <a:pt x="f10" y="f11"/>
                </a:cubicBezTo>
                <a:cubicBezTo>
                  <a:pt x="f12" y="f13"/>
                  <a:pt x="f14" y="f15"/>
                  <a:pt x="f16" y="f17"/>
                </a:cubicBezTo>
                <a:cubicBezTo>
                  <a:pt x="f18" y="f19"/>
                  <a:pt x="f20" y="f21"/>
                  <a:pt x="f22" y="f23"/>
                </a:cubicBezTo>
                <a:lnTo>
                  <a:pt x="f3" y="f24"/>
                </a:lnTo>
                <a:cubicBezTo>
                  <a:pt x="f25" y="f26"/>
                  <a:pt x="f27" y="f28"/>
                  <a:pt x="f29" y="f30"/>
                </a:cubicBezTo>
                <a:cubicBezTo>
                  <a:pt x="f31" y="f32"/>
                  <a:pt x="f33" y="f34"/>
                  <a:pt x="f35" y="f36"/>
                </a:cubicBezTo>
                <a:cubicBezTo>
                  <a:pt x="f37" y="f38"/>
                  <a:pt x="f39" y="f40"/>
                  <a:pt x="f2" y="f41"/>
                </a:cubicBezTo>
                <a:lnTo>
                  <a:pt x="f2" y="f5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/>
          </a:gradFill>
          <a:ln cap="flat">
            <a:noFill/>
            <a:prstDash val="solid"/>
          </a:ln>
        </p:spPr>
        <p:txBody>
          <a:bodyPr vert="horz" wrap="square" lIns="0" tIns="0" rIns="0" bIns="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525" b="0" i="0" u="none" strike="noStrike" kern="1200" cap="none" spc="0" baseline="0">
              <a:solidFill>
                <a:srgbClr val="FFFFFF"/>
              </a:solidFill>
              <a:uFillTx/>
              <a:latin typeface="Helvetica Neue"/>
              <a:ea typeface="Helvetica Neue"/>
              <a:cs typeface="Helvetica Neue"/>
            </a:endParaRPr>
          </a:p>
        </p:txBody>
      </p:sp>
      <p:sp>
        <p:nvSpPr>
          <p:cNvPr id="4" name="Google Shape;1698;p173">
            <a:extLst>
              <a:ext uri="{FF2B5EF4-FFF2-40B4-BE49-F238E27FC236}">
                <a16:creationId xmlns:a16="http://schemas.microsoft.com/office/drawing/2014/main" id="{618EC545-1FFE-4B7A-F15A-AABF5EBEF06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08543" y="1707788"/>
            <a:ext cx="11203667" cy="4648571"/>
          </a:xfrm>
        </p:spPr>
        <p:txBody>
          <a:bodyPr/>
          <a:lstStyle>
            <a:lvl1pPr>
              <a:defRPr>
                <a:solidFill>
                  <a:srgbClr val="4B545E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699;p173">
            <a:extLst>
              <a:ext uri="{FF2B5EF4-FFF2-40B4-BE49-F238E27FC236}">
                <a16:creationId xmlns:a16="http://schemas.microsoft.com/office/drawing/2014/main" id="{DF0B637C-39E5-8F9D-08DE-5E637E87F9A0}"/>
              </a:ext>
            </a:extLst>
          </p:cNvPr>
          <p:cNvSpPr/>
          <p:nvPr/>
        </p:nvSpPr>
        <p:spPr>
          <a:xfrm>
            <a:off x="6863641" y="519644"/>
            <a:ext cx="5328355" cy="812270"/>
          </a:xfrm>
          <a:custGeom>
            <a:avLst/>
            <a:gdLst>
              <a:gd name="f0" fmla="val w"/>
              <a:gd name="f1" fmla="val h"/>
              <a:gd name="f2" fmla="val 0"/>
              <a:gd name="f3" fmla="val 21600"/>
              <a:gd name="f4" fmla="val 20619"/>
              <a:gd name="f5" fmla="val 7043"/>
              <a:gd name="f6" fmla="val 1599"/>
              <a:gd name="f7" fmla="val 10431"/>
              <a:gd name="f8" fmla="val 3359"/>
              <a:gd name="f9" fmla="val 12009"/>
              <a:gd name="f10" fmla="val 5125"/>
              <a:gd name="f11" fmla="val 11638"/>
              <a:gd name="f12" fmla="val 8965"/>
              <a:gd name="f13" fmla="val 10834"/>
              <a:gd name="f14" fmla="val 12429"/>
              <a:gd name="f15" fmla="val 1037"/>
              <a:gd name="f16" fmla="val 16255"/>
              <a:gd name="f17" fmla="val 77"/>
              <a:gd name="f18" fmla="val 18093"/>
              <a:gd name="f19" fmla="+- 0 0 385"/>
              <a:gd name="f20" fmla="val 19927"/>
              <a:gd name="f21" fmla="val 1227"/>
              <a:gd name="f22" fmla="val 21590"/>
              <a:gd name="f23" fmla="val 4766"/>
              <a:gd name="f24" fmla="val 14041"/>
              <a:gd name="f25" fmla="val 19718"/>
              <a:gd name="f26" fmla="val 9870"/>
              <a:gd name="f27" fmla="val 17612"/>
              <a:gd name="f28" fmla="val 8157"/>
              <a:gd name="f29" fmla="val 15523"/>
              <a:gd name="f30" fmla="val 9097"/>
              <a:gd name="f31" fmla="val 12138"/>
              <a:gd name="f32" fmla="val 10620"/>
              <a:gd name="f33" fmla="val 9076"/>
              <a:gd name="f34" fmla="val 19001"/>
              <a:gd name="f35" fmla="val 5674"/>
              <a:gd name="f36" fmla="val 20410"/>
              <a:gd name="f37" fmla="val 3728"/>
              <a:gd name="f38" fmla="val 21215"/>
              <a:gd name="f39" fmla="val 1770"/>
              <a:gd name="f40" fmla="val 19679"/>
              <a:gd name="f41" fmla="val 15961"/>
              <a:gd name="f42" fmla="*/ f0 1 21600"/>
              <a:gd name="f43" fmla="*/ f1 1 20619"/>
              <a:gd name="f44" fmla="+- f4 0 f2"/>
              <a:gd name="f45" fmla="+- f3 0 f2"/>
              <a:gd name="f46" fmla="*/ f45 1 21600"/>
              <a:gd name="f47" fmla="*/ f44 1 20619"/>
              <a:gd name="f48" fmla="*/ f2 1 f46"/>
              <a:gd name="f49" fmla="*/ f3 1 f46"/>
              <a:gd name="f50" fmla="*/ f2 1 f47"/>
              <a:gd name="f51" fmla="*/ f4 1 f47"/>
              <a:gd name="f52" fmla="*/ f48 f42 1"/>
              <a:gd name="f53" fmla="*/ f49 f42 1"/>
              <a:gd name="f54" fmla="*/ f51 f43 1"/>
              <a:gd name="f55" fmla="*/ f50 f43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52" t="f55" r="f53" b="f54"/>
            <a:pathLst>
              <a:path w="21600" h="20619">
                <a:moveTo>
                  <a:pt x="f2" y="f5"/>
                </a:moveTo>
                <a:cubicBezTo>
                  <a:pt x="f6" y="f7"/>
                  <a:pt x="f8" y="f9"/>
                  <a:pt x="f10" y="f11"/>
                </a:cubicBezTo>
                <a:cubicBezTo>
                  <a:pt x="f12" y="f13"/>
                  <a:pt x="f14" y="f15"/>
                  <a:pt x="f16" y="f17"/>
                </a:cubicBezTo>
                <a:cubicBezTo>
                  <a:pt x="f18" y="f19"/>
                  <a:pt x="f20" y="f21"/>
                  <a:pt x="f22" y="f23"/>
                </a:cubicBezTo>
                <a:lnTo>
                  <a:pt x="f3" y="f24"/>
                </a:lnTo>
                <a:cubicBezTo>
                  <a:pt x="f25" y="f26"/>
                  <a:pt x="f27" y="f28"/>
                  <a:pt x="f29" y="f30"/>
                </a:cubicBezTo>
                <a:cubicBezTo>
                  <a:pt x="f31" y="f32"/>
                  <a:pt x="f33" y="f34"/>
                  <a:pt x="f35" y="f36"/>
                </a:cubicBezTo>
                <a:cubicBezTo>
                  <a:pt x="f37" y="f38"/>
                  <a:pt x="f39" y="f40"/>
                  <a:pt x="f2" y="f41"/>
                </a:cubicBezTo>
                <a:lnTo>
                  <a:pt x="f2" y="f5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/>
          </a:gradFill>
          <a:ln cap="flat">
            <a:noFill/>
            <a:prstDash val="solid"/>
          </a:ln>
        </p:spPr>
        <p:txBody>
          <a:bodyPr vert="horz" wrap="square" lIns="0" tIns="0" rIns="0" bIns="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525" b="0" i="0" u="none" strike="noStrike" kern="1200" cap="none" spc="0" baseline="0">
              <a:solidFill>
                <a:srgbClr val="FFFFFF"/>
              </a:solidFill>
              <a:uFillTx/>
              <a:latin typeface="Helvetica Neue"/>
              <a:ea typeface="Helvetica Neue"/>
              <a:cs typeface="Helvetica Neue"/>
            </a:endParaRPr>
          </a:p>
        </p:txBody>
      </p:sp>
      <p:sp>
        <p:nvSpPr>
          <p:cNvPr id="6" name="Google Shape;1700;p173">
            <a:extLst>
              <a:ext uri="{FF2B5EF4-FFF2-40B4-BE49-F238E27FC236}">
                <a16:creationId xmlns:a16="http://schemas.microsoft.com/office/drawing/2014/main" id="{A8A0E383-7093-8320-466B-A7A6C2B7771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04796" y="170060"/>
            <a:ext cx="11430000" cy="1143000"/>
          </a:xfrm>
        </p:spPr>
        <p:txBody>
          <a:bodyPr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7" name="Google Shape;1701;p173">
            <a:extLst>
              <a:ext uri="{FF2B5EF4-FFF2-40B4-BE49-F238E27FC236}">
                <a16:creationId xmlns:a16="http://schemas.microsoft.com/office/drawing/2014/main" id="{195AF7AE-E0E6-0633-7369-8CB3C92958B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32183" y="953344"/>
            <a:ext cx="11430109" cy="415923"/>
          </a:xfrm>
        </p:spPr>
        <p:txBody>
          <a:bodyPr>
            <a:normAutofit/>
          </a:bodyPr>
          <a:lstStyle>
            <a:lvl1pPr indent="-228600">
              <a:buNone/>
              <a:defRPr sz="1400">
                <a:solidFill>
                  <a:srgbClr val="FFFFFF"/>
                </a:solidFill>
              </a:defRPr>
            </a:lvl1pPr>
          </a:lstStyle>
          <a:p>
            <a:pPr lvl="0"/>
            <a:endParaRPr lang="en-US"/>
          </a:p>
        </p:txBody>
      </p:sp>
      <p:cxnSp>
        <p:nvCxnSpPr>
          <p:cNvPr id="8" name="Google Shape;1702;p173">
            <a:extLst>
              <a:ext uri="{FF2B5EF4-FFF2-40B4-BE49-F238E27FC236}">
                <a16:creationId xmlns:a16="http://schemas.microsoft.com/office/drawing/2014/main" id="{10976093-8A91-1B18-A045-41FB3E1D39A7}"/>
              </a:ext>
            </a:extLst>
          </p:cNvPr>
          <p:cNvCxnSpPr/>
          <p:nvPr/>
        </p:nvCxnSpPr>
        <p:spPr>
          <a:xfrm>
            <a:off x="11311722" y="6447269"/>
            <a:ext cx="0" cy="267883"/>
          </a:xfrm>
          <a:prstGeom prst="straightConnector1">
            <a:avLst/>
          </a:prstGeom>
          <a:noFill/>
          <a:ln w="9528" cap="flat">
            <a:solidFill>
              <a:srgbClr val="7F7F7F"/>
            </a:solidFill>
            <a:prstDash val="solid"/>
            <a:miter/>
          </a:ln>
        </p:spPr>
      </p:cxnSp>
      <p:sp>
        <p:nvSpPr>
          <p:cNvPr id="9" name="Google Shape;1703;p173">
            <a:extLst>
              <a:ext uri="{FF2B5EF4-FFF2-40B4-BE49-F238E27FC236}">
                <a16:creationId xmlns:a16="http://schemas.microsoft.com/office/drawing/2014/main" id="{FC7B4C40-0074-E8A2-86DE-6D5931148EE3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11202597" y="6454530"/>
            <a:ext cx="559704" cy="319171"/>
          </a:xfrm>
        </p:spPr>
        <p:txBody>
          <a:bodyPr/>
          <a:lstStyle>
            <a:lvl1pPr>
              <a:defRPr sz="1000">
                <a:solidFill>
                  <a:srgbClr val="7F7F7F"/>
                </a:solidFill>
              </a:defRPr>
            </a:lvl1pPr>
          </a:lstStyle>
          <a:p>
            <a:pPr lvl="0"/>
            <a:fld id="{9391CF0B-1CEE-4888-98E0-6F2AD303AB24}" type="slidenum">
              <a:t>‹#›</a:t>
            </a:fld>
            <a:endParaRPr lang="en-US"/>
          </a:p>
        </p:txBody>
      </p:sp>
      <p:pic>
        <p:nvPicPr>
          <p:cNvPr id="10" name="Google Shape;1704;p173">
            <a:extLst>
              <a:ext uri="{FF2B5EF4-FFF2-40B4-BE49-F238E27FC236}">
                <a16:creationId xmlns:a16="http://schemas.microsoft.com/office/drawing/2014/main" id="{4E1B9971-5881-3A53-2B3C-49BC9089DC2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9596463" y="6492240"/>
            <a:ext cx="1606134" cy="2292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4090031097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706;p174">
            <a:extLst>
              <a:ext uri="{FF2B5EF4-FFF2-40B4-BE49-F238E27FC236}">
                <a16:creationId xmlns:a16="http://schemas.microsoft.com/office/drawing/2014/main" id="{AE5B70B0-F785-D246-BA40-7587F8C82049}"/>
              </a:ext>
            </a:extLst>
          </p:cNvPr>
          <p:cNvSpPr/>
          <p:nvPr/>
        </p:nvSpPr>
        <p:spPr>
          <a:xfrm>
            <a:off x="902366" y="1294415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707;p174">
            <a:extLst>
              <a:ext uri="{FF2B5EF4-FFF2-40B4-BE49-F238E27FC236}">
                <a16:creationId xmlns:a16="http://schemas.microsoft.com/office/drawing/2014/main" id="{C3269EEA-BA5A-908A-6B2A-0CF2F9FEADD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1561328"/>
            <a:ext cx="5194432" cy="1826340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708;p174">
            <a:extLst>
              <a:ext uri="{FF2B5EF4-FFF2-40B4-BE49-F238E27FC236}">
                <a16:creationId xmlns:a16="http://schemas.microsoft.com/office/drawing/2014/main" id="{B7ED5F0A-6FB7-35A8-73A2-EF57CD351B47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766861"/>
            <a:ext cx="5194432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1710;p174">
            <a:extLst>
              <a:ext uri="{FF2B5EF4-FFF2-40B4-BE49-F238E27FC236}">
                <a16:creationId xmlns:a16="http://schemas.microsoft.com/office/drawing/2014/main" id="{A479D912-33F1-6E20-7881-912503AB56B2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6" name="Google Shape;1711;p174">
              <a:extLst>
                <a:ext uri="{FF2B5EF4-FFF2-40B4-BE49-F238E27FC236}">
                  <a16:creationId xmlns:a16="http://schemas.microsoft.com/office/drawing/2014/main" id="{5339E4C3-C783-E569-537A-83F580F3F00F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7" name="Google Shape;1712;p174">
              <a:extLst>
                <a:ext uri="{FF2B5EF4-FFF2-40B4-BE49-F238E27FC236}">
                  <a16:creationId xmlns:a16="http://schemas.microsoft.com/office/drawing/2014/main" id="{3BCEC8FC-4875-5DB3-8C3B-97E9E03033C1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8" name="Google Shape;1713;p174">
              <a:extLst>
                <a:ext uri="{FF2B5EF4-FFF2-40B4-BE49-F238E27FC236}">
                  <a16:creationId xmlns:a16="http://schemas.microsoft.com/office/drawing/2014/main" id="{8FC0B10B-C50B-8615-1091-6C122F650D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7838548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35037650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715;p175">
            <a:extLst>
              <a:ext uri="{FF2B5EF4-FFF2-40B4-BE49-F238E27FC236}">
                <a16:creationId xmlns:a16="http://schemas.microsoft.com/office/drawing/2014/main" id="{B0D2B60A-4741-5458-2687-A75E7E01BC64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3" name="Google Shape;1716;p175">
              <a:extLst>
                <a:ext uri="{FF2B5EF4-FFF2-40B4-BE49-F238E27FC236}">
                  <a16:creationId xmlns:a16="http://schemas.microsoft.com/office/drawing/2014/main" id="{F1A58C81-04AC-E366-84FF-B246DB0131CA}"/>
                </a:ext>
              </a:extLst>
            </p:cNvPr>
            <p:cNvSpPr/>
            <p:nvPr/>
          </p:nvSpPr>
          <p:spPr>
            <a:xfrm>
              <a:off x="0" y="5100267"/>
              <a:ext cx="7111371" cy="175773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111369"/>
                <a:gd name="f4" fmla="val 1757730"/>
                <a:gd name="f5" fmla="val 772954"/>
                <a:gd name="f6" fmla="val 2778"/>
                <a:gd name="f7" fmla="val 1769038"/>
                <a:gd name="f8" fmla="val 30799"/>
                <a:gd name="f9" fmla="val 2696750"/>
                <a:gd name="f10" fmla="val 267531"/>
                <a:gd name="f11" fmla="val 3590934"/>
                <a:gd name="f12" fmla="val 566046"/>
                <a:gd name="f13" fmla="val 4684008"/>
                <a:gd name="f14" fmla="val 930921"/>
                <a:gd name="f15" fmla="val 5690778"/>
                <a:gd name="f16" fmla="val 1324625"/>
                <a:gd name="f17" fmla="val 6700767"/>
                <a:gd name="f18" fmla="val 1636882"/>
                <a:gd name="f19" fmla="val 25690"/>
                <a:gd name="f20" fmla="val 2197"/>
                <a:gd name="f21" fmla="val 25414"/>
                <a:gd name="f22" fmla="val 114653"/>
                <a:gd name="f23" fmla="val 14905"/>
                <a:gd name="f24" fmla="val 227801"/>
                <a:gd name="f25" fmla="val 7857"/>
                <a:gd name="f26" fmla="val 341773"/>
                <a:gd name="f27" fmla="val 3976"/>
                <a:gd name="f28" fmla="val 486963"/>
                <a:gd name="f29" fmla="+- 0 0 968"/>
                <a:gd name="f30" fmla="val 630656"/>
                <a:gd name="f31" fmla="+- 0 0 1224"/>
                <a:gd name="f32" fmla="*/ f0 1 7111369"/>
                <a:gd name="f33" fmla="*/ f1 1 1757730"/>
                <a:gd name="f34" fmla="+- f4 0 f2"/>
                <a:gd name="f35" fmla="+- f3 0 f2"/>
                <a:gd name="f36" fmla="*/ f35 1 7111369"/>
                <a:gd name="f37" fmla="*/ f34 1 1757730"/>
                <a:gd name="f38" fmla="*/ f2 1 f36"/>
                <a:gd name="f39" fmla="*/ f3 1 f36"/>
                <a:gd name="f40" fmla="*/ f2 1 f37"/>
                <a:gd name="f41" fmla="*/ f4 1 f37"/>
                <a:gd name="f42" fmla="*/ f38 f32 1"/>
                <a:gd name="f43" fmla="*/ f39 f32 1"/>
                <a:gd name="f44" fmla="*/ f41 f33 1"/>
                <a:gd name="f45" fmla="*/ f40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2" t="f45" r="f43" b="f44"/>
              <a:pathLst>
                <a:path w="7111369" h="1757730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4"/>
                  </a:lnTo>
                  <a:lnTo>
                    <a:pt x="f2" y="f4"/>
                  </a:lnTo>
                  <a:lnTo>
                    <a:pt x="f2" y="f19"/>
                  </a:lnTo>
                  <a:lnTo>
                    <a:pt x="f20" y="f21"/>
                  </a:ln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5" y="f6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1717;p175">
              <a:extLst>
                <a:ext uri="{FF2B5EF4-FFF2-40B4-BE49-F238E27FC236}">
                  <a16:creationId xmlns:a16="http://schemas.microsoft.com/office/drawing/2014/main" id="{0A7ED9B3-59E5-7FC2-5EBB-698E562CF55C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5" name="Google Shape;1718;p175">
              <a:extLst>
                <a:ext uri="{FF2B5EF4-FFF2-40B4-BE49-F238E27FC236}">
                  <a16:creationId xmlns:a16="http://schemas.microsoft.com/office/drawing/2014/main" id="{D64960D7-28D7-1C3C-ECE4-34F816FBA92B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1719;p175">
              <a:extLst>
                <a:ext uri="{FF2B5EF4-FFF2-40B4-BE49-F238E27FC236}">
                  <a16:creationId xmlns:a16="http://schemas.microsoft.com/office/drawing/2014/main" id="{5E2877FA-B426-3AE0-C062-6770B7F2A5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7" name="Google Shape;1720;p175">
            <a:extLst>
              <a:ext uri="{FF2B5EF4-FFF2-40B4-BE49-F238E27FC236}">
                <a16:creationId xmlns:a16="http://schemas.microsoft.com/office/drawing/2014/main" id="{5D696D9D-3236-77C6-3717-8C801245D7A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701747"/>
            <a:ext cx="9365376" cy="2014679"/>
          </a:xfrm>
        </p:spPr>
        <p:txBody>
          <a:bodyPr anchor="b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721;p175">
            <a:extLst>
              <a:ext uri="{FF2B5EF4-FFF2-40B4-BE49-F238E27FC236}">
                <a16:creationId xmlns:a16="http://schemas.microsoft.com/office/drawing/2014/main" id="{0A485FB6-9159-FC90-AEFD-E302C32FFF54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081637"/>
            <a:ext cx="9365376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341439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723;p176">
            <a:extLst>
              <a:ext uri="{FF2B5EF4-FFF2-40B4-BE49-F238E27FC236}">
                <a16:creationId xmlns:a16="http://schemas.microsoft.com/office/drawing/2014/main" id="{DA102D5B-F4B0-6683-A755-FEF084DDED8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57200" y="1146255"/>
            <a:ext cx="2350172" cy="2971800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cxnSp>
        <p:nvCxnSpPr>
          <p:cNvPr id="3" name="Google Shape;1724;p176">
            <a:extLst>
              <a:ext uri="{FF2B5EF4-FFF2-40B4-BE49-F238E27FC236}">
                <a16:creationId xmlns:a16="http://schemas.microsoft.com/office/drawing/2014/main" id="{D1159AF2-CA30-05CC-B0BA-CD0420B77BDA}"/>
              </a:ext>
            </a:extLst>
          </p:cNvPr>
          <p:cNvCxnSpPr/>
          <p:nvPr/>
        </p:nvCxnSpPr>
        <p:spPr>
          <a:xfrm>
            <a:off x="457200" y="947985"/>
            <a:ext cx="2350163" cy="0"/>
          </a:xfrm>
          <a:prstGeom prst="straightConnector1">
            <a:avLst/>
          </a:prstGeom>
          <a:noFill/>
          <a:ln w="31747" cap="flat">
            <a:solidFill>
              <a:srgbClr val="F58366"/>
            </a:solidFill>
            <a:prstDash val="solid"/>
            <a:miter/>
          </a:ln>
        </p:spPr>
      </p:cxnSp>
      <p:grpSp>
        <p:nvGrpSpPr>
          <p:cNvPr id="4" name="Google Shape;1725;p176">
            <a:extLst>
              <a:ext uri="{FF2B5EF4-FFF2-40B4-BE49-F238E27FC236}">
                <a16:creationId xmlns:a16="http://schemas.microsoft.com/office/drawing/2014/main" id="{368AF0BD-113F-F688-EDEC-82E9B4A87C06}"/>
              </a:ext>
            </a:extLst>
          </p:cNvPr>
          <p:cNvGrpSpPr/>
          <p:nvPr/>
        </p:nvGrpSpPr>
        <p:grpSpPr>
          <a:xfrm>
            <a:off x="0" y="5379424"/>
            <a:ext cx="2807363" cy="753895"/>
            <a:chOff x="0" y="5379424"/>
            <a:chExt cx="2807363" cy="753895"/>
          </a:xfrm>
        </p:grpSpPr>
        <p:sp>
          <p:nvSpPr>
            <p:cNvPr id="5" name="Google Shape;1726;p176">
              <a:extLst>
                <a:ext uri="{FF2B5EF4-FFF2-40B4-BE49-F238E27FC236}">
                  <a16:creationId xmlns:a16="http://schemas.microsoft.com/office/drawing/2014/main" id="{C720C7D1-BB77-CDD1-A167-33446D95B930}"/>
                </a:ext>
              </a:extLst>
            </p:cNvPr>
            <p:cNvSpPr/>
            <p:nvPr/>
          </p:nvSpPr>
          <p:spPr>
            <a:xfrm>
              <a:off x="0" y="5532513"/>
              <a:ext cx="2807363" cy="60080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00807"/>
                <a:gd name="f5" fmla="val 429971"/>
                <a:gd name="f6" fmla="val 123998"/>
                <a:gd name="f7" fmla="val 1184765"/>
                <a:gd name="f8" fmla="val 325331"/>
                <a:gd name="f9" fmla="val 2014184"/>
                <a:gd name="f10" fmla="val 392492"/>
                <a:gd name="f11" fmla="val 2790212"/>
                <a:gd name="f12" fmla="val 235402"/>
                <a:gd name="f13" fmla="val 231522"/>
                <a:gd name="f14" fmla="val 566106"/>
                <a:gd name="f15" fmla="val 2593885"/>
                <a:gd name="f16" fmla="val 587498"/>
                <a:gd name="f17" fmla="val 1673646"/>
                <a:gd name="f18" fmla="val 651184"/>
                <a:gd name="f19" fmla="val 884869"/>
                <a:gd name="f20" fmla="val 479260"/>
                <a:gd name="f21" fmla="val 100844"/>
                <a:gd name="f22" fmla="val 222653"/>
                <a:gd name="f23" fmla="val 188389"/>
                <a:gd name="f24" fmla="*/ f0 1 2807368"/>
                <a:gd name="f25" fmla="*/ f1 1 600807"/>
                <a:gd name="f26" fmla="+- f4 0 f2"/>
                <a:gd name="f27" fmla="+- f3 0 f2"/>
                <a:gd name="f28" fmla="*/ f27 1 2807368"/>
                <a:gd name="f29" fmla="*/ f26 1 600807"/>
                <a:gd name="f30" fmla="*/ f2 1 f28"/>
                <a:gd name="f31" fmla="*/ f3 1 f28"/>
                <a:gd name="f32" fmla="*/ f2 1 f29"/>
                <a:gd name="f33" fmla="*/ f4 1 f29"/>
                <a:gd name="f34" fmla="*/ f30 f24 1"/>
                <a:gd name="f35" fmla="*/ f31 f24 1"/>
                <a:gd name="f36" fmla="*/ f33 f25 1"/>
                <a:gd name="f37" fmla="*/ f32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37" r="f35" b="f36"/>
              <a:pathLst>
                <a:path w="2807368" h="600807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lnTo>
                    <a:pt x="f3" y="f13"/>
                  </a:lnTo>
                  <a:lnTo>
                    <a:pt x="f3" y="f14"/>
                  </a:lnTo>
                  <a:lnTo>
                    <a:pt x="f15" y="f16"/>
                  </a:lnTo>
                  <a:cubicBezTo>
                    <a:pt x="f17" y="f18"/>
                    <a:pt x="f19" y="f20"/>
                    <a:pt x="f21" y="f22"/>
                  </a:cubicBezTo>
                  <a:lnTo>
                    <a:pt x="f2" y="f23"/>
                  </a:ln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6" name="Google Shape;1727;p176">
              <a:extLst>
                <a:ext uri="{FF2B5EF4-FFF2-40B4-BE49-F238E27FC236}">
                  <a16:creationId xmlns:a16="http://schemas.microsoft.com/office/drawing/2014/main" id="{F41769EA-386A-1094-4E2B-348BC140F9A6}"/>
                </a:ext>
              </a:extLst>
            </p:cNvPr>
            <p:cNvSpPr/>
            <p:nvPr/>
          </p:nvSpPr>
          <p:spPr>
            <a:xfrm>
              <a:off x="0" y="5379424"/>
              <a:ext cx="2807363" cy="64980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49803"/>
                <a:gd name="f5" fmla="val 282676"/>
                <a:gd name="f6" fmla="val 70799"/>
                <a:gd name="f7" fmla="val 435964"/>
                <a:gd name="f8" fmla="val 106085"/>
                <a:gd name="f9" fmla="val 588770"/>
                <a:gd name="f10" fmla="val 137629"/>
                <a:gd name="f11" fmla="val 740881"/>
                <a:gd name="f12" fmla="val 163828"/>
                <a:gd name="f13" fmla="val 1362800"/>
                <a:gd name="f14" fmla="val 270912"/>
                <a:gd name="f15" fmla="val 2067879"/>
                <a:gd name="f16" fmla="val 253759"/>
                <a:gd name="f17" fmla="val 2706471"/>
                <a:gd name="f18" fmla="val 96397"/>
                <a:gd name="f19" fmla="val 67250"/>
                <a:gd name="f20" fmla="val 605551"/>
                <a:gd name="f21" fmla="val 2602685"/>
                <a:gd name="f22" fmla="val 629466"/>
                <a:gd name="f23" fmla="val 1684237"/>
                <a:gd name="f24" fmla="val 708219"/>
                <a:gd name="f25" fmla="val 893252"/>
                <a:gd name="f26" fmla="val 549395"/>
                <a:gd name="f27" fmla="val 105614"/>
                <a:gd name="f28" fmla="val 305882"/>
                <a:gd name="f29" fmla="val 271926"/>
                <a:gd name="f30" fmla="*/ f0 1 2807368"/>
                <a:gd name="f31" fmla="*/ f1 1 649803"/>
                <a:gd name="f32" fmla="+- f4 0 f2"/>
                <a:gd name="f33" fmla="+- f3 0 f2"/>
                <a:gd name="f34" fmla="*/ f33 1 2807368"/>
                <a:gd name="f35" fmla="*/ f32 1 649803"/>
                <a:gd name="f36" fmla="*/ f2 1 f34"/>
                <a:gd name="f37" fmla="*/ f3 1 f34"/>
                <a:gd name="f38" fmla="*/ f2 1 f35"/>
                <a:gd name="f39" fmla="*/ f4 1 f35"/>
                <a:gd name="f40" fmla="*/ f36 f30 1"/>
                <a:gd name="f41" fmla="*/ f37 f30 1"/>
                <a:gd name="f42" fmla="*/ f39 f31 1"/>
                <a:gd name="f43" fmla="*/ f3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2807368" h="649803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19"/>
                  </a:lnTo>
                  <a:lnTo>
                    <a:pt x="f3" y="f20"/>
                  </a:lnTo>
                  <a:lnTo>
                    <a:pt x="f21" y="f22"/>
                  </a:lnTo>
                  <a:cubicBezTo>
                    <a:pt x="f23" y="f24"/>
                    <a:pt x="f25" y="f26"/>
                    <a:pt x="f27" y="f28"/>
                  </a:cubicBezTo>
                  <a:lnTo>
                    <a:pt x="f2" y="f29"/>
                  </a:ln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pic>
        <p:nvPicPr>
          <p:cNvPr id="7" name="Google Shape;1729;p176">
            <a:extLst>
              <a:ext uri="{FF2B5EF4-FFF2-40B4-BE49-F238E27FC236}">
                <a16:creationId xmlns:a16="http://schemas.microsoft.com/office/drawing/2014/main" id="{0ED5676F-0D7A-1713-AE93-84D14B49E5E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513344" y="4385535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028346053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683;p172">
            <a:extLst>
              <a:ext uri="{FF2B5EF4-FFF2-40B4-BE49-F238E27FC236}">
                <a16:creationId xmlns:a16="http://schemas.microsoft.com/office/drawing/2014/main" id="{F67D0C60-E37A-A3C1-8775-79D9FB5A0CD0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684;p172">
            <a:extLst>
              <a:ext uri="{FF2B5EF4-FFF2-40B4-BE49-F238E27FC236}">
                <a16:creationId xmlns:a16="http://schemas.microsoft.com/office/drawing/2014/main" id="{50CB8ACD-8484-FD6D-7B20-85FA93F8676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685;p172">
            <a:extLst>
              <a:ext uri="{FF2B5EF4-FFF2-40B4-BE49-F238E27FC236}">
                <a16:creationId xmlns:a16="http://schemas.microsoft.com/office/drawing/2014/main" id="{8E21F415-9FBE-EE21-C340-8956BBBA4F6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686;p172">
            <a:extLst>
              <a:ext uri="{FF2B5EF4-FFF2-40B4-BE49-F238E27FC236}">
                <a16:creationId xmlns:a16="http://schemas.microsoft.com/office/drawing/2014/main" id="{3C6EA41B-A8C8-85C0-83AF-38C766937C1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452AE5BE-6163-48A6-A4E5-8F3AFDD8B63D}" type="slidenum">
              <a:t>‹#›</a:t>
            </a:fld>
            <a:endParaRPr lang="en-US"/>
          </a:p>
        </p:txBody>
      </p:sp>
      <p:cxnSp>
        <p:nvCxnSpPr>
          <p:cNvPr id="6" name="Google Shape;1687;p172">
            <a:extLst>
              <a:ext uri="{FF2B5EF4-FFF2-40B4-BE49-F238E27FC236}">
                <a16:creationId xmlns:a16="http://schemas.microsoft.com/office/drawing/2014/main" id="{21332D64-05C6-126D-F003-8D8C5A80A398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688;p172">
            <a:extLst>
              <a:ext uri="{FF2B5EF4-FFF2-40B4-BE49-F238E27FC236}">
                <a16:creationId xmlns:a16="http://schemas.microsoft.com/office/drawing/2014/main" id="{00EFA8C6-0252-10F8-AA7D-3F0ED2CE02A1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1689;p172">
            <a:extLst>
              <a:ext uri="{FF2B5EF4-FFF2-40B4-BE49-F238E27FC236}">
                <a16:creationId xmlns:a16="http://schemas.microsoft.com/office/drawing/2014/main" id="{0072A6E0-FB08-4AA4-4DF4-41876317F171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1690;p172">
              <a:extLst>
                <a:ext uri="{FF2B5EF4-FFF2-40B4-BE49-F238E27FC236}">
                  <a16:creationId xmlns:a16="http://schemas.microsoft.com/office/drawing/2014/main" id="{82A76B97-A775-3357-5D4F-E624B61785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1691;p172">
              <a:extLst>
                <a:ext uri="{FF2B5EF4-FFF2-40B4-BE49-F238E27FC236}">
                  <a16:creationId xmlns:a16="http://schemas.microsoft.com/office/drawing/2014/main" id="{6147DA2D-4055-1FBD-D4C5-0BD3DFAABAF5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1692;p172">
                <a:extLst>
                  <a:ext uri="{FF2B5EF4-FFF2-40B4-BE49-F238E27FC236}">
                    <a16:creationId xmlns:a16="http://schemas.microsoft.com/office/drawing/2014/main" id="{B2EBCC6B-0AA2-60C1-E1CB-DA556FD204BF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1693;p172">
                <a:extLst>
                  <a:ext uri="{FF2B5EF4-FFF2-40B4-BE49-F238E27FC236}">
                    <a16:creationId xmlns:a16="http://schemas.microsoft.com/office/drawing/2014/main" id="{C7AB6530-E07A-6443-5428-32E1CC9CDE50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1694;p172" descr="Open quotation mark with solid fill">
            <a:extLst>
              <a:ext uri="{FF2B5EF4-FFF2-40B4-BE49-F238E27FC236}">
                <a16:creationId xmlns:a16="http://schemas.microsoft.com/office/drawing/2014/main" id="{CDCB5B2A-1FFF-1805-E58A-92FA1945E64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53422249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VERYDAY CONTENT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696;p173">
            <a:extLst>
              <a:ext uri="{FF2B5EF4-FFF2-40B4-BE49-F238E27FC236}">
                <a16:creationId xmlns:a16="http://schemas.microsoft.com/office/drawing/2014/main" id="{9D178B63-60C8-01EA-43B3-F276DCA36E66}"/>
              </a:ext>
            </a:extLst>
          </p:cNvPr>
          <p:cNvSpPr/>
          <p:nvPr/>
        </p:nvSpPr>
        <p:spPr>
          <a:xfrm>
            <a:off x="0" y="0"/>
            <a:ext cx="12191996" cy="1313060"/>
          </a:xfrm>
          <a:prstGeom prst="rect">
            <a:avLst/>
          </a:prstGeom>
          <a:gradFill>
            <a:gsLst>
              <a:gs pos="0">
                <a:srgbClr val="1C498B"/>
              </a:gs>
              <a:gs pos="100000">
                <a:srgbClr val="79818A"/>
              </a:gs>
            </a:gsLst>
            <a:lin ang="0"/>
          </a:gra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697;p173">
            <a:extLst>
              <a:ext uri="{FF2B5EF4-FFF2-40B4-BE49-F238E27FC236}">
                <a16:creationId xmlns:a16="http://schemas.microsoft.com/office/drawing/2014/main" id="{4E15D26C-2DDA-E729-9A73-6B334A27A873}"/>
              </a:ext>
            </a:extLst>
          </p:cNvPr>
          <p:cNvSpPr/>
          <p:nvPr/>
        </p:nvSpPr>
        <p:spPr>
          <a:xfrm>
            <a:off x="6863641" y="16267"/>
            <a:ext cx="5328355" cy="812270"/>
          </a:xfrm>
          <a:custGeom>
            <a:avLst/>
            <a:gdLst>
              <a:gd name="f0" fmla="val w"/>
              <a:gd name="f1" fmla="val h"/>
              <a:gd name="f2" fmla="val 0"/>
              <a:gd name="f3" fmla="val 21600"/>
              <a:gd name="f4" fmla="val 20619"/>
              <a:gd name="f5" fmla="val 7043"/>
              <a:gd name="f6" fmla="val 1599"/>
              <a:gd name="f7" fmla="val 10431"/>
              <a:gd name="f8" fmla="val 3359"/>
              <a:gd name="f9" fmla="val 12009"/>
              <a:gd name="f10" fmla="val 5125"/>
              <a:gd name="f11" fmla="val 11638"/>
              <a:gd name="f12" fmla="val 8965"/>
              <a:gd name="f13" fmla="val 10834"/>
              <a:gd name="f14" fmla="val 12429"/>
              <a:gd name="f15" fmla="val 1037"/>
              <a:gd name="f16" fmla="val 16255"/>
              <a:gd name="f17" fmla="val 77"/>
              <a:gd name="f18" fmla="val 18093"/>
              <a:gd name="f19" fmla="+- 0 0 385"/>
              <a:gd name="f20" fmla="val 19927"/>
              <a:gd name="f21" fmla="val 1227"/>
              <a:gd name="f22" fmla="val 21590"/>
              <a:gd name="f23" fmla="val 4766"/>
              <a:gd name="f24" fmla="val 14041"/>
              <a:gd name="f25" fmla="val 19718"/>
              <a:gd name="f26" fmla="val 9870"/>
              <a:gd name="f27" fmla="val 17612"/>
              <a:gd name="f28" fmla="val 8157"/>
              <a:gd name="f29" fmla="val 15523"/>
              <a:gd name="f30" fmla="val 9097"/>
              <a:gd name="f31" fmla="val 12138"/>
              <a:gd name="f32" fmla="val 10620"/>
              <a:gd name="f33" fmla="val 9076"/>
              <a:gd name="f34" fmla="val 19001"/>
              <a:gd name="f35" fmla="val 5674"/>
              <a:gd name="f36" fmla="val 20410"/>
              <a:gd name="f37" fmla="val 3728"/>
              <a:gd name="f38" fmla="val 21215"/>
              <a:gd name="f39" fmla="val 1770"/>
              <a:gd name="f40" fmla="val 19679"/>
              <a:gd name="f41" fmla="val 15961"/>
              <a:gd name="f42" fmla="*/ f0 1 21600"/>
              <a:gd name="f43" fmla="*/ f1 1 20619"/>
              <a:gd name="f44" fmla="+- f4 0 f2"/>
              <a:gd name="f45" fmla="+- f3 0 f2"/>
              <a:gd name="f46" fmla="*/ f45 1 21600"/>
              <a:gd name="f47" fmla="*/ f44 1 20619"/>
              <a:gd name="f48" fmla="*/ f2 1 f46"/>
              <a:gd name="f49" fmla="*/ f3 1 f46"/>
              <a:gd name="f50" fmla="*/ f2 1 f47"/>
              <a:gd name="f51" fmla="*/ f4 1 f47"/>
              <a:gd name="f52" fmla="*/ f48 f42 1"/>
              <a:gd name="f53" fmla="*/ f49 f42 1"/>
              <a:gd name="f54" fmla="*/ f51 f43 1"/>
              <a:gd name="f55" fmla="*/ f50 f43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52" t="f55" r="f53" b="f54"/>
            <a:pathLst>
              <a:path w="21600" h="20619">
                <a:moveTo>
                  <a:pt x="f2" y="f5"/>
                </a:moveTo>
                <a:cubicBezTo>
                  <a:pt x="f6" y="f7"/>
                  <a:pt x="f8" y="f9"/>
                  <a:pt x="f10" y="f11"/>
                </a:cubicBezTo>
                <a:cubicBezTo>
                  <a:pt x="f12" y="f13"/>
                  <a:pt x="f14" y="f15"/>
                  <a:pt x="f16" y="f17"/>
                </a:cubicBezTo>
                <a:cubicBezTo>
                  <a:pt x="f18" y="f19"/>
                  <a:pt x="f20" y="f21"/>
                  <a:pt x="f22" y="f23"/>
                </a:cubicBezTo>
                <a:lnTo>
                  <a:pt x="f3" y="f24"/>
                </a:lnTo>
                <a:cubicBezTo>
                  <a:pt x="f25" y="f26"/>
                  <a:pt x="f27" y="f28"/>
                  <a:pt x="f29" y="f30"/>
                </a:cubicBezTo>
                <a:cubicBezTo>
                  <a:pt x="f31" y="f32"/>
                  <a:pt x="f33" y="f34"/>
                  <a:pt x="f35" y="f36"/>
                </a:cubicBezTo>
                <a:cubicBezTo>
                  <a:pt x="f37" y="f38"/>
                  <a:pt x="f39" y="f40"/>
                  <a:pt x="f2" y="f41"/>
                </a:cubicBezTo>
                <a:lnTo>
                  <a:pt x="f2" y="f5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/>
          </a:gradFill>
          <a:ln cap="flat">
            <a:noFill/>
            <a:prstDash val="solid"/>
          </a:ln>
        </p:spPr>
        <p:txBody>
          <a:bodyPr vert="horz" wrap="square" lIns="0" tIns="0" rIns="0" bIns="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525" b="0" i="0" u="none" strike="noStrike" kern="1200" cap="none" spc="0" baseline="0">
              <a:solidFill>
                <a:srgbClr val="FFFFFF"/>
              </a:solidFill>
              <a:uFillTx/>
              <a:latin typeface="Helvetica Neue"/>
              <a:ea typeface="Helvetica Neue"/>
              <a:cs typeface="Helvetica Neue"/>
            </a:endParaRPr>
          </a:p>
        </p:txBody>
      </p:sp>
      <p:sp>
        <p:nvSpPr>
          <p:cNvPr id="4" name="Google Shape;1698;p173">
            <a:extLst>
              <a:ext uri="{FF2B5EF4-FFF2-40B4-BE49-F238E27FC236}">
                <a16:creationId xmlns:a16="http://schemas.microsoft.com/office/drawing/2014/main" id="{A59A50F8-EA8D-186C-FA36-BEC9489A8D6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08543" y="1707788"/>
            <a:ext cx="11203667" cy="4648571"/>
          </a:xfrm>
        </p:spPr>
        <p:txBody>
          <a:bodyPr/>
          <a:lstStyle>
            <a:lvl1pPr>
              <a:defRPr>
                <a:solidFill>
                  <a:srgbClr val="4B545E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5" name="Google Shape;1699;p173">
            <a:extLst>
              <a:ext uri="{FF2B5EF4-FFF2-40B4-BE49-F238E27FC236}">
                <a16:creationId xmlns:a16="http://schemas.microsoft.com/office/drawing/2014/main" id="{B65C855B-C361-D805-DC85-213E29C7BE10}"/>
              </a:ext>
            </a:extLst>
          </p:cNvPr>
          <p:cNvSpPr/>
          <p:nvPr/>
        </p:nvSpPr>
        <p:spPr>
          <a:xfrm>
            <a:off x="6863641" y="519644"/>
            <a:ext cx="5328355" cy="812270"/>
          </a:xfrm>
          <a:custGeom>
            <a:avLst/>
            <a:gdLst>
              <a:gd name="f0" fmla="val w"/>
              <a:gd name="f1" fmla="val h"/>
              <a:gd name="f2" fmla="val 0"/>
              <a:gd name="f3" fmla="val 21600"/>
              <a:gd name="f4" fmla="val 20619"/>
              <a:gd name="f5" fmla="val 7043"/>
              <a:gd name="f6" fmla="val 1599"/>
              <a:gd name="f7" fmla="val 10431"/>
              <a:gd name="f8" fmla="val 3359"/>
              <a:gd name="f9" fmla="val 12009"/>
              <a:gd name="f10" fmla="val 5125"/>
              <a:gd name="f11" fmla="val 11638"/>
              <a:gd name="f12" fmla="val 8965"/>
              <a:gd name="f13" fmla="val 10834"/>
              <a:gd name="f14" fmla="val 12429"/>
              <a:gd name="f15" fmla="val 1037"/>
              <a:gd name="f16" fmla="val 16255"/>
              <a:gd name="f17" fmla="val 77"/>
              <a:gd name="f18" fmla="val 18093"/>
              <a:gd name="f19" fmla="+- 0 0 385"/>
              <a:gd name="f20" fmla="val 19927"/>
              <a:gd name="f21" fmla="val 1227"/>
              <a:gd name="f22" fmla="val 21590"/>
              <a:gd name="f23" fmla="val 4766"/>
              <a:gd name="f24" fmla="val 14041"/>
              <a:gd name="f25" fmla="val 19718"/>
              <a:gd name="f26" fmla="val 9870"/>
              <a:gd name="f27" fmla="val 17612"/>
              <a:gd name="f28" fmla="val 8157"/>
              <a:gd name="f29" fmla="val 15523"/>
              <a:gd name="f30" fmla="val 9097"/>
              <a:gd name="f31" fmla="val 12138"/>
              <a:gd name="f32" fmla="val 10620"/>
              <a:gd name="f33" fmla="val 9076"/>
              <a:gd name="f34" fmla="val 19001"/>
              <a:gd name="f35" fmla="val 5674"/>
              <a:gd name="f36" fmla="val 20410"/>
              <a:gd name="f37" fmla="val 3728"/>
              <a:gd name="f38" fmla="val 21215"/>
              <a:gd name="f39" fmla="val 1770"/>
              <a:gd name="f40" fmla="val 19679"/>
              <a:gd name="f41" fmla="val 15961"/>
              <a:gd name="f42" fmla="*/ f0 1 21600"/>
              <a:gd name="f43" fmla="*/ f1 1 20619"/>
              <a:gd name="f44" fmla="+- f4 0 f2"/>
              <a:gd name="f45" fmla="+- f3 0 f2"/>
              <a:gd name="f46" fmla="*/ f45 1 21600"/>
              <a:gd name="f47" fmla="*/ f44 1 20619"/>
              <a:gd name="f48" fmla="*/ f2 1 f46"/>
              <a:gd name="f49" fmla="*/ f3 1 f46"/>
              <a:gd name="f50" fmla="*/ f2 1 f47"/>
              <a:gd name="f51" fmla="*/ f4 1 f47"/>
              <a:gd name="f52" fmla="*/ f48 f42 1"/>
              <a:gd name="f53" fmla="*/ f49 f42 1"/>
              <a:gd name="f54" fmla="*/ f51 f43 1"/>
              <a:gd name="f55" fmla="*/ f50 f43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52" t="f55" r="f53" b="f54"/>
            <a:pathLst>
              <a:path w="21600" h="20619">
                <a:moveTo>
                  <a:pt x="f2" y="f5"/>
                </a:moveTo>
                <a:cubicBezTo>
                  <a:pt x="f6" y="f7"/>
                  <a:pt x="f8" y="f9"/>
                  <a:pt x="f10" y="f11"/>
                </a:cubicBezTo>
                <a:cubicBezTo>
                  <a:pt x="f12" y="f13"/>
                  <a:pt x="f14" y="f15"/>
                  <a:pt x="f16" y="f17"/>
                </a:cubicBezTo>
                <a:cubicBezTo>
                  <a:pt x="f18" y="f19"/>
                  <a:pt x="f20" y="f21"/>
                  <a:pt x="f22" y="f23"/>
                </a:cubicBezTo>
                <a:lnTo>
                  <a:pt x="f3" y="f24"/>
                </a:lnTo>
                <a:cubicBezTo>
                  <a:pt x="f25" y="f26"/>
                  <a:pt x="f27" y="f28"/>
                  <a:pt x="f29" y="f30"/>
                </a:cubicBezTo>
                <a:cubicBezTo>
                  <a:pt x="f31" y="f32"/>
                  <a:pt x="f33" y="f34"/>
                  <a:pt x="f35" y="f36"/>
                </a:cubicBezTo>
                <a:cubicBezTo>
                  <a:pt x="f37" y="f38"/>
                  <a:pt x="f39" y="f40"/>
                  <a:pt x="f2" y="f41"/>
                </a:cubicBezTo>
                <a:lnTo>
                  <a:pt x="f2" y="f5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/>
          </a:gradFill>
          <a:ln cap="flat">
            <a:noFill/>
            <a:prstDash val="solid"/>
          </a:ln>
        </p:spPr>
        <p:txBody>
          <a:bodyPr vert="horz" wrap="square" lIns="0" tIns="0" rIns="0" bIns="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525" b="0" i="0" u="none" strike="noStrike" kern="1200" cap="none" spc="0" baseline="0">
              <a:solidFill>
                <a:srgbClr val="FFFFFF"/>
              </a:solidFill>
              <a:uFillTx/>
              <a:latin typeface="Helvetica Neue"/>
              <a:ea typeface="Helvetica Neue"/>
              <a:cs typeface="Helvetica Neue"/>
            </a:endParaRPr>
          </a:p>
        </p:txBody>
      </p:sp>
      <p:sp>
        <p:nvSpPr>
          <p:cNvPr id="6" name="Google Shape;1700;p173">
            <a:extLst>
              <a:ext uri="{FF2B5EF4-FFF2-40B4-BE49-F238E27FC236}">
                <a16:creationId xmlns:a16="http://schemas.microsoft.com/office/drawing/2014/main" id="{C42D892C-ADAE-2407-321E-98A701B6F83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04796" y="170060"/>
            <a:ext cx="11430000" cy="1143000"/>
          </a:xfrm>
        </p:spPr>
        <p:txBody>
          <a:bodyPr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7" name="Google Shape;1701;p173">
            <a:extLst>
              <a:ext uri="{FF2B5EF4-FFF2-40B4-BE49-F238E27FC236}">
                <a16:creationId xmlns:a16="http://schemas.microsoft.com/office/drawing/2014/main" id="{938019E4-0FA5-C88E-8594-EF26476F973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32183" y="953344"/>
            <a:ext cx="11430109" cy="415923"/>
          </a:xfrm>
        </p:spPr>
        <p:txBody>
          <a:bodyPr>
            <a:normAutofit/>
          </a:bodyPr>
          <a:lstStyle>
            <a:lvl1pPr indent="-228600">
              <a:buNone/>
              <a:defRPr sz="1400">
                <a:solidFill>
                  <a:srgbClr val="FFFFFF"/>
                </a:solidFill>
              </a:defRPr>
            </a:lvl1pPr>
          </a:lstStyle>
          <a:p>
            <a:pPr lvl="0"/>
            <a:endParaRPr lang="en-US"/>
          </a:p>
        </p:txBody>
      </p:sp>
      <p:cxnSp>
        <p:nvCxnSpPr>
          <p:cNvPr id="8" name="Google Shape;1702;p173">
            <a:extLst>
              <a:ext uri="{FF2B5EF4-FFF2-40B4-BE49-F238E27FC236}">
                <a16:creationId xmlns:a16="http://schemas.microsoft.com/office/drawing/2014/main" id="{F89BCD17-057A-CF5B-5A48-9CDD98C691A6}"/>
              </a:ext>
            </a:extLst>
          </p:cNvPr>
          <p:cNvCxnSpPr/>
          <p:nvPr/>
        </p:nvCxnSpPr>
        <p:spPr>
          <a:xfrm>
            <a:off x="11311722" y="6447269"/>
            <a:ext cx="0" cy="267883"/>
          </a:xfrm>
          <a:prstGeom prst="straightConnector1">
            <a:avLst/>
          </a:prstGeom>
          <a:noFill/>
          <a:ln w="9528" cap="flat">
            <a:solidFill>
              <a:srgbClr val="7F7F7F"/>
            </a:solidFill>
            <a:prstDash val="solid"/>
            <a:miter/>
          </a:ln>
        </p:spPr>
      </p:cxnSp>
      <p:sp>
        <p:nvSpPr>
          <p:cNvPr id="9" name="Google Shape;1703;p173">
            <a:extLst>
              <a:ext uri="{FF2B5EF4-FFF2-40B4-BE49-F238E27FC236}">
                <a16:creationId xmlns:a16="http://schemas.microsoft.com/office/drawing/2014/main" id="{4CE74C88-6134-821E-8554-75508A01F5A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11202597" y="6454530"/>
            <a:ext cx="559704" cy="319171"/>
          </a:xfrm>
        </p:spPr>
        <p:txBody>
          <a:bodyPr/>
          <a:lstStyle>
            <a:lvl1pPr>
              <a:defRPr sz="1000">
                <a:solidFill>
                  <a:srgbClr val="7F7F7F"/>
                </a:solidFill>
              </a:defRPr>
            </a:lvl1pPr>
          </a:lstStyle>
          <a:p>
            <a:pPr lvl="0"/>
            <a:fld id="{71844E90-E52C-41EC-8B74-6B80CFE3309D}" type="slidenum">
              <a:t>‹#›</a:t>
            </a:fld>
            <a:endParaRPr lang="en-US"/>
          </a:p>
        </p:txBody>
      </p:sp>
      <p:pic>
        <p:nvPicPr>
          <p:cNvPr id="10" name="Google Shape;1704;p173">
            <a:extLst>
              <a:ext uri="{FF2B5EF4-FFF2-40B4-BE49-F238E27FC236}">
                <a16:creationId xmlns:a16="http://schemas.microsoft.com/office/drawing/2014/main" id="{A80BA240-9E9F-151C-8DA2-73E3A5F72A5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9596463" y="6492240"/>
            <a:ext cx="1606134" cy="2292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162510028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706;p174">
            <a:extLst>
              <a:ext uri="{FF2B5EF4-FFF2-40B4-BE49-F238E27FC236}">
                <a16:creationId xmlns:a16="http://schemas.microsoft.com/office/drawing/2014/main" id="{0BA8DBC4-D721-B2FC-DDD5-7FF88C3B0745}"/>
              </a:ext>
            </a:extLst>
          </p:cNvPr>
          <p:cNvSpPr/>
          <p:nvPr/>
        </p:nvSpPr>
        <p:spPr>
          <a:xfrm>
            <a:off x="902366" y="1294415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707;p174">
            <a:extLst>
              <a:ext uri="{FF2B5EF4-FFF2-40B4-BE49-F238E27FC236}">
                <a16:creationId xmlns:a16="http://schemas.microsoft.com/office/drawing/2014/main" id="{BE06100E-CB0B-9CD0-BCE1-F08E5DEF6F3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1561328"/>
            <a:ext cx="5194432" cy="1826340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708;p174">
            <a:extLst>
              <a:ext uri="{FF2B5EF4-FFF2-40B4-BE49-F238E27FC236}">
                <a16:creationId xmlns:a16="http://schemas.microsoft.com/office/drawing/2014/main" id="{F65BD9CB-99F0-8665-1141-F349C07BA2AA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766861"/>
            <a:ext cx="5194432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1710;p174">
            <a:extLst>
              <a:ext uri="{FF2B5EF4-FFF2-40B4-BE49-F238E27FC236}">
                <a16:creationId xmlns:a16="http://schemas.microsoft.com/office/drawing/2014/main" id="{548BC694-CDB1-91FD-4079-147E61D09885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6" name="Google Shape;1711;p174">
              <a:extLst>
                <a:ext uri="{FF2B5EF4-FFF2-40B4-BE49-F238E27FC236}">
                  <a16:creationId xmlns:a16="http://schemas.microsoft.com/office/drawing/2014/main" id="{B23DD7E7-935C-AAB4-9F0E-9A118226B85F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7" name="Google Shape;1712;p174">
              <a:extLst>
                <a:ext uri="{FF2B5EF4-FFF2-40B4-BE49-F238E27FC236}">
                  <a16:creationId xmlns:a16="http://schemas.microsoft.com/office/drawing/2014/main" id="{6FCD040C-5F54-1493-E6D4-0732103B7781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8" name="Google Shape;1713;p174">
              <a:extLst>
                <a:ext uri="{FF2B5EF4-FFF2-40B4-BE49-F238E27FC236}">
                  <a16:creationId xmlns:a16="http://schemas.microsoft.com/office/drawing/2014/main" id="{E92031FA-61D1-4493-9B9D-F0CBEFA1F5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848114518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715;p175">
            <a:extLst>
              <a:ext uri="{FF2B5EF4-FFF2-40B4-BE49-F238E27FC236}">
                <a16:creationId xmlns:a16="http://schemas.microsoft.com/office/drawing/2014/main" id="{199B29EE-E6A7-B8DD-66A3-3CB38F6A6A91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3" name="Google Shape;1716;p175">
              <a:extLst>
                <a:ext uri="{FF2B5EF4-FFF2-40B4-BE49-F238E27FC236}">
                  <a16:creationId xmlns:a16="http://schemas.microsoft.com/office/drawing/2014/main" id="{A39D7883-A044-C159-5252-23E71BFD9E98}"/>
                </a:ext>
              </a:extLst>
            </p:cNvPr>
            <p:cNvSpPr/>
            <p:nvPr/>
          </p:nvSpPr>
          <p:spPr>
            <a:xfrm>
              <a:off x="0" y="5100267"/>
              <a:ext cx="7111371" cy="175773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111369"/>
                <a:gd name="f4" fmla="val 1757730"/>
                <a:gd name="f5" fmla="val 772954"/>
                <a:gd name="f6" fmla="val 2778"/>
                <a:gd name="f7" fmla="val 1769038"/>
                <a:gd name="f8" fmla="val 30799"/>
                <a:gd name="f9" fmla="val 2696750"/>
                <a:gd name="f10" fmla="val 267531"/>
                <a:gd name="f11" fmla="val 3590934"/>
                <a:gd name="f12" fmla="val 566046"/>
                <a:gd name="f13" fmla="val 4684008"/>
                <a:gd name="f14" fmla="val 930921"/>
                <a:gd name="f15" fmla="val 5690778"/>
                <a:gd name="f16" fmla="val 1324625"/>
                <a:gd name="f17" fmla="val 6700767"/>
                <a:gd name="f18" fmla="val 1636882"/>
                <a:gd name="f19" fmla="val 25690"/>
                <a:gd name="f20" fmla="val 2197"/>
                <a:gd name="f21" fmla="val 25414"/>
                <a:gd name="f22" fmla="val 114653"/>
                <a:gd name="f23" fmla="val 14905"/>
                <a:gd name="f24" fmla="val 227801"/>
                <a:gd name="f25" fmla="val 7857"/>
                <a:gd name="f26" fmla="val 341773"/>
                <a:gd name="f27" fmla="val 3976"/>
                <a:gd name="f28" fmla="val 486963"/>
                <a:gd name="f29" fmla="+- 0 0 968"/>
                <a:gd name="f30" fmla="val 630656"/>
                <a:gd name="f31" fmla="+- 0 0 1224"/>
                <a:gd name="f32" fmla="*/ f0 1 7111369"/>
                <a:gd name="f33" fmla="*/ f1 1 1757730"/>
                <a:gd name="f34" fmla="+- f4 0 f2"/>
                <a:gd name="f35" fmla="+- f3 0 f2"/>
                <a:gd name="f36" fmla="*/ f35 1 7111369"/>
                <a:gd name="f37" fmla="*/ f34 1 1757730"/>
                <a:gd name="f38" fmla="*/ f2 1 f36"/>
                <a:gd name="f39" fmla="*/ f3 1 f36"/>
                <a:gd name="f40" fmla="*/ f2 1 f37"/>
                <a:gd name="f41" fmla="*/ f4 1 f37"/>
                <a:gd name="f42" fmla="*/ f38 f32 1"/>
                <a:gd name="f43" fmla="*/ f39 f32 1"/>
                <a:gd name="f44" fmla="*/ f41 f33 1"/>
                <a:gd name="f45" fmla="*/ f40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2" t="f45" r="f43" b="f44"/>
              <a:pathLst>
                <a:path w="7111369" h="1757730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4"/>
                  </a:lnTo>
                  <a:lnTo>
                    <a:pt x="f2" y="f4"/>
                  </a:lnTo>
                  <a:lnTo>
                    <a:pt x="f2" y="f19"/>
                  </a:lnTo>
                  <a:lnTo>
                    <a:pt x="f20" y="f21"/>
                  </a:ln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5" y="f6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1717;p175">
              <a:extLst>
                <a:ext uri="{FF2B5EF4-FFF2-40B4-BE49-F238E27FC236}">
                  <a16:creationId xmlns:a16="http://schemas.microsoft.com/office/drawing/2014/main" id="{B38D6C07-77E1-1BCA-37F5-ABB1BADC6584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5" name="Google Shape;1718;p175">
              <a:extLst>
                <a:ext uri="{FF2B5EF4-FFF2-40B4-BE49-F238E27FC236}">
                  <a16:creationId xmlns:a16="http://schemas.microsoft.com/office/drawing/2014/main" id="{30211E60-81B6-CE0F-9F6D-352AF9665723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1719;p175">
              <a:extLst>
                <a:ext uri="{FF2B5EF4-FFF2-40B4-BE49-F238E27FC236}">
                  <a16:creationId xmlns:a16="http://schemas.microsoft.com/office/drawing/2014/main" id="{E21C98C7-4DFA-98BE-0B04-25B0A4D1C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7" name="Google Shape;1720;p175">
            <a:extLst>
              <a:ext uri="{FF2B5EF4-FFF2-40B4-BE49-F238E27FC236}">
                <a16:creationId xmlns:a16="http://schemas.microsoft.com/office/drawing/2014/main" id="{99F0957D-7F77-D359-2B1C-5B7529A4381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701747"/>
            <a:ext cx="9365376" cy="2014679"/>
          </a:xfrm>
        </p:spPr>
        <p:txBody>
          <a:bodyPr anchor="b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721;p175">
            <a:extLst>
              <a:ext uri="{FF2B5EF4-FFF2-40B4-BE49-F238E27FC236}">
                <a16:creationId xmlns:a16="http://schemas.microsoft.com/office/drawing/2014/main" id="{9FE8D691-A6F8-12FA-067A-12F911A321A0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081637"/>
            <a:ext cx="9365376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206366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723;p176">
            <a:extLst>
              <a:ext uri="{FF2B5EF4-FFF2-40B4-BE49-F238E27FC236}">
                <a16:creationId xmlns:a16="http://schemas.microsoft.com/office/drawing/2014/main" id="{C728DB89-6E06-79A3-73DE-8EB64712612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57200" y="1146255"/>
            <a:ext cx="2350172" cy="2971800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cxnSp>
        <p:nvCxnSpPr>
          <p:cNvPr id="3" name="Google Shape;1724;p176">
            <a:extLst>
              <a:ext uri="{FF2B5EF4-FFF2-40B4-BE49-F238E27FC236}">
                <a16:creationId xmlns:a16="http://schemas.microsoft.com/office/drawing/2014/main" id="{63BAFFCA-39FE-A1A8-1FE6-99A7C73EABEB}"/>
              </a:ext>
            </a:extLst>
          </p:cNvPr>
          <p:cNvCxnSpPr/>
          <p:nvPr/>
        </p:nvCxnSpPr>
        <p:spPr>
          <a:xfrm>
            <a:off x="457200" y="947985"/>
            <a:ext cx="2350163" cy="0"/>
          </a:xfrm>
          <a:prstGeom prst="straightConnector1">
            <a:avLst/>
          </a:prstGeom>
          <a:noFill/>
          <a:ln w="31747" cap="flat">
            <a:solidFill>
              <a:srgbClr val="F58366"/>
            </a:solidFill>
            <a:prstDash val="solid"/>
            <a:miter/>
          </a:ln>
        </p:spPr>
      </p:cxnSp>
      <p:grpSp>
        <p:nvGrpSpPr>
          <p:cNvPr id="4" name="Google Shape;1725;p176">
            <a:extLst>
              <a:ext uri="{FF2B5EF4-FFF2-40B4-BE49-F238E27FC236}">
                <a16:creationId xmlns:a16="http://schemas.microsoft.com/office/drawing/2014/main" id="{1C021A59-386F-0979-06EB-E24709CA54DC}"/>
              </a:ext>
            </a:extLst>
          </p:cNvPr>
          <p:cNvGrpSpPr/>
          <p:nvPr/>
        </p:nvGrpSpPr>
        <p:grpSpPr>
          <a:xfrm>
            <a:off x="0" y="5379424"/>
            <a:ext cx="2807363" cy="753895"/>
            <a:chOff x="0" y="5379424"/>
            <a:chExt cx="2807363" cy="753895"/>
          </a:xfrm>
        </p:grpSpPr>
        <p:sp>
          <p:nvSpPr>
            <p:cNvPr id="5" name="Google Shape;1726;p176">
              <a:extLst>
                <a:ext uri="{FF2B5EF4-FFF2-40B4-BE49-F238E27FC236}">
                  <a16:creationId xmlns:a16="http://schemas.microsoft.com/office/drawing/2014/main" id="{36FC1938-FED0-B64F-7ADF-56EB41DA4632}"/>
                </a:ext>
              </a:extLst>
            </p:cNvPr>
            <p:cNvSpPr/>
            <p:nvPr/>
          </p:nvSpPr>
          <p:spPr>
            <a:xfrm>
              <a:off x="0" y="5532513"/>
              <a:ext cx="2807363" cy="60080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00807"/>
                <a:gd name="f5" fmla="val 429971"/>
                <a:gd name="f6" fmla="val 123998"/>
                <a:gd name="f7" fmla="val 1184765"/>
                <a:gd name="f8" fmla="val 325331"/>
                <a:gd name="f9" fmla="val 2014184"/>
                <a:gd name="f10" fmla="val 392492"/>
                <a:gd name="f11" fmla="val 2790212"/>
                <a:gd name="f12" fmla="val 235402"/>
                <a:gd name="f13" fmla="val 231522"/>
                <a:gd name="f14" fmla="val 566106"/>
                <a:gd name="f15" fmla="val 2593885"/>
                <a:gd name="f16" fmla="val 587498"/>
                <a:gd name="f17" fmla="val 1673646"/>
                <a:gd name="f18" fmla="val 651184"/>
                <a:gd name="f19" fmla="val 884869"/>
                <a:gd name="f20" fmla="val 479260"/>
                <a:gd name="f21" fmla="val 100844"/>
                <a:gd name="f22" fmla="val 222653"/>
                <a:gd name="f23" fmla="val 188389"/>
                <a:gd name="f24" fmla="*/ f0 1 2807368"/>
                <a:gd name="f25" fmla="*/ f1 1 600807"/>
                <a:gd name="f26" fmla="+- f4 0 f2"/>
                <a:gd name="f27" fmla="+- f3 0 f2"/>
                <a:gd name="f28" fmla="*/ f27 1 2807368"/>
                <a:gd name="f29" fmla="*/ f26 1 600807"/>
                <a:gd name="f30" fmla="*/ f2 1 f28"/>
                <a:gd name="f31" fmla="*/ f3 1 f28"/>
                <a:gd name="f32" fmla="*/ f2 1 f29"/>
                <a:gd name="f33" fmla="*/ f4 1 f29"/>
                <a:gd name="f34" fmla="*/ f30 f24 1"/>
                <a:gd name="f35" fmla="*/ f31 f24 1"/>
                <a:gd name="f36" fmla="*/ f33 f25 1"/>
                <a:gd name="f37" fmla="*/ f32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37" r="f35" b="f36"/>
              <a:pathLst>
                <a:path w="2807368" h="600807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lnTo>
                    <a:pt x="f3" y="f13"/>
                  </a:lnTo>
                  <a:lnTo>
                    <a:pt x="f3" y="f14"/>
                  </a:lnTo>
                  <a:lnTo>
                    <a:pt x="f15" y="f16"/>
                  </a:lnTo>
                  <a:cubicBezTo>
                    <a:pt x="f17" y="f18"/>
                    <a:pt x="f19" y="f20"/>
                    <a:pt x="f21" y="f22"/>
                  </a:cubicBezTo>
                  <a:lnTo>
                    <a:pt x="f2" y="f23"/>
                  </a:ln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6" name="Google Shape;1727;p176">
              <a:extLst>
                <a:ext uri="{FF2B5EF4-FFF2-40B4-BE49-F238E27FC236}">
                  <a16:creationId xmlns:a16="http://schemas.microsoft.com/office/drawing/2014/main" id="{FDF0D483-357C-4442-1DCA-DE1CF5C3E875}"/>
                </a:ext>
              </a:extLst>
            </p:cNvPr>
            <p:cNvSpPr/>
            <p:nvPr/>
          </p:nvSpPr>
          <p:spPr>
            <a:xfrm>
              <a:off x="0" y="5379424"/>
              <a:ext cx="2807363" cy="64980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49803"/>
                <a:gd name="f5" fmla="val 282676"/>
                <a:gd name="f6" fmla="val 70799"/>
                <a:gd name="f7" fmla="val 435964"/>
                <a:gd name="f8" fmla="val 106085"/>
                <a:gd name="f9" fmla="val 588770"/>
                <a:gd name="f10" fmla="val 137629"/>
                <a:gd name="f11" fmla="val 740881"/>
                <a:gd name="f12" fmla="val 163828"/>
                <a:gd name="f13" fmla="val 1362800"/>
                <a:gd name="f14" fmla="val 270912"/>
                <a:gd name="f15" fmla="val 2067879"/>
                <a:gd name="f16" fmla="val 253759"/>
                <a:gd name="f17" fmla="val 2706471"/>
                <a:gd name="f18" fmla="val 96397"/>
                <a:gd name="f19" fmla="val 67250"/>
                <a:gd name="f20" fmla="val 605551"/>
                <a:gd name="f21" fmla="val 2602685"/>
                <a:gd name="f22" fmla="val 629466"/>
                <a:gd name="f23" fmla="val 1684237"/>
                <a:gd name="f24" fmla="val 708219"/>
                <a:gd name="f25" fmla="val 893252"/>
                <a:gd name="f26" fmla="val 549395"/>
                <a:gd name="f27" fmla="val 105614"/>
                <a:gd name="f28" fmla="val 305882"/>
                <a:gd name="f29" fmla="val 271926"/>
                <a:gd name="f30" fmla="*/ f0 1 2807368"/>
                <a:gd name="f31" fmla="*/ f1 1 649803"/>
                <a:gd name="f32" fmla="+- f4 0 f2"/>
                <a:gd name="f33" fmla="+- f3 0 f2"/>
                <a:gd name="f34" fmla="*/ f33 1 2807368"/>
                <a:gd name="f35" fmla="*/ f32 1 649803"/>
                <a:gd name="f36" fmla="*/ f2 1 f34"/>
                <a:gd name="f37" fmla="*/ f3 1 f34"/>
                <a:gd name="f38" fmla="*/ f2 1 f35"/>
                <a:gd name="f39" fmla="*/ f4 1 f35"/>
                <a:gd name="f40" fmla="*/ f36 f30 1"/>
                <a:gd name="f41" fmla="*/ f37 f30 1"/>
                <a:gd name="f42" fmla="*/ f39 f31 1"/>
                <a:gd name="f43" fmla="*/ f3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2807368" h="649803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19"/>
                  </a:lnTo>
                  <a:lnTo>
                    <a:pt x="f3" y="f20"/>
                  </a:lnTo>
                  <a:lnTo>
                    <a:pt x="f21" y="f22"/>
                  </a:lnTo>
                  <a:cubicBezTo>
                    <a:pt x="f23" y="f24"/>
                    <a:pt x="f25" y="f26"/>
                    <a:pt x="f27" y="f28"/>
                  </a:cubicBezTo>
                  <a:lnTo>
                    <a:pt x="f2" y="f29"/>
                  </a:ln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pic>
        <p:nvPicPr>
          <p:cNvPr id="7" name="Google Shape;1729;p176">
            <a:extLst>
              <a:ext uri="{FF2B5EF4-FFF2-40B4-BE49-F238E27FC236}">
                <a16:creationId xmlns:a16="http://schemas.microsoft.com/office/drawing/2014/main" id="{0107F1FF-9F31-E161-CA42-0ACDFCA7372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513344" y="4385535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858386595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731;p177">
            <a:extLst>
              <a:ext uri="{FF2B5EF4-FFF2-40B4-BE49-F238E27FC236}">
                <a16:creationId xmlns:a16="http://schemas.microsoft.com/office/drawing/2014/main" id="{0695C498-854C-9051-C768-B579B78A2E2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F1C4616B-B4DA-4DB8-BDFF-B66CD4FA16FF}" type="slidenum">
              <a:t>‹#›</a:t>
            </a:fld>
            <a:endParaRPr lang="en-US"/>
          </a:p>
        </p:txBody>
      </p:sp>
      <p:cxnSp>
        <p:nvCxnSpPr>
          <p:cNvPr id="3" name="Google Shape;1732;p177">
            <a:extLst>
              <a:ext uri="{FF2B5EF4-FFF2-40B4-BE49-F238E27FC236}">
                <a16:creationId xmlns:a16="http://schemas.microsoft.com/office/drawing/2014/main" id="{BAD85AA5-8528-F7A2-E65E-1EC7C47FDA56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4" name="Google Shape;1733;p177">
            <a:extLst>
              <a:ext uri="{FF2B5EF4-FFF2-40B4-BE49-F238E27FC236}">
                <a16:creationId xmlns:a16="http://schemas.microsoft.com/office/drawing/2014/main" id="{822A4431-2589-55E4-C255-B86C45A577A0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1734;p177">
            <a:extLst>
              <a:ext uri="{FF2B5EF4-FFF2-40B4-BE49-F238E27FC236}">
                <a16:creationId xmlns:a16="http://schemas.microsoft.com/office/drawing/2014/main" id="{0B1FF8C2-7A0E-93E4-BDB0-F828DAFA7C49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6" name="Google Shape;1735;p177">
              <a:extLst>
                <a:ext uri="{FF2B5EF4-FFF2-40B4-BE49-F238E27FC236}">
                  <a16:creationId xmlns:a16="http://schemas.microsoft.com/office/drawing/2014/main" id="{41B03C89-D901-3D8F-650C-45D48F36D98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7" name="Google Shape;1736;p177">
              <a:extLst>
                <a:ext uri="{FF2B5EF4-FFF2-40B4-BE49-F238E27FC236}">
                  <a16:creationId xmlns:a16="http://schemas.microsoft.com/office/drawing/2014/main" id="{5C08A927-5115-896D-C191-253D4B08087C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8" name="Google Shape;1737;p177">
                <a:extLst>
                  <a:ext uri="{FF2B5EF4-FFF2-40B4-BE49-F238E27FC236}">
                    <a16:creationId xmlns:a16="http://schemas.microsoft.com/office/drawing/2014/main" id="{E2527C36-DB5C-7F34-0026-89E2E6DA54E4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9" name="Google Shape;1738;p177">
                <a:extLst>
                  <a:ext uri="{FF2B5EF4-FFF2-40B4-BE49-F238E27FC236}">
                    <a16:creationId xmlns:a16="http://schemas.microsoft.com/office/drawing/2014/main" id="{4E18B045-258F-9DF5-6E1F-DBEB10AB28D3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04545623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740;p178">
            <a:extLst>
              <a:ext uri="{FF2B5EF4-FFF2-40B4-BE49-F238E27FC236}">
                <a16:creationId xmlns:a16="http://schemas.microsoft.com/office/drawing/2014/main" id="{A96B4188-0492-9784-A03C-159B0421EEC6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741;p178">
            <a:extLst>
              <a:ext uri="{FF2B5EF4-FFF2-40B4-BE49-F238E27FC236}">
                <a16:creationId xmlns:a16="http://schemas.microsoft.com/office/drawing/2014/main" id="{DDDB4BDF-7043-5677-FD3F-D1ABDF335D4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742;p178">
            <a:extLst>
              <a:ext uri="{FF2B5EF4-FFF2-40B4-BE49-F238E27FC236}">
                <a16:creationId xmlns:a16="http://schemas.microsoft.com/office/drawing/2014/main" id="{493327C5-D3AA-253B-DB58-DF637CADE48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743;p178">
            <a:extLst>
              <a:ext uri="{FF2B5EF4-FFF2-40B4-BE49-F238E27FC236}">
                <a16:creationId xmlns:a16="http://schemas.microsoft.com/office/drawing/2014/main" id="{136C13C0-A10C-0B4C-0C20-A2967A9A195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9106673B-CAE1-4C2D-962F-86A3225BD1B9}" type="slidenum">
              <a:t>‹#›</a:t>
            </a:fld>
            <a:endParaRPr lang="en-US"/>
          </a:p>
        </p:txBody>
      </p:sp>
      <p:cxnSp>
        <p:nvCxnSpPr>
          <p:cNvPr id="6" name="Google Shape;1744;p178">
            <a:extLst>
              <a:ext uri="{FF2B5EF4-FFF2-40B4-BE49-F238E27FC236}">
                <a16:creationId xmlns:a16="http://schemas.microsoft.com/office/drawing/2014/main" id="{A833FFA7-60F3-0B42-D5D6-37F1FBEAD6D8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745;p178">
            <a:extLst>
              <a:ext uri="{FF2B5EF4-FFF2-40B4-BE49-F238E27FC236}">
                <a16:creationId xmlns:a16="http://schemas.microsoft.com/office/drawing/2014/main" id="{3F19BF29-E5D8-DF42-BC4F-D6AFE2805DF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1746;p178">
            <a:extLst>
              <a:ext uri="{FF2B5EF4-FFF2-40B4-BE49-F238E27FC236}">
                <a16:creationId xmlns:a16="http://schemas.microsoft.com/office/drawing/2014/main" id="{FAE66774-A4E4-67EA-99CF-B9A3421F8A82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1747;p178">
              <a:extLst>
                <a:ext uri="{FF2B5EF4-FFF2-40B4-BE49-F238E27FC236}">
                  <a16:creationId xmlns:a16="http://schemas.microsoft.com/office/drawing/2014/main" id="{776D041A-6471-5337-CDB5-58C45FED769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1748;p178">
              <a:extLst>
                <a:ext uri="{FF2B5EF4-FFF2-40B4-BE49-F238E27FC236}">
                  <a16:creationId xmlns:a16="http://schemas.microsoft.com/office/drawing/2014/main" id="{59CBCDBC-A8E9-0747-D33F-D6485A5A402F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1749;p178">
                <a:extLst>
                  <a:ext uri="{FF2B5EF4-FFF2-40B4-BE49-F238E27FC236}">
                    <a16:creationId xmlns:a16="http://schemas.microsoft.com/office/drawing/2014/main" id="{346F0B19-8648-2157-8B18-8D54AD4F7409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1750;p178">
                <a:extLst>
                  <a:ext uri="{FF2B5EF4-FFF2-40B4-BE49-F238E27FC236}">
                    <a16:creationId xmlns:a16="http://schemas.microsoft.com/office/drawing/2014/main" id="{EED9F8BE-5CDB-3379-3DAE-7B2C64FA554A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1751;p178" descr="Open quotation mark with solid fill">
            <a:extLst>
              <a:ext uri="{FF2B5EF4-FFF2-40B4-BE49-F238E27FC236}">
                <a16:creationId xmlns:a16="http://schemas.microsoft.com/office/drawing/2014/main" id="{CB227038-4DF1-5C3D-4191-7D4891D8A1FE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93002479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753;p179">
            <a:extLst>
              <a:ext uri="{FF2B5EF4-FFF2-40B4-BE49-F238E27FC236}">
                <a16:creationId xmlns:a16="http://schemas.microsoft.com/office/drawing/2014/main" id="{2217009F-4B20-D844-EB0C-2D248911C72F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3" name="Google Shape;1754;p179">
            <a:extLst>
              <a:ext uri="{FF2B5EF4-FFF2-40B4-BE49-F238E27FC236}">
                <a16:creationId xmlns:a16="http://schemas.microsoft.com/office/drawing/2014/main" id="{D5A32D9B-49CB-9711-3A3F-9FE154B8C41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grpSp>
        <p:nvGrpSpPr>
          <p:cNvPr id="4" name="Google Shape;1755;p179">
            <a:extLst>
              <a:ext uri="{FF2B5EF4-FFF2-40B4-BE49-F238E27FC236}">
                <a16:creationId xmlns:a16="http://schemas.microsoft.com/office/drawing/2014/main" id="{A6A4631B-5194-1F7A-F04D-C7AE5C3221F0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5" name="Google Shape;1756;p179">
              <a:extLst>
                <a:ext uri="{FF2B5EF4-FFF2-40B4-BE49-F238E27FC236}">
                  <a16:creationId xmlns:a16="http://schemas.microsoft.com/office/drawing/2014/main" id="{3042AADC-E6FC-3A65-23C8-E73A09E4631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6" name="Google Shape;1757;p179">
              <a:extLst>
                <a:ext uri="{FF2B5EF4-FFF2-40B4-BE49-F238E27FC236}">
                  <a16:creationId xmlns:a16="http://schemas.microsoft.com/office/drawing/2014/main" id="{27718008-F5C7-886B-81EA-8C0894C58B58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7" name="Google Shape;1758;p179">
                <a:extLst>
                  <a:ext uri="{FF2B5EF4-FFF2-40B4-BE49-F238E27FC236}">
                    <a16:creationId xmlns:a16="http://schemas.microsoft.com/office/drawing/2014/main" id="{B15C425A-E847-FBEF-C0E1-F9EA7D74B0BB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8" name="Google Shape;1759;p179">
                <a:extLst>
                  <a:ext uri="{FF2B5EF4-FFF2-40B4-BE49-F238E27FC236}">
                    <a16:creationId xmlns:a16="http://schemas.microsoft.com/office/drawing/2014/main" id="{A40A08E6-81C4-D720-69EB-A0DB459D2310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9" name="Google Shape;1760;p179">
            <a:extLst>
              <a:ext uri="{FF2B5EF4-FFF2-40B4-BE49-F238E27FC236}">
                <a16:creationId xmlns:a16="http://schemas.microsoft.com/office/drawing/2014/main" id="{987008B7-7883-058C-9E0E-148E35DD4B3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Google Shape;1761;p179">
            <a:extLst>
              <a:ext uri="{FF2B5EF4-FFF2-40B4-BE49-F238E27FC236}">
                <a16:creationId xmlns:a16="http://schemas.microsoft.com/office/drawing/2014/main" id="{C1EC6426-AF26-DA27-04D6-D770E313135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8839193" y="6356351"/>
            <a:ext cx="2743200" cy="365129"/>
          </a:xfrm>
        </p:spPr>
        <p:txBody>
          <a:bodyPr/>
          <a:lstStyle>
            <a:lvl1pPr>
              <a:defRPr/>
            </a:lvl1pPr>
          </a:lstStyle>
          <a:p>
            <a:pPr lvl="0"/>
            <a:fld id="{E46A7AEA-DD0F-47A1-A024-3EDCE42E4C58}" type="slidenum">
              <a:t>‹#›</a:t>
            </a:fld>
            <a:endParaRPr lang="en-US"/>
          </a:p>
        </p:txBody>
      </p:sp>
      <p:cxnSp>
        <p:nvCxnSpPr>
          <p:cNvPr id="11" name="Google Shape;1762;p179">
            <a:extLst>
              <a:ext uri="{FF2B5EF4-FFF2-40B4-BE49-F238E27FC236}">
                <a16:creationId xmlns:a16="http://schemas.microsoft.com/office/drawing/2014/main" id="{030FA56F-DF0A-8DB1-8966-313C5F62670E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2" name="Google Shape;1763;p179">
            <a:extLst>
              <a:ext uri="{FF2B5EF4-FFF2-40B4-BE49-F238E27FC236}">
                <a16:creationId xmlns:a16="http://schemas.microsoft.com/office/drawing/2014/main" id="{B9DBDEC3-0E3D-99BC-8668-D037D4906D2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4602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371385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765;p180">
            <a:extLst>
              <a:ext uri="{FF2B5EF4-FFF2-40B4-BE49-F238E27FC236}">
                <a16:creationId xmlns:a16="http://schemas.microsoft.com/office/drawing/2014/main" id="{C20E7E46-038B-E2EB-F0D2-D64D24AD6208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766;p180">
              <a:extLst>
                <a:ext uri="{FF2B5EF4-FFF2-40B4-BE49-F238E27FC236}">
                  <a16:creationId xmlns:a16="http://schemas.microsoft.com/office/drawing/2014/main" id="{5D6E5A57-C546-407B-CD34-3736E744A86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767;p180">
              <a:extLst>
                <a:ext uri="{FF2B5EF4-FFF2-40B4-BE49-F238E27FC236}">
                  <a16:creationId xmlns:a16="http://schemas.microsoft.com/office/drawing/2014/main" id="{1CB1FE90-AD5A-02C8-372E-9C914C8C3EE7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768;p180">
                <a:extLst>
                  <a:ext uri="{FF2B5EF4-FFF2-40B4-BE49-F238E27FC236}">
                    <a16:creationId xmlns:a16="http://schemas.microsoft.com/office/drawing/2014/main" id="{45814E5C-D8E6-7E95-FA6B-B3319AF60CC8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769;p180">
                <a:extLst>
                  <a:ext uri="{FF2B5EF4-FFF2-40B4-BE49-F238E27FC236}">
                    <a16:creationId xmlns:a16="http://schemas.microsoft.com/office/drawing/2014/main" id="{21CCAA29-B5C0-D61E-ADDC-CEA0B5836A59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770;p180">
            <a:extLst>
              <a:ext uri="{FF2B5EF4-FFF2-40B4-BE49-F238E27FC236}">
                <a16:creationId xmlns:a16="http://schemas.microsoft.com/office/drawing/2014/main" id="{7E68FE15-9570-054E-BC3E-7E9BDE16CFB6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771;p180">
            <a:extLst>
              <a:ext uri="{FF2B5EF4-FFF2-40B4-BE49-F238E27FC236}">
                <a16:creationId xmlns:a16="http://schemas.microsoft.com/office/drawing/2014/main" id="{582A507A-7B2F-540F-91CA-9A4C2A6B18B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681160"/>
            <a:ext cx="538797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9" name="Google Shape;1772;p180">
            <a:extLst>
              <a:ext uri="{FF2B5EF4-FFF2-40B4-BE49-F238E27FC236}">
                <a16:creationId xmlns:a16="http://schemas.microsoft.com/office/drawing/2014/main" id="{FC0CD36F-3D82-C728-570A-A755EF59DEB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2505071"/>
            <a:ext cx="5387973" cy="3684583"/>
          </a:xfrm>
          <a:solidFill>
            <a:srgbClr val="F3F6FB"/>
          </a:solidFill>
        </p:spPr>
        <p:txBody>
          <a:bodyPr lIns="182870" tIns="0" rIns="182870" bIns="0">
            <a:normAutofit/>
          </a:bodyPr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0" name="Google Shape;1773;p180">
            <a:extLst>
              <a:ext uri="{FF2B5EF4-FFF2-40B4-BE49-F238E27FC236}">
                <a16:creationId xmlns:a16="http://schemas.microsoft.com/office/drawing/2014/main" id="{A8462349-6CDA-EF31-E9AC-28B4CF4FD82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681160"/>
            <a:ext cx="541020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11" name="Google Shape;1774;p180">
            <a:extLst>
              <a:ext uri="{FF2B5EF4-FFF2-40B4-BE49-F238E27FC236}">
                <a16:creationId xmlns:a16="http://schemas.microsoft.com/office/drawing/2014/main" id="{55459F4E-CEB7-D888-16AC-6CB27B684AC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2505071"/>
            <a:ext cx="5410203" cy="3684583"/>
          </a:xfrm>
          <a:solidFill>
            <a:srgbClr val="F3F6FB"/>
          </a:solidFill>
        </p:spPr>
        <p:txBody>
          <a:bodyPr lIns="182870" tIns="0" rIns="182870" bIns="0"/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2" name="Google Shape;1775;p180">
            <a:extLst>
              <a:ext uri="{FF2B5EF4-FFF2-40B4-BE49-F238E27FC236}">
                <a16:creationId xmlns:a16="http://schemas.microsoft.com/office/drawing/2014/main" id="{319F9062-4EFA-1B2C-0C38-75A2B1C46B3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4972C9CD-3AB9-49B4-9A7A-DD3EF2BB8924}" type="slidenum">
              <a:t>‹#›</a:t>
            </a:fld>
            <a:endParaRPr lang="en-US"/>
          </a:p>
        </p:txBody>
      </p:sp>
      <p:cxnSp>
        <p:nvCxnSpPr>
          <p:cNvPr id="13" name="Google Shape;1776;p180">
            <a:extLst>
              <a:ext uri="{FF2B5EF4-FFF2-40B4-BE49-F238E27FC236}">
                <a16:creationId xmlns:a16="http://schemas.microsoft.com/office/drawing/2014/main" id="{2742516C-2716-C1BC-AB52-388DCF1B9E12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4" name="Google Shape;1777;p180">
            <a:extLst>
              <a:ext uri="{FF2B5EF4-FFF2-40B4-BE49-F238E27FC236}">
                <a16:creationId xmlns:a16="http://schemas.microsoft.com/office/drawing/2014/main" id="{21081B60-4761-739D-23EC-0CF4BA42DD9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823077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779;p181">
            <a:extLst>
              <a:ext uri="{FF2B5EF4-FFF2-40B4-BE49-F238E27FC236}">
                <a16:creationId xmlns:a16="http://schemas.microsoft.com/office/drawing/2014/main" id="{047521A1-F01C-F8E4-632A-124437BD597B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780;p181">
              <a:extLst>
                <a:ext uri="{FF2B5EF4-FFF2-40B4-BE49-F238E27FC236}">
                  <a16:creationId xmlns:a16="http://schemas.microsoft.com/office/drawing/2014/main" id="{8423D8F0-E315-E570-FF92-F913B0DDE3F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781;p181">
              <a:extLst>
                <a:ext uri="{FF2B5EF4-FFF2-40B4-BE49-F238E27FC236}">
                  <a16:creationId xmlns:a16="http://schemas.microsoft.com/office/drawing/2014/main" id="{98F74220-BFE5-D224-8D6D-8DFCE15A9CBF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782;p181">
                <a:extLst>
                  <a:ext uri="{FF2B5EF4-FFF2-40B4-BE49-F238E27FC236}">
                    <a16:creationId xmlns:a16="http://schemas.microsoft.com/office/drawing/2014/main" id="{39870555-D91F-DB73-79B6-5EAB936B90EE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783;p181">
                <a:extLst>
                  <a:ext uri="{FF2B5EF4-FFF2-40B4-BE49-F238E27FC236}">
                    <a16:creationId xmlns:a16="http://schemas.microsoft.com/office/drawing/2014/main" id="{035BBD73-A9B1-E448-D55A-741AB41C97C8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784;p181">
            <a:extLst>
              <a:ext uri="{FF2B5EF4-FFF2-40B4-BE49-F238E27FC236}">
                <a16:creationId xmlns:a16="http://schemas.microsoft.com/office/drawing/2014/main" id="{636FE4D8-3B32-58F2-DB28-20BA295538A6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785;p181">
            <a:extLst>
              <a:ext uri="{FF2B5EF4-FFF2-40B4-BE49-F238E27FC236}">
                <a16:creationId xmlns:a16="http://schemas.microsoft.com/office/drawing/2014/main" id="{09DCB661-109C-D070-503E-408DA33A1D8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30FEFF82-BAF2-4652-A336-6C0C6F3146C2}" type="slidenum">
              <a:t>‹#›</a:t>
            </a:fld>
            <a:endParaRPr lang="en-US"/>
          </a:p>
        </p:txBody>
      </p:sp>
      <p:cxnSp>
        <p:nvCxnSpPr>
          <p:cNvPr id="9" name="Google Shape;1786;p181">
            <a:extLst>
              <a:ext uri="{FF2B5EF4-FFF2-40B4-BE49-F238E27FC236}">
                <a16:creationId xmlns:a16="http://schemas.microsoft.com/office/drawing/2014/main" id="{AE20940F-7766-C3A1-FF68-D6D1299421B7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0" name="Google Shape;1787;p181">
            <a:extLst>
              <a:ext uri="{FF2B5EF4-FFF2-40B4-BE49-F238E27FC236}">
                <a16:creationId xmlns:a16="http://schemas.microsoft.com/office/drawing/2014/main" id="{01944CE3-000F-93BD-0559-F0D6EACD1F36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306867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789;p182">
            <a:extLst>
              <a:ext uri="{FF2B5EF4-FFF2-40B4-BE49-F238E27FC236}">
                <a16:creationId xmlns:a16="http://schemas.microsoft.com/office/drawing/2014/main" id="{170D9310-BA03-E731-A0BA-84A5AC27DB46}"/>
              </a:ext>
            </a:extLst>
          </p:cNvPr>
          <p:cNvGrpSpPr/>
          <p:nvPr/>
        </p:nvGrpSpPr>
        <p:grpSpPr>
          <a:xfrm>
            <a:off x="0" y="0"/>
            <a:ext cx="12191996" cy="2148830"/>
            <a:chOff x="0" y="0"/>
            <a:chExt cx="12191996" cy="2148830"/>
          </a:xfrm>
        </p:grpSpPr>
        <p:sp>
          <p:nvSpPr>
            <p:cNvPr id="3" name="Google Shape;1790;p182">
              <a:extLst>
                <a:ext uri="{FF2B5EF4-FFF2-40B4-BE49-F238E27FC236}">
                  <a16:creationId xmlns:a16="http://schemas.microsoft.com/office/drawing/2014/main" id="{A9854E21-4111-A3B3-9926-3A19AEC514D1}"/>
                </a:ext>
              </a:extLst>
            </p:cNvPr>
            <p:cNvSpPr/>
            <p:nvPr/>
          </p:nvSpPr>
          <p:spPr>
            <a:xfrm flipH="1">
              <a:off x="0" y="0"/>
              <a:ext cx="12191996" cy="214883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2148830"/>
                <a:gd name="f5" fmla="val 2318293"/>
                <a:gd name="f6" fmla="val 2110341"/>
                <a:gd name="f7" fmla="val 1952334"/>
                <a:gd name="f8" fmla="val 920"/>
                <a:gd name="f9" fmla="val 1343499"/>
                <a:gd name="f10" fmla="val 23864"/>
                <a:gd name="f11" fmla="val 752130"/>
                <a:gd name="f12" fmla="val 152982"/>
                <a:gd name="f13" fmla="val 184205"/>
                <a:gd name="f14" fmla="val 435928"/>
                <a:gd name="f15" fmla="val 536864"/>
                <a:gd name="f16" fmla="val 554713"/>
                <a:gd name="f17" fmla="val 201115"/>
                <a:gd name="f18" fmla="val 452796"/>
                <a:gd name="f19" fmla="val 776357"/>
                <a:gd name="f20" fmla="val 187336"/>
                <a:gd name="f21" fmla="val 1349828"/>
                <a:gd name="f22" fmla="val 76760"/>
                <a:gd name="f23" fmla="val 1947588"/>
                <a:gd name="f24" fmla="val 66249"/>
                <a:gd name="f25" fmla="val 2962940"/>
                <a:gd name="f26" fmla="val 48421"/>
                <a:gd name="f27" fmla="val 3890218"/>
                <a:gd name="f28" fmla="val 291317"/>
                <a:gd name="f29" fmla="val 4778140"/>
                <a:gd name="f30" fmla="val 604018"/>
                <a:gd name="f31" fmla="val 7231510"/>
                <a:gd name="f32" fmla="val 1468126"/>
                <a:gd name="f33" fmla="val 9178927"/>
                <a:gd name="f34" fmla="val 2492024"/>
                <a:gd name="f35" fmla="val 11996242"/>
                <a:gd name="f36" fmla="val 2036894"/>
                <a:gd name="f37" fmla="val 2002266"/>
                <a:gd name="f38" fmla="val 1415250"/>
                <a:gd name="f39" fmla="val 12022971"/>
                <a:gd name="f40" fmla="val 1470801"/>
                <a:gd name="f41" fmla="val 10719696"/>
                <a:gd name="f42" fmla="val 1863939"/>
                <a:gd name="f43" fmla="val 9271154"/>
                <a:gd name="f44" fmla="val 1783804"/>
                <a:gd name="f45" fmla="val 7970940"/>
                <a:gd name="f46" fmla="val 1436986"/>
                <a:gd name="f47" fmla="val 6890984"/>
                <a:gd name="f48" fmla="val 1148958"/>
                <a:gd name="f49" fmla="val 5866930"/>
                <a:gd name="f50" fmla="val 767309"/>
                <a:gd name="f51" fmla="val 4800356"/>
                <a:gd name="f52" fmla="val 456582"/>
                <a:gd name="f53" fmla="val 4068903"/>
                <a:gd name="f54" fmla="val 243471"/>
                <a:gd name="f55" fmla="val 3348204"/>
                <a:gd name="f56" fmla="val 74251"/>
                <a:gd name="f57" fmla="val 2646880"/>
                <a:gd name="f58" fmla="val 17560"/>
                <a:gd name="f59" fmla="*/ f0 1 12192000"/>
                <a:gd name="f60" fmla="*/ f1 1 2148830"/>
                <a:gd name="f61" fmla="+- f4 0 f2"/>
                <a:gd name="f62" fmla="+- f3 0 f2"/>
                <a:gd name="f63" fmla="*/ f62 1 12192000"/>
                <a:gd name="f64" fmla="*/ f61 1 2148830"/>
                <a:gd name="f65" fmla="*/ f2 1 f63"/>
                <a:gd name="f66" fmla="*/ f3 1 f63"/>
                <a:gd name="f67" fmla="*/ f2 1 f64"/>
                <a:gd name="f68" fmla="*/ f4 1 f64"/>
                <a:gd name="f69" fmla="*/ f65 f59 1"/>
                <a:gd name="f70" fmla="*/ f66 f59 1"/>
                <a:gd name="f71" fmla="*/ f68 f60 1"/>
                <a:gd name="f72" fmla="*/ f67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9" t="f72" r="f70" b="f71"/>
              <a:pathLst>
                <a:path w="12192000" h="2148830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1791;p182">
              <a:extLst>
                <a:ext uri="{FF2B5EF4-FFF2-40B4-BE49-F238E27FC236}">
                  <a16:creationId xmlns:a16="http://schemas.microsoft.com/office/drawing/2014/main" id="{EF3D4B48-F61B-6CCC-1060-CD30429ED9A3}"/>
                </a:ext>
              </a:extLst>
            </p:cNvPr>
            <p:cNvSpPr/>
            <p:nvPr/>
          </p:nvSpPr>
          <p:spPr>
            <a:xfrm flipH="1">
              <a:off x="0" y="0"/>
              <a:ext cx="12191996" cy="19921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992138"/>
                <a:gd name="f5" fmla="val 2724271"/>
                <a:gd name="f6" fmla="val 1788442"/>
                <a:gd name="f7" fmla="val 1635403"/>
                <a:gd name="f8" fmla="val 12925"/>
                <a:gd name="f9" fmla="val 1134241"/>
                <a:gd name="f10" fmla="val 70905"/>
                <a:gd name="f11" fmla="val 647221"/>
                <a:gd name="f12" fmla="val 207817"/>
                <a:gd name="f13" fmla="val 178220"/>
                <a:gd name="f14" fmla="val 451207"/>
                <a:gd name="f15" fmla="val 552718"/>
                <a:gd name="f16" fmla="val 570885"/>
                <a:gd name="f17" fmla="val 195368"/>
                <a:gd name="f18" fmla="val 467800"/>
                <a:gd name="f19" fmla="val 765758"/>
                <a:gd name="f20" fmla="val 193094"/>
                <a:gd name="f21" fmla="val 1336955"/>
                <a:gd name="f22" fmla="val 73179"/>
                <a:gd name="f23" fmla="val 1934073"/>
                <a:gd name="f24" fmla="val 52850"/>
                <a:gd name="f25" fmla="val 2948304"/>
                <a:gd name="f26" fmla="val 18310"/>
                <a:gd name="f27" fmla="val 3878878"/>
                <a:gd name="f28" fmla="val 245747"/>
                <a:gd name="f29" fmla="val 4771217"/>
                <a:gd name="f30" fmla="val 543645"/>
                <a:gd name="f31" fmla="val 7236913"/>
                <a:gd name="f32" fmla="val 1366709"/>
                <a:gd name="f33" fmla="val 9199689"/>
                <a:gd name="f34" fmla="val 2357774"/>
                <a:gd name="f35" fmla="val 12007222"/>
                <a:gd name="f36" fmla="val 1856729"/>
                <a:gd name="f37" fmla="val 1820900"/>
                <a:gd name="f38" fmla="val 897073"/>
                <a:gd name="f39" fmla="val 12062517"/>
                <a:gd name="f40" fmla="val 950128"/>
                <a:gd name="f41" fmla="val 10950292"/>
                <a:gd name="f42" fmla="val 1376478"/>
                <a:gd name="f43" fmla="val 9595706"/>
                <a:gd name="f44" fmla="val 1466451"/>
                <a:gd name="f45" fmla="val 8435105"/>
                <a:gd name="f46" fmla="val 1266613"/>
                <a:gd name="f47" fmla="val 6618389"/>
                <a:gd name="f48" fmla="val 953715"/>
                <a:gd name="f49" fmla="val 4735222"/>
                <a:gd name="f50" fmla="val 130088"/>
                <a:gd name="f51" fmla="val 2948502"/>
                <a:gd name="f52" fmla="val 20548"/>
                <a:gd name="f53" fmla="*/ f0 1 12192000"/>
                <a:gd name="f54" fmla="*/ f1 1 1992138"/>
                <a:gd name="f55" fmla="+- f4 0 f2"/>
                <a:gd name="f56" fmla="+- f3 0 f2"/>
                <a:gd name="f57" fmla="*/ f56 1 12192000"/>
                <a:gd name="f58" fmla="*/ f55 1 1992138"/>
                <a:gd name="f59" fmla="*/ f2 1 f57"/>
                <a:gd name="f60" fmla="*/ f3 1 f57"/>
                <a:gd name="f61" fmla="*/ f2 1 f58"/>
                <a:gd name="f62" fmla="*/ f4 1 f58"/>
                <a:gd name="f63" fmla="*/ f59 f53 1"/>
                <a:gd name="f64" fmla="*/ f60 f53 1"/>
                <a:gd name="f65" fmla="*/ f62 f54 1"/>
                <a:gd name="f66" fmla="*/ f61 f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3" t="f66" r="f64" b="f65"/>
              <a:pathLst>
                <a:path w="12192000" h="1992138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lose/>
                </a:path>
              </a:pathLst>
            </a:custGeom>
            <a:solidFill>
              <a:srgbClr val="00498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sp>
        <p:nvSpPr>
          <p:cNvPr id="5" name="Google Shape;1792;p182">
            <a:extLst>
              <a:ext uri="{FF2B5EF4-FFF2-40B4-BE49-F238E27FC236}">
                <a16:creationId xmlns:a16="http://schemas.microsoft.com/office/drawing/2014/main" id="{EDE98C2B-9144-6AF7-4579-60D85F13EF48}"/>
              </a:ext>
            </a:extLst>
          </p:cNvPr>
          <p:cNvSpPr/>
          <p:nvPr/>
        </p:nvSpPr>
        <p:spPr>
          <a:xfrm>
            <a:off x="902366" y="1517693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6" name="Google Shape;1793;p182">
            <a:extLst>
              <a:ext uri="{FF2B5EF4-FFF2-40B4-BE49-F238E27FC236}">
                <a16:creationId xmlns:a16="http://schemas.microsoft.com/office/drawing/2014/main" id="{794D620C-6E89-E613-6BE1-EECCBD4782E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219196" y="3429000"/>
            <a:ext cx="5582649" cy="1413561"/>
          </a:xfrm>
        </p:spPr>
        <p:txBody>
          <a:bodyPr/>
          <a:lstStyle>
            <a:lvl1pPr indent="-228600">
              <a:buNone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7" name="Google Shape;1794;p182">
            <a:extLst>
              <a:ext uri="{FF2B5EF4-FFF2-40B4-BE49-F238E27FC236}">
                <a16:creationId xmlns:a16="http://schemas.microsoft.com/office/drawing/2014/main" id="{2132C8C9-F96C-6955-4BA4-0DB9F3FD112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19196" y="1887486"/>
            <a:ext cx="5582649" cy="1078260"/>
          </a:xfrm>
        </p:spPr>
        <p:txBody>
          <a:bodyPr/>
          <a:lstStyle>
            <a:lvl1pPr>
              <a:defRPr sz="6000"/>
            </a:lvl1pPr>
          </a:lstStyle>
          <a:p>
            <a:pPr lvl="0"/>
            <a:endParaRPr lang="en-US"/>
          </a:p>
        </p:txBody>
      </p:sp>
      <p:pic>
        <p:nvPicPr>
          <p:cNvPr id="8" name="Google Shape;1795;p182">
            <a:extLst>
              <a:ext uri="{FF2B5EF4-FFF2-40B4-BE49-F238E27FC236}">
                <a16:creationId xmlns:a16="http://schemas.microsoft.com/office/drawing/2014/main" id="{9915869B-FE48-A601-F564-95C6AF954AFB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902366" y="228371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756274499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798;p183">
            <a:extLst>
              <a:ext uri="{FF2B5EF4-FFF2-40B4-BE49-F238E27FC236}">
                <a16:creationId xmlns:a16="http://schemas.microsoft.com/office/drawing/2014/main" id="{6C0301E6-0897-F992-8914-B077AB6E747A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CA69DB06-D646-494C-812F-DBC63F291522}" type="slidenum">
              <a:t>‹#›</a:t>
            </a:fld>
            <a:endParaRPr lang="en-US"/>
          </a:p>
        </p:txBody>
      </p:sp>
      <p:cxnSp>
        <p:nvCxnSpPr>
          <p:cNvPr id="3" name="Google Shape;1799;p183">
            <a:extLst>
              <a:ext uri="{FF2B5EF4-FFF2-40B4-BE49-F238E27FC236}">
                <a16:creationId xmlns:a16="http://schemas.microsoft.com/office/drawing/2014/main" id="{48F21CA7-94A9-EFB0-B650-C19E2E03B082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4" name="Google Shape;1800;p183">
            <a:extLst>
              <a:ext uri="{FF2B5EF4-FFF2-40B4-BE49-F238E27FC236}">
                <a16:creationId xmlns:a16="http://schemas.microsoft.com/office/drawing/2014/main" id="{C9CEDB26-B217-2FE2-8FF4-D39A3FAA582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1801;p183">
            <a:extLst>
              <a:ext uri="{FF2B5EF4-FFF2-40B4-BE49-F238E27FC236}">
                <a16:creationId xmlns:a16="http://schemas.microsoft.com/office/drawing/2014/main" id="{EE7F1C96-5FC9-C519-B50B-666FB4286F1D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6" name="Google Shape;1802;p183">
              <a:extLst>
                <a:ext uri="{FF2B5EF4-FFF2-40B4-BE49-F238E27FC236}">
                  <a16:creationId xmlns:a16="http://schemas.microsoft.com/office/drawing/2014/main" id="{1C9751C8-15FD-172E-93F5-9F1626994AD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7" name="Google Shape;1803;p183">
              <a:extLst>
                <a:ext uri="{FF2B5EF4-FFF2-40B4-BE49-F238E27FC236}">
                  <a16:creationId xmlns:a16="http://schemas.microsoft.com/office/drawing/2014/main" id="{04736A4A-DF4C-943B-F45D-AB687A7EF5C9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8" name="Google Shape;1804;p183">
                <a:extLst>
                  <a:ext uri="{FF2B5EF4-FFF2-40B4-BE49-F238E27FC236}">
                    <a16:creationId xmlns:a16="http://schemas.microsoft.com/office/drawing/2014/main" id="{4E4039F3-AB82-9ACC-65CF-F12339D3AD54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9" name="Google Shape;1805;p183">
                <a:extLst>
                  <a:ext uri="{FF2B5EF4-FFF2-40B4-BE49-F238E27FC236}">
                    <a16:creationId xmlns:a16="http://schemas.microsoft.com/office/drawing/2014/main" id="{7AB980FF-FB6C-B4DA-2AD9-CAA2CD253690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7070525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Quot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807;p184">
            <a:extLst>
              <a:ext uri="{FF2B5EF4-FFF2-40B4-BE49-F238E27FC236}">
                <a16:creationId xmlns:a16="http://schemas.microsoft.com/office/drawing/2014/main" id="{E93BC2DD-A6B4-F9E8-8F8A-B2C14DC4B7A4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808;p184">
            <a:extLst>
              <a:ext uri="{FF2B5EF4-FFF2-40B4-BE49-F238E27FC236}">
                <a16:creationId xmlns:a16="http://schemas.microsoft.com/office/drawing/2014/main" id="{B9DF0F6C-58F9-A3BC-4CA9-5AB3B428917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809;p184">
            <a:extLst>
              <a:ext uri="{FF2B5EF4-FFF2-40B4-BE49-F238E27FC236}">
                <a16:creationId xmlns:a16="http://schemas.microsoft.com/office/drawing/2014/main" id="{E3CD0A74-6927-46FF-6A6D-A8BE18B680F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810;p184">
            <a:extLst>
              <a:ext uri="{FF2B5EF4-FFF2-40B4-BE49-F238E27FC236}">
                <a16:creationId xmlns:a16="http://schemas.microsoft.com/office/drawing/2014/main" id="{35EFE857-5DDD-3FB5-62B8-D4453B140922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F53F9DF1-11E1-4579-86F3-DA5B9FEB3C84}" type="slidenum">
              <a:t>‹#›</a:t>
            </a:fld>
            <a:endParaRPr lang="en-US"/>
          </a:p>
        </p:txBody>
      </p:sp>
      <p:cxnSp>
        <p:nvCxnSpPr>
          <p:cNvPr id="6" name="Google Shape;1811;p184">
            <a:extLst>
              <a:ext uri="{FF2B5EF4-FFF2-40B4-BE49-F238E27FC236}">
                <a16:creationId xmlns:a16="http://schemas.microsoft.com/office/drawing/2014/main" id="{29C4A003-A1C0-3D84-4A93-E710BC10D3ED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812;p184">
            <a:extLst>
              <a:ext uri="{FF2B5EF4-FFF2-40B4-BE49-F238E27FC236}">
                <a16:creationId xmlns:a16="http://schemas.microsoft.com/office/drawing/2014/main" id="{D4E7C315-80FC-451D-F8B2-5CBE6E54280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1813;p184">
            <a:extLst>
              <a:ext uri="{FF2B5EF4-FFF2-40B4-BE49-F238E27FC236}">
                <a16:creationId xmlns:a16="http://schemas.microsoft.com/office/drawing/2014/main" id="{807DC6C7-4BEB-1AB3-D0AE-4493DA646182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1814;p184">
              <a:extLst>
                <a:ext uri="{FF2B5EF4-FFF2-40B4-BE49-F238E27FC236}">
                  <a16:creationId xmlns:a16="http://schemas.microsoft.com/office/drawing/2014/main" id="{CD2A9D65-2963-E85F-7595-2742CF4EB4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1815;p184">
              <a:extLst>
                <a:ext uri="{FF2B5EF4-FFF2-40B4-BE49-F238E27FC236}">
                  <a16:creationId xmlns:a16="http://schemas.microsoft.com/office/drawing/2014/main" id="{D63E22C8-10A8-4795-4C35-BAD025F47538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1816;p184">
                <a:extLst>
                  <a:ext uri="{FF2B5EF4-FFF2-40B4-BE49-F238E27FC236}">
                    <a16:creationId xmlns:a16="http://schemas.microsoft.com/office/drawing/2014/main" id="{41EFF08D-4A79-5385-A77D-9B43ABB79184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1817;p184">
                <a:extLst>
                  <a:ext uri="{FF2B5EF4-FFF2-40B4-BE49-F238E27FC236}">
                    <a16:creationId xmlns:a16="http://schemas.microsoft.com/office/drawing/2014/main" id="{CB66F733-B993-B4CB-10CD-EF3C8F309A6A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1818;p184" descr="Open quotation mark with solid fill">
            <a:extLst>
              <a:ext uri="{FF2B5EF4-FFF2-40B4-BE49-F238E27FC236}">
                <a16:creationId xmlns:a16="http://schemas.microsoft.com/office/drawing/2014/main" id="{1957E023-2A3F-9B8D-6245-16A6CE189B3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43523325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B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820;p185">
            <a:extLst>
              <a:ext uri="{FF2B5EF4-FFF2-40B4-BE49-F238E27FC236}">
                <a16:creationId xmlns:a16="http://schemas.microsoft.com/office/drawing/2014/main" id="{19CE5310-36D3-4630-F321-5AAEE4B5CAF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3344" y="2633536"/>
            <a:ext cx="5194432" cy="2387598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" name="Google Shape;1821;p185">
            <a:extLst>
              <a:ext uri="{FF2B5EF4-FFF2-40B4-BE49-F238E27FC236}">
                <a16:creationId xmlns:a16="http://schemas.microsoft.com/office/drawing/2014/main" id="{4909A82C-EEC8-4018-DC2E-72C09D99F627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513344" y="5400327"/>
            <a:ext cx="5194432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  <p:grpSp>
        <p:nvGrpSpPr>
          <p:cNvPr id="4" name="Google Shape;1822;p185">
            <a:extLst>
              <a:ext uri="{FF2B5EF4-FFF2-40B4-BE49-F238E27FC236}">
                <a16:creationId xmlns:a16="http://schemas.microsoft.com/office/drawing/2014/main" id="{05569ADC-3CDB-D2E5-1430-B9FC2089C87A}"/>
              </a:ext>
            </a:extLst>
          </p:cNvPr>
          <p:cNvGrpSpPr/>
          <p:nvPr/>
        </p:nvGrpSpPr>
        <p:grpSpPr>
          <a:xfrm>
            <a:off x="0" y="0"/>
            <a:ext cx="6418722" cy="1509820"/>
            <a:chOff x="0" y="0"/>
            <a:chExt cx="6418722" cy="1509820"/>
          </a:xfrm>
        </p:grpSpPr>
        <p:sp>
          <p:nvSpPr>
            <p:cNvPr id="5" name="Google Shape;1823;p185">
              <a:extLst>
                <a:ext uri="{FF2B5EF4-FFF2-40B4-BE49-F238E27FC236}">
                  <a16:creationId xmlns:a16="http://schemas.microsoft.com/office/drawing/2014/main" id="{A3D9163D-9973-5B4B-1A69-6EC65D9060DF}"/>
                </a:ext>
              </a:extLst>
            </p:cNvPr>
            <p:cNvSpPr/>
            <p:nvPr/>
          </p:nvSpPr>
          <p:spPr>
            <a:xfrm flipH="1">
              <a:off x="0" y="0"/>
              <a:ext cx="6418722" cy="150982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669459"/>
                <a:gd name="f4" fmla="val 1098357"/>
                <a:gd name="f5" fmla="val 393099"/>
                <a:gd name="f6" fmla="val 485580"/>
                <a:gd name="f7" fmla="val 28411"/>
                <a:gd name="f8" fmla="val 1068094"/>
                <a:gd name="f9" fmla="val 214503"/>
                <a:gd name="f10" fmla="val 1643165"/>
                <a:gd name="f11" fmla="val 412971"/>
                <a:gd name="f12" fmla="val 2241464"/>
                <a:gd name="f13" fmla="val 572540"/>
                <a:gd name="f14" fmla="val 3009808"/>
                <a:gd name="f15" fmla="val 777487"/>
                <a:gd name="f16" fmla="val 3848273"/>
                <a:gd name="f17" fmla="val 856360"/>
                <a:gd name="f18" fmla="val 4645823"/>
                <a:gd name="f19" fmla="val 731027"/>
                <a:gd name="f20" fmla="val 726784"/>
                <a:gd name="f21" fmla="val 1079503"/>
                <a:gd name="f22" fmla="val 4627787"/>
                <a:gd name="f23" fmla="val 1083679"/>
                <a:gd name="f24" fmla="val 3105555"/>
                <a:gd name="f25" fmla="val 1189027"/>
                <a:gd name="f26" fmla="val 1909512"/>
                <a:gd name="f27" fmla="val 709765"/>
                <a:gd name="f28" fmla="val 568062"/>
                <a:gd name="f29" fmla="val 207626"/>
                <a:gd name="f30" fmla="*/ f0 1 4669459"/>
                <a:gd name="f31" fmla="*/ f1 1 1098357"/>
                <a:gd name="f32" fmla="+- f4 0 f2"/>
                <a:gd name="f33" fmla="+- f3 0 f2"/>
                <a:gd name="f34" fmla="*/ f33 1 4669459"/>
                <a:gd name="f35" fmla="*/ f32 1 1098357"/>
                <a:gd name="f36" fmla="*/ f2 1 f34"/>
                <a:gd name="f37" fmla="*/ f3 1 f34"/>
                <a:gd name="f38" fmla="*/ f2 1 f35"/>
                <a:gd name="f39" fmla="*/ f4 1 f35"/>
                <a:gd name="f40" fmla="*/ f36 f30 1"/>
                <a:gd name="f41" fmla="*/ f37 f30 1"/>
                <a:gd name="f42" fmla="*/ f39 f31 1"/>
                <a:gd name="f43" fmla="*/ f3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4669459" h="1098357">
                  <a:moveTo>
                    <a:pt x="f2" y="f2"/>
                  </a:moveTo>
                  <a:lnTo>
                    <a:pt x="f5" y="f2"/>
                  </a:lnTo>
                  <a:lnTo>
                    <a:pt x="f6" y="f7"/>
                  </a:lnTo>
                  <a:cubicBezTo>
                    <a:pt x="f8" y="f9"/>
                    <a:pt x="f10" y="f11"/>
                    <a:pt x="f12" y="f13"/>
                  </a:cubicBezTo>
                  <a:cubicBezTo>
                    <a:pt x="f14" y="f15"/>
                    <a:pt x="f16" y="f17"/>
                    <a:pt x="f18" y="f19"/>
                  </a:cubicBezTo>
                  <a:lnTo>
                    <a:pt x="f3" y="f20"/>
                  </a:lnTo>
                  <a:lnTo>
                    <a:pt x="f3" y="f21"/>
                  </a:lnTo>
                  <a:lnTo>
                    <a:pt x="f22" y="f23"/>
                  </a:lnTo>
                  <a:cubicBezTo>
                    <a:pt x="f24" y="f25"/>
                    <a:pt x="f26" y="f27"/>
                    <a:pt x="f28" y="f29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6" name="Google Shape;1824;p185">
              <a:extLst>
                <a:ext uri="{FF2B5EF4-FFF2-40B4-BE49-F238E27FC236}">
                  <a16:creationId xmlns:a16="http://schemas.microsoft.com/office/drawing/2014/main" id="{8360E0B6-3389-B39E-CC9A-D221499EB2C2}"/>
                </a:ext>
              </a:extLst>
            </p:cNvPr>
            <p:cNvSpPr/>
            <p:nvPr/>
          </p:nvSpPr>
          <p:spPr>
            <a:xfrm flipH="1">
              <a:off x="0" y="0"/>
              <a:ext cx="6244227" cy="135202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542519"/>
                <a:gd name="f4" fmla="val 983565"/>
                <a:gd name="f5" fmla="val 957397"/>
                <a:gd name="f6" fmla="val 4542518"/>
                <a:gd name="f7" fmla="val 957403"/>
                <a:gd name="f8" fmla="val 4510552"/>
                <a:gd name="f9" fmla="val 961138"/>
                <a:gd name="f10" fmla="val 2991282"/>
                <a:gd name="f11" fmla="val 1091409"/>
                <a:gd name="f12" fmla="val 1788278"/>
                <a:gd name="f13" fmla="val 632191"/>
                <a:gd name="f14" fmla="val 439600"/>
                <a:gd name="f15" fmla="val 152515"/>
                <a:gd name="f16" fmla="*/ f0 1 4542519"/>
                <a:gd name="f17" fmla="*/ f1 1 983565"/>
                <a:gd name="f18" fmla="+- f4 0 f2"/>
                <a:gd name="f19" fmla="+- f3 0 f2"/>
                <a:gd name="f20" fmla="*/ f19 1 4542519"/>
                <a:gd name="f21" fmla="*/ f18 1 983565"/>
                <a:gd name="f22" fmla="*/ f2 1 f20"/>
                <a:gd name="f23" fmla="*/ f3 1 f20"/>
                <a:gd name="f24" fmla="*/ f2 1 f21"/>
                <a:gd name="f25" fmla="*/ f4 1 f21"/>
                <a:gd name="f26" fmla="*/ f22 f16 1"/>
                <a:gd name="f27" fmla="*/ f23 f16 1"/>
                <a:gd name="f28" fmla="*/ f25 f17 1"/>
                <a:gd name="f29" fmla="*/ f24 f1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29" r="f27" b="f28"/>
              <a:pathLst>
                <a:path w="4542519" h="983565">
                  <a:moveTo>
                    <a:pt x="f2" y="f2"/>
                  </a:moveTo>
                  <a:lnTo>
                    <a:pt x="f3" y="f2"/>
                  </a:lnTo>
                  <a:lnTo>
                    <a:pt x="f3" y="f5"/>
                  </a:lnTo>
                  <a:lnTo>
                    <a:pt x="f6" y="f7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14" y="f15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pic>
        <p:nvPicPr>
          <p:cNvPr id="7" name="Google Shape;1825;p185">
            <a:extLst>
              <a:ext uri="{FF2B5EF4-FFF2-40B4-BE49-F238E27FC236}">
                <a16:creationId xmlns:a16="http://schemas.microsoft.com/office/drawing/2014/main" id="{4D03A1AB-47D4-C788-A01C-8C5532D2246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513344" y="136529"/>
            <a:ext cx="1945203" cy="879972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455980716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827;p186">
            <a:extLst>
              <a:ext uri="{FF2B5EF4-FFF2-40B4-BE49-F238E27FC236}">
                <a16:creationId xmlns:a16="http://schemas.microsoft.com/office/drawing/2014/main" id="{7D47A648-2700-E744-50AA-A9046B9B13DB}"/>
              </a:ext>
            </a:extLst>
          </p:cNvPr>
          <p:cNvSpPr/>
          <p:nvPr/>
        </p:nvSpPr>
        <p:spPr>
          <a:xfrm>
            <a:off x="902366" y="1294415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828;p186">
            <a:extLst>
              <a:ext uri="{FF2B5EF4-FFF2-40B4-BE49-F238E27FC236}">
                <a16:creationId xmlns:a16="http://schemas.microsoft.com/office/drawing/2014/main" id="{F53F9422-3421-7025-CD5C-46156E2B827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1561328"/>
            <a:ext cx="5194432" cy="1826340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829;p186">
            <a:extLst>
              <a:ext uri="{FF2B5EF4-FFF2-40B4-BE49-F238E27FC236}">
                <a16:creationId xmlns:a16="http://schemas.microsoft.com/office/drawing/2014/main" id="{D79ABCD8-FB0B-6CC3-CAAD-9FBB069B139E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766861"/>
            <a:ext cx="5194432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1831;p186">
            <a:extLst>
              <a:ext uri="{FF2B5EF4-FFF2-40B4-BE49-F238E27FC236}">
                <a16:creationId xmlns:a16="http://schemas.microsoft.com/office/drawing/2014/main" id="{6CC66C2A-3C04-A629-A978-68F94009AEE7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6" name="Google Shape;1832;p186">
              <a:extLst>
                <a:ext uri="{FF2B5EF4-FFF2-40B4-BE49-F238E27FC236}">
                  <a16:creationId xmlns:a16="http://schemas.microsoft.com/office/drawing/2014/main" id="{38963960-EC49-235D-81FA-EE36EA882DC2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7" name="Google Shape;1833;p186">
              <a:extLst>
                <a:ext uri="{FF2B5EF4-FFF2-40B4-BE49-F238E27FC236}">
                  <a16:creationId xmlns:a16="http://schemas.microsoft.com/office/drawing/2014/main" id="{C6CF8820-D219-F118-4D3C-8E4A7F948CD3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8" name="Google Shape;1834;p186">
              <a:extLst>
                <a:ext uri="{FF2B5EF4-FFF2-40B4-BE49-F238E27FC236}">
                  <a16:creationId xmlns:a16="http://schemas.microsoft.com/office/drawing/2014/main" id="{6852DB41-0864-8135-EB80-21FA9A86795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86702765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836;p187">
            <a:extLst>
              <a:ext uri="{FF2B5EF4-FFF2-40B4-BE49-F238E27FC236}">
                <a16:creationId xmlns:a16="http://schemas.microsoft.com/office/drawing/2014/main" id="{07144EED-ED6F-42FF-99CE-FB9D35743F87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3" name="Google Shape;1837;p187">
              <a:extLst>
                <a:ext uri="{FF2B5EF4-FFF2-40B4-BE49-F238E27FC236}">
                  <a16:creationId xmlns:a16="http://schemas.microsoft.com/office/drawing/2014/main" id="{D0FE9B77-EE41-31E4-A6FB-494324B3D144}"/>
                </a:ext>
              </a:extLst>
            </p:cNvPr>
            <p:cNvSpPr/>
            <p:nvPr/>
          </p:nvSpPr>
          <p:spPr>
            <a:xfrm>
              <a:off x="0" y="5100267"/>
              <a:ext cx="7111371" cy="175773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111369"/>
                <a:gd name="f4" fmla="val 1757730"/>
                <a:gd name="f5" fmla="val 772954"/>
                <a:gd name="f6" fmla="val 2778"/>
                <a:gd name="f7" fmla="val 1769038"/>
                <a:gd name="f8" fmla="val 30799"/>
                <a:gd name="f9" fmla="val 2696750"/>
                <a:gd name="f10" fmla="val 267531"/>
                <a:gd name="f11" fmla="val 3590934"/>
                <a:gd name="f12" fmla="val 566046"/>
                <a:gd name="f13" fmla="val 4684008"/>
                <a:gd name="f14" fmla="val 930921"/>
                <a:gd name="f15" fmla="val 5690778"/>
                <a:gd name="f16" fmla="val 1324625"/>
                <a:gd name="f17" fmla="val 6700767"/>
                <a:gd name="f18" fmla="val 1636882"/>
                <a:gd name="f19" fmla="val 25690"/>
                <a:gd name="f20" fmla="val 2197"/>
                <a:gd name="f21" fmla="val 25414"/>
                <a:gd name="f22" fmla="val 114653"/>
                <a:gd name="f23" fmla="val 14905"/>
                <a:gd name="f24" fmla="val 227801"/>
                <a:gd name="f25" fmla="val 7857"/>
                <a:gd name="f26" fmla="val 341773"/>
                <a:gd name="f27" fmla="val 3976"/>
                <a:gd name="f28" fmla="val 486963"/>
                <a:gd name="f29" fmla="+- 0 0 968"/>
                <a:gd name="f30" fmla="val 630656"/>
                <a:gd name="f31" fmla="+- 0 0 1224"/>
                <a:gd name="f32" fmla="*/ f0 1 7111369"/>
                <a:gd name="f33" fmla="*/ f1 1 1757730"/>
                <a:gd name="f34" fmla="+- f4 0 f2"/>
                <a:gd name="f35" fmla="+- f3 0 f2"/>
                <a:gd name="f36" fmla="*/ f35 1 7111369"/>
                <a:gd name="f37" fmla="*/ f34 1 1757730"/>
                <a:gd name="f38" fmla="*/ f2 1 f36"/>
                <a:gd name="f39" fmla="*/ f3 1 f36"/>
                <a:gd name="f40" fmla="*/ f2 1 f37"/>
                <a:gd name="f41" fmla="*/ f4 1 f37"/>
                <a:gd name="f42" fmla="*/ f38 f32 1"/>
                <a:gd name="f43" fmla="*/ f39 f32 1"/>
                <a:gd name="f44" fmla="*/ f41 f33 1"/>
                <a:gd name="f45" fmla="*/ f40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2" t="f45" r="f43" b="f44"/>
              <a:pathLst>
                <a:path w="7111369" h="1757730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4"/>
                  </a:lnTo>
                  <a:lnTo>
                    <a:pt x="f2" y="f4"/>
                  </a:lnTo>
                  <a:lnTo>
                    <a:pt x="f2" y="f19"/>
                  </a:lnTo>
                  <a:lnTo>
                    <a:pt x="f20" y="f21"/>
                  </a:ln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5" y="f6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1838;p187">
              <a:extLst>
                <a:ext uri="{FF2B5EF4-FFF2-40B4-BE49-F238E27FC236}">
                  <a16:creationId xmlns:a16="http://schemas.microsoft.com/office/drawing/2014/main" id="{94C21336-23C3-1720-E42D-5F9AB95FAEA8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5" name="Google Shape;1839;p187">
              <a:extLst>
                <a:ext uri="{FF2B5EF4-FFF2-40B4-BE49-F238E27FC236}">
                  <a16:creationId xmlns:a16="http://schemas.microsoft.com/office/drawing/2014/main" id="{9D751184-F8BA-B615-8AE4-2B4B9AE68176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1840;p187">
              <a:extLst>
                <a:ext uri="{FF2B5EF4-FFF2-40B4-BE49-F238E27FC236}">
                  <a16:creationId xmlns:a16="http://schemas.microsoft.com/office/drawing/2014/main" id="{B77CF5DF-D7DD-2572-D055-C181F9CD171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7" name="Google Shape;1841;p187">
            <a:extLst>
              <a:ext uri="{FF2B5EF4-FFF2-40B4-BE49-F238E27FC236}">
                <a16:creationId xmlns:a16="http://schemas.microsoft.com/office/drawing/2014/main" id="{2E99E38D-8A18-5E23-5669-8EFE55F7935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701747"/>
            <a:ext cx="9365376" cy="2014679"/>
          </a:xfrm>
        </p:spPr>
        <p:txBody>
          <a:bodyPr anchor="b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842;p187">
            <a:extLst>
              <a:ext uri="{FF2B5EF4-FFF2-40B4-BE49-F238E27FC236}">
                <a16:creationId xmlns:a16="http://schemas.microsoft.com/office/drawing/2014/main" id="{33777DC5-C8B6-F030-13FF-CD9FBA718BAA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081637"/>
            <a:ext cx="9365376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652050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844;p188">
            <a:extLst>
              <a:ext uri="{FF2B5EF4-FFF2-40B4-BE49-F238E27FC236}">
                <a16:creationId xmlns:a16="http://schemas.microsoft.com/office/drawing/2014/main" id="{DCBECEB7-D1D9-F7A5-9902-F1F922CB3C4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57200" y="1146255"/>
            <a:ext cx="2350172" cy="2971800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cxnSp>
        <p:nvCxnSpPr>
          <p:cNvPr id="3" name="Google Shape;1845;p188">
            <a:extLst>
              <a:ext uri="{FF2B5EF4-FFF2-40B4-BE49-F238E27FC236}">
                <a16:creationId xmlns:a16="http://schemas.microsoft.com/office/drawing/2014/main" id="{5074DBD8-34A4-6010-A829-0061ECD7A1A6}"/>
              </a:ext>
            </a:extLst>
          </p:cNvPr>
          <p:cNvCxnSpPr/>
          <p:nvPr/>
        </p:nvCxnSpPr>
        <p:spPr>
          <a:xfrm>
            <a:off x="457200" y="947985"/>
            <a:ext cx="2350163" cy="0"/>
          </a:xfrm>
          <a:prstGeom prst="straightConnector1">
            <a:avLst/>
          </a:prstGeom>
          <a:noFill/>
          <a:ln w="31747" cap="flat">
            <a:solidFill>
              <a:srgbClr val="F58366"/>
            </a:solidFill>
            <a:prstDash val="solid"/>
            <a:miter/>
          </a:ln>
        </p:spPr>
      </p:cxnSp>
      <p:grpSp>
        <p:nvGrpSpPr>
          <p:cNvPr id="4" name="Google Shape;1846;p188">
            <a:extLst>
              <a:ext uri="{FF2B5EF4-FFF2-40B4-BE49-F238E27FC236}">
                <a16:creationId xmlns:a16="http://schemas.microsoft.com/office/drawing/2014/main" id="{B743EECC-1014-F354-0D06-34B90C1253C5}"/>
              </a:ext>
            </a:extLst>
          </p:cNvPr>
          <p:cNvGrpSpPr/>
          <p:nvPr/>
        </p:nvGrpSpPr>
        <p:grpSpPr>
          <a:xfrm>
            <a:off x="0" y="5379424"/>
            <a:ext cx="2807363" cy="753895"/>
            <a:chOff x="0" y="5379424"/>
            <a:chExt cx="2807363" cy="753895"/>
          </a:xfrm>
        </p:grpSpPr>
        <p:sp>
          <p:nvSpPr>
            <p:cNvPr id="5" name="Google Shape;1847;p188">
              <a:extLst>
                <a:ext uri="{FF2B5EF4-FFF2-40B4-BE49-F238E27FC236}">
                  <a16:creationId xmlns:a16="http://schemas.microsoft.com/office/drawing/2014/main" id="{51FEC1F7-35A6-49BE-F158-F5B082DB2545}"/>
                </a:ext>
              </a:extLst>
            </p:cNvPr>
            <p:cNvSpPr/>
            <p:nvPr/>
          </p:nvSpPr>
          <p:spPr>
            <a:xfrm>
              <a:off x="0" y="5532513"/>
              <a:ext cx="2807363" cy="60080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00807"/>
                <a:gd name="f5" fmla="val 429971"/>
                <a:gd name="f6" fmla="val 123998"/>
                <a:gd name="f7" fmla="val 1184765"/>
                <a:gd name="f8" fmla="val 325331"/>
                <a:gd name="f9" fmla="val 2014184"/>
                <a:gd name="f10" fmla="val 392492"/>
                <a:gd name="f11" fmla="val 2790212"/>
                <a:gd name="f12" fmla="val 235402"/>
                <a:gd name="f13" fmla="val 231522"/>
                <a:gd name="f14" fmla="val 566106"/>
                <a:gd name="f15" fmla="val 2593885"/>
                <a:gd name="f16" fmla="val 587498"/>
                <a:gd name="f17" fmla="val 1673646"/>
                <a:gd name="f18" fmla="val 651184"/>
                <a:gd name="f19" fmla="val 884869"/>
                <a:gd name="f20" fmla="val 479260"/>
                <a:gd name="f21" fmla="val 100844"/>
                <a:gd name="f22" fmla="val 222653"/>
                <a:gd name="f23" fmla="val 188389"/>
                <a:gd name="f24" fmla="*/ f0 1 2807368"/>
                <a:gd name="f25" fmla="*/ f1 1 600807"/>
                <a:gd name="f26" fmla="+- f4 0 f2"/>
                <a:gd name="f27" fmla="+- f3 0 f2"/>
                <a:gd name="f28" fmla="*/ f27 1 2807368"/>
                <a:gd name="f29" fmla="*/ f26 1 600807"/>
                <a:gd name="f30" fmla="*/ f2 1 f28"/>
                <a:gd name="f31" fmla="*/ f3 1 f28"/>
                <a:gd name="f32" fmla="*/ f2 1 f29"/>
                <a:gd name="f33" fmla="*/ f4 1 f29"/>
                <a:gd name="f34" fmla="*/ f30 f24 1"/>
                <a:gd name="f35" fmla="*/ f31 f24 1"/>
                <a:gd name="f36" fmla="*/ f33 f25 1"/>
                <a:gd name="f37" fmla="*/ f32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37" r="f35" b="f36"/>
              <a:pathLst>
                <a:path w="2807368" h="600807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lnTo>
                    <a:pt x="f3" y="f13"/>
                  </a:lnTo>
                  <a:lnTo>
                    <a:pt x="f3" y="f14"/>
                  </a:lnTo>
                  <a:lnTo>
                    <a:pt x="f15" y="f16"/>
                  </a:lnTo>
                  <a:cubicBezTo>
                    <a:pt x="f17" y="f18"/>
                    <a:pt x="f19" y="f20"/>
                    <a:pt x="f21" y="f22"/>
                  </a:cubicBezTo>
                  <a:lnTo>
                    <a:pt x="f2" y="f23"/>
                  </a:ln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6" name="Google Shape;1848;p188">
              <a:extLst>
                <a:ext uri="{FF2B5EF4-FFF2-40B4-BE49-F238E27FC236}">
                  <a16:creationId xmlns:a16="http://schemas.microsoft.com/office/drawing/2014/main" id="{D83A0A80-F3A3-C81E-2FFA-2424B447E309}"/>
                </a:ext>
              </a:extLst>
            </p:cNvPr>
            <p:cNvSpPr/>
            <p:nvPr/>
          </p:nvSpPr>
          <p:spPr>
            <a:xfrm>
              <a:off x="0" y="5379424"/>
              <a:ext cx="2807363" cy="64980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49803"/>
                <a:gd name="f5" fmla="val 282676"/>
                <a:gd name="f6" fmla="val 70799"/>
                <a:gd name="f7" fmla="val 435964"/>
                <a:gd name="f8" fmla="val 106085"/>
                <a:gd name="f9" fmla="val 588770"/>
                <a:gd name="f10" fmla="val 137629"/>
                <a:gd name="f11" fmla="val 740881"/>
                <a:gd name="f12" fmla="val 163828"/>
                <a:gd name="f13" fmla="val 1362800"/>
                <a:gd name="f14" fmla="val 270912"/>
                <a:gd name="f15" fmla="val 2067879"/>
                <a:gd name="f16" fmla="val 253759"/>
                <a:gd name="f17" fmla="val 2706471"/>
                <a:gd name="f18" fmla="val 96397"/>
                <a:gd name="f19" fmla="val 67250"/>
                <a:gd name="f20" fmla="val 605551"/>
                <a:gd name="f21" fmla="val 2602685"/>
                <a:gd name="f22" fmla="val 629466"/>
                <a:gd name="f23" fmla="val 1684237"/>
                <a:gd name="f24" fmla="val 708219"/>
                <a:gd name="f25" fmla="val 893252"/>
                <a:gd name="f26" fmla="val 549395"/>
                <a:gd name="f27" fmla="val 105614"/>
                <a:gd name="f28" fmla="val 305882"/>
                <a:gd name="f29" fmla="val 271926"/>
                <a:gd name="f30" fmla="*/ f0 1 2807368"/>
                <a:gd name="f31" fmla="*/ f1 1 649803"/>
                <a:gd name="f32" fmla="+- f4 0 f2"/>
                <a:gd name="f33" fmla="+- f3 0 f2"/>
                <a:gd name="f34" fmla="*/ f33 1 2807368"/>
                <a:gd name="f35" fmla="*/ f32 1 649803"/>
                <a:gd name="f36" fmla="*/ f2 1 f34"/>
                <a:gd name="f37" fmla="*/ f3 1 f34"/>
                <a:gd name="f38" fmla="*/ f2 1 f35"/>
                <a:gd name="f39" fmla="*/ f4 1 f35"/>
                <a:gd name="f40" fmla="*/ f36 f30 1"/>
                <a:gd name="f41" fmla="*/ f37 f30 1"/>
                <a:gd name="f42" fmla="*/ f39 f31 1"/>
                <a:gd name="f43" fmla="*/ f3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2807368" h="649803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19"/>
                  </a:lnTo>
                  <a:lnTo>
                    <a:pt x="f3" y="f20"/>
                  </a:lnTo>
                  <a:lnTo>
                    <a:pt x="f21" y="f22"/>
                  </a:lnTo>
                  <a:cubicBezTo>
                    <a:pt x="f23" y="f24"/>
                    <a:pt x="f25" y="f26"/>
                    <a:pt x="f27" y="f28"/>
                  </a:cubicBezTo>
                  <a:lnTo>
                    <a:pt x="f2" y="f29"/>
                  </a:ln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pic>
        <p:nvPicPr>
          <p:cNvPr id="7" name="Google Shape;1850;p188">
            <a:extLst>
              <a:ext uri="{FF2B5EF4-FFF2-40B4-BE49-F238E27FC236}">
                <a16:creationId xmlns:a16="http://schemas.microsoft.com/office/drawing/2014/main" id="{03F63DD1-3E86-EC22-6E88-D936A0DD7E3D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513344" y="4385535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243300344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852;p189">
            <a:extLst>
              <a:ext uri="{FF2B5EF4-FFF2-40B4-BE49-F238E27FC236}">
                <a16:creationId xmlns:a16="http://schemas.microsoft.com/office/drawing/2014/main" id="{99D6E8D5-8220-9622-3905-8D12DA9A5E74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853;p189">
            <a:extLst>
              <a:ext uri="{FF2B5EF4-FFF2-40B4-BE49-F238E27FC236}">
                <a16:creationId xmlns:a16="http://schemas.microsoft.com/office/drawing/2014/main" id="{B5A190AE-EDE6-B354-8D77-C4F7E22D7FC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854;p189">
            <a:extLst>
              <a:ext uri="{FF2B5EF4-FFF2-40B4-BE49-F238E27FC236}">
                <a16:creationId xmlns:a16="http://schemas.microsoft.com/office/drawing/2014/main" id="{DAB0000C-81CC-F1EA-477C-730EB069200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855;p189">
            <a:extLst>
              <a:ext uri="{FF2B5EF4-FFF2-40B4-BE49-F238E27FC236}">
                <a16:creationId xmlns:a16="http://schemas.microsoft.com/office/drawing/2014/main" id="{E63C4DC4-03FD-7BDB-7AAC-958C5551922C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152DE64F-3219-4060-999E-118A17C1820A}" type="slidenum">
              <a:t>‹#›</a:t>
            </a:fld>
            <a:endParaRPr lang="en-US"/>
          </a:p>
        </p:txBody>
      </p:sp>
      <p:cxnSp>
        <p:nvCxnSpPr>
          <p:cNvPr id="6" name="Google Shape;1856;p189">
            <a:extLst>
              <a:ext uri="{FF2B5EF4-FFF2-40B4-BE49-F238E27FC236}">
                <a16:creationId xmlns:a16="http://schemas.microsoft.com/office/drawing/2014/main" id="{39F49158-02CF-1E46-A32E-C2232A302D7B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857;p189">
            <a:extLst>
              <a:ext uri="{FF2B5EF4-FFF2-40B4-BE49-F238E27FC236}">
                <a16:creationId xmlns:a16="http://schemas.microsoft.com/office/drawing/2014/main" id="{A9ED2C24-111C-F252-CA86-E8F7FF9ABF28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1858;p189">
            <a:extLst>
              <a:ext uri="{FF2B5EF4-FFF2-40B4-BE49-F238E27FC236}">
                <a16:creationId xmlns:a16="http://schemas.microsoft.com/office/drawing/2014/main" id="{51BE731B-6A91-1663-FA2F-81ACF5018C4F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1859;p189">
              <a:extLst>
                <a:ext uri="{FF2B5EF4-FFF2-40B4-BE49-F238E27FC236}">
                  <a16:creationId xmlns:a16="http://schemas.microsoft.com/office/drawing/2014/main" id="{B5AADBAF-2BA1-A7F7-E564-18604F2812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1860;p189">
              <a:extLst>
                <a:ext uri="{FF2B5EF4-FFF2-40B4-BE49-F238E27FC236}">
                  <a16:creationId xmlns:a16="http://schemas.microsoft.com/office/drawing/2014/main" id="{9AC34D97-3063-FBCF-E4C2-F9E4408AC13E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1861;p189">
                <a:extLst>
                  <a:ext uri="{FF2B5EF4-FFF2-40B4-BE49-F238E27FC236}">
                    <a16:creationId xmlns:a16="http://schemas.microsoft.com/office/drawing/2014/main" id="{B3F12D89-12BA-F9A8-DF8C-C85DF4663DF4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1862;p189">
                <a:extLst>
                  <a:ext uri="{FF2B5EF4-FFF2-40B4-BE49-F238E27FC236}">
                    <a16:creationId xmlns:a16="http://schemas.microsoft.com/office/drawing/2014/main" id="{6288A53E-1B27-F13D-5298-366659A89AB6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1863;p189" descr="Open quotation mark with solid fill">
            <a:extLst>
              <a:ext uri="{FF2B5EF4-FFF2-40B4-BE49-F238E27FC236}">
                <a16:creationId xmlns:a16="http://schemas.microsoft.com/office/drawing/2014/main" id="{3C1FD60B-A1BA-6667-3338-30A5495A5E6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83417680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21175019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865;p190">
            <a:extLst>
              <a:ext uri="{FF2B5EF4-FFF2-40B4-BE49-F238E27FC236}">
                <a16:creationId xmlns:a16="http://schemas.microsoft.com/office/drawing/2014/main" id="{6AAD0A35-606C-96B5-9504-F0FB306634FB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866;p190">
            <a:extLst>
              <a:ext uri="{FF2B5EF4-FFF2-40B4-BE49-F238E27FC236}">
                <a16:creationId xmlns:a16="http://schemas.microsoft.com/office/drawing/2014/main" id="{B2492F1D-D860-06B8-CF80-E9CA827781F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867;p190">
            <a:extLst>
              <a:ext uri="{FF2B5EF4-FFF2-40B4-BE49-F238E27FC236}">
                <a16:creationId xmlns:a16="http://schemas.microsoft.com/office/drawing/2014/main" id="{84D62FC7-10D6-17E5-E514-1EA0C0AF45D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868;p190">
            <a:extLst>
              <a:ext uri="{FF2B5EF4-FFF2-40B4-BE49-F238E27FC236}">
                <a16:creationId xmlns:a16="http://schemas.microsoft.com/office/drawing/2014/main" id="{F7219615-93AC-30B9-2EB7-C8601470A80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13821F1C-AD2B-4E86-A3E3-E766D41A4D86}" type="slidenum">
              <a:t>‹#›</a:t>
            </a:fld>
            <a:endParaRPr lang="en-US"/>
          </a:p>
        </p:txBody>
      </p:sp>
      <p:cxnSp>
        <p:nvCxnSpPr>
          <p:cNvPr id="6" name="Google Shape;1869;p190">
            <a:extLst>
              <a:ext uri="{FF2B5EF4-FFF2-40B4-BE49-F238E27FC236}">
                <a16:creationId xmlns:a16="http://schemas.microsoft.com/office/drawing/2014/main" id="{EC4BCBA8-6BD6-4C8A-9A02-E95591D976A5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870;p190">
            <a:extLst>
              <a:ext uri="{FF2B5EF4-FFF2-40B4-BE49-F238E27FC236}">
                <a16:creationId xmlns:a16="http://schemas.microsoft.com/office/drawing/2014/main" id="{3BAF986D-5FDE-8642-F9B3-1B9E79D5B46A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1871;p190">
            <a:extLst>
              <a:ext uri="{FF2B5EF4-FFF2-40B4-BE49-F238E27FC236}">
                <a16:creationId xmlns:a16="http://schemas.microsoft.com/office/drawing/2014/main" id="{CF1094FB-D039-FC27-2182-CDB1ACDA5D8C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1872;p190">
              <a:extLst>
                <a:ext uri="{FF2B5EF4-FFF2-40B4-BE49-F238E27FC236}">
                  <a16:creationId xmlns:a16="http://schemas.microsoft.com/office/drawing/2014/main" id="{29AC05CB-A00A-F6EA-179B-D83B753EFBB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1873;p190">
              <a:extLst>
                <a:ext uri="{FF2B5EF4-FFF2-40B4-BE49-F238E27FC236}">
                  <a16:creationId xmlns:a16="http://schemas.microsoft.com/office/drawing/2014/main" id="{6B8705F4-61F5-0739-C8B8-D27D079F5A3E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1874;p190">
                <a:extLst>
                  <a:ext uri="{FF2B5EF4-FFF2-40B4-BE49-F238E27FC236}">
                    <a16:creationId xmlns:a16="http://schemas.microsoft.com/office/drawing/2014/main" id="{B5AAA154-6B48-3E02-FAD7-F5AA777D3604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1875;p190">
                <a:extLst>
                  <a:ext uri="{FF2B5EF4-FFF2-40B4-BE49-F238E27FC236}">
                    <a16:creationId xmlns:a16="http://schemas.microsoft.com/office/drawing/2014/main" id="{BC25F8E4-7A56-BEE6-AA54-FAA275A0F6BF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1876;p190" descr="Open quotation mark with solid fill">
            <a:extLst>
              <a:ext uri="{FF2B5EF4-FFF2-40B4-BE49-F238E27FC236}">
                <a16:creationId xmlns:a16="http://schemas.microsoft.com/office/drawing/2014/main" id="{4B906D44-F241-AA61-2580-D532DD29A97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891511520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878;p191">
            <a:extLst>
              <a:ext uri="{FF2B5EF4-FFF2-40B4-BE49-F238E27FC236}">
                <a16:creationId xmlns:a16="http://schemas.microsoft.com/office/drawing/2014/main" id="{253B18F9-797A-400A-69AA-3BEDC05B4210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879;p191">
              <a:extLst>
                <a:ext uri="{FF2B5EF4-FFF2-40B4-BE49-F238E27FC236}">
                  <a16:creationId xmlns:a16="http://schemas.microsoft.com/office/drawing/2014/main" id="{A96BCFC2-D5FA-15B1-46DD-86E2B1A58B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880;p191">
              <a:extLst>
                <a:ext uri="{FF2B5EF4-FFF2-40B4-BE49-F238E27FC236}">
                  <a16:creationId xmlns:a16="http://schemas.microsoft.com/office/drawing/2014/main" id="{A5A8B05F-72CD-70D8-CB71-94349B4688C4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881;p191">
                <a:extLst>
                  <a:ext uri="{FF2B5EF4-FFF2-40B4-BE49-F238E27FC236}">
                    <a16:creationId xmlns:a16="http://schemas.microsoft.com/office/drawing/2014/main" id="{C2A10406-A816-ECCF-6A45-070D3840D9B0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882;p191">
                <a:extLst>
                  <a:ext uri="{FF2B5EF4-FFF2-40B4-BE49-F238E27FC236}">
                    <a16:creationId xmlns:a16="http://schemas.microsoft.com/office/drawing/2014/main" id="{FCF33BD6-3FE3-58A9-69B1-97D3EFFED603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883;p191">
            <a:extLst>
              <a:ext uri="{FF2B5EF4-FFF2-40B4-BE49-F238E27FC236}">
                <a16:creationId xmlns:a16="http://schemas.microsoft.com/office/drawing/2014/main" id="{0AF18E6B-6833-BD1A-F251-691669CFE87E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884;p191">
            <a:extLst>
              <a:ext uri="{FF2B5EF4-FFF2-40B4-BE49-F238E27FC236}">
                <a16:creationId xmlns:a16="http://schemas.microsoft.com/office/drawing/2014/main" id="{1B28F705-9E60-070C-D554-95A90F06E52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/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9" name="Google Shape;1885;p191">
            <a:extLst>
              <a:ext uri="{FF2B5EF4-FFF2-40B4-BE49-F238E27FC236}">
                <a16:creationId xmlns:a16="http://schemas.microsoft.com/office/drawing/2014/main" id="{64865175-6544-B5D7-630A-4955ECC0088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DF6FB85F-C09E-4AB9-9C40-4877AC8FFE4D}" type="slidenum">
              <a:t>‹#›</a:t>
            </a:fld>
            <a:endParaRPr lang="en-US"/>
          </a:p>
        </p:txBody>
      </p:sp>
      <p:cxnSp>
        <p:nvCxnSpPr>
          <p:cNvPr id="10" name="Google Shape;1886;p191">
            <a:extLst>
              <a:ext uri="{FF2B5EF4-FFF2-40B4-BE49-F238E27FC236}">
                <a16:creationId xmlns:a16="http://schemas.microsoft.com/office/drawing/2014/main" id="{3496FC93-4E01-40AA-2FF6-4DE4CC1AB5F3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1" name="Google Shape;1887;p191">
            <a:extLst>
              <a:ext uri="{FF2B5EF4-FFF2-40B4-BE49-F238E27FC236}">
                <a16:creationId xmlns:a16="http://schemas.microsoft.com/office/drawing/2014/main" id="{A3A16B6F-D3DE-DA05-E080-8E66B8F5A34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495495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889;p192">
            <a:extLst>
              <a:ext uri="{FF2B5EF4-FFF2-40B4-BE49-F238E27FC236}">
                <a16:creationId xmlns:a16="http://schemas.microsoft.com/office/drawing/2014/main" id="{274A6189-0BDA-FE3E-D629-797D84231E2B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3" name="Google Shape;1890;p192">
            <a:extLst>
              <a:ext uri="{FF2B5EF4-FFF2-40B4-BE49-F238E27FC236}">
                <a16:creationId xmlns:a16="http://schemas.microsoft.com/office/drawing/2014/main" id="{7C193179-3897-074C-8AFF-20B734BBDBB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grpSp>
        <p:nvGrpSpPr>
          <p:cNvPr id="4" name="Google Shape;1891;p192">
            <a:extLst>
              <a:ext uri="{FF2B5EF4-FFF2-40B4-BE49-F238E27FC236}">
                <a16:creationId xmlns:a16="http://schemas.microsoft.com/office/drawing/2014/main" id="{E23CEFFA-1E41-C640-18E3-D99DA1FCE89C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5" name="Google Shape;1892;p192">
              <a:extLst>
                <a:ext uri="{FF2B5EF4-FFF2-40B4-BE49-F238E27FC236}">
                  <a16:creationId xmlns:a16="http://schemas.microsoft.com/office/drawing/2014/main" id="{83E08A84-2084-99E1-AD7A-9D0911B34F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6" name="Google Shape;1893;p192">
              <a:extLst>
                <a:ext uri="{FF2B5EF4-FFF2-40B4-BE49-F238E27FC236}">
                  <a16:creationId xmlns:a16="http://schemas.microsoft.com/office/drawing/2014/main" id="{E9CB2CAF-A7F9-3821-8B10-94C140C7FFA2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7" name="Google Shape;1894;p192">
                <a:extLst>
                  <a:ext uri="{FF2B5EF4-FFF2-40B4-BE49-F238E27FC236}">
                    <a16:creationId xmlns:a16="http://schemas.microsoft.com/office/drawing/2014/main" id="{FFF98D6E-F326-A5DE-A223-E66D3EE11D55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8" name="Google Shape;1895;p192">
                <a:extLst>
                  <a:ext uri="{FF2B5EF4-FFF2-40B4-BE49-F238E27FC236}">
                    <a16:creationId xmlns:a16="http://schemas.microsoft.com/office/drawing/2014/main" id="{8AC11904-5B1A-DD29-C6BF-F3F801BCC185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9" name="Google Shape;1896;p192">
            <a:extLst>
              <a:ext uri="{FF2B5EF4-FFF2-40B4-BE49-F238E27FC236}">
                <a16:creationId xmlns:a16="http://schemas.microsoft.com/office/drawing/2014/main" id="{838BCC22-8B12-7BF0-BCFF-B86E51F2CF7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Google Shape;1897;p192">
            <a:extLst>
              <a:ext uri="{FF2B5EF4-FFF2-40B4-BE49-F238E27FC236}">
                <a16:creationId xmlns:a16="http://schemas.microsoft.com/office/drawing/2014/main" id="{8BE4F093-A50F-E865-F317-65C19EE0C7E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8839193" y="6356351"/>
            <a:ext cx="2743200" cy="365129"/>
          </a:xfrm>
        </p:spPr>
        <p:txBody>
          <a:bodyPr/>
          <a:lstStyle>
            <a:lvl1pPr>
              <a:defRPr/>
            </a:lvl1pPr>
          </a:lstStyle>
          <a:p>
            <a:pPr lvl="0"/>
            <a:fld id="{8A997745-6470-4F1C-8500-4B3CBD4D00CB}" type="slidenum">
              <a:t>‹#›</a:t>
            </a:fld>
            <a:endParaRPr lang="en-US"/>
          </a:p>
        </p:txBody>
      </p:sp>
      <p:cxnSp>
        <p:nvCxnSpPr>
          <p:cNvPr id="11" name="Google Shape;1898;p192">
            <a:extLst>
              <a:ext uri="{FF2B5EF4-FFF2-40B4-BE49-F238E27FC236}">
                <a16:creationId xmlns:a16="http://schemas.microsoft.com/office/drawing/2014/main" id="{05516CA4-FAE4-B411-5D3B-85B18EF359C0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2" name="Google Shape;1899;p192">
            <a:extLst>
              <a:ext uri="{FF2B5EF4-FFF2-40B4-BE49-F238E27FC236}">
                <a16:creationId xmlns:a16="http://schemas.microsoft.com/office/drawing/2014/main" id="{8BF46D2E-C935-5BBD-BEA6-A110D22E4987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741134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901;p193">
            <a:extLst>
              <a:ext uri="{FF2B5EF4-FFF2-40B4-BE49-F238E27FC236}">
                <a16:creationId xmlns:a16="http://schemas.microsoft.com/office/drawing/2014/main" id="{24A4E5DC-B25D-2B99-567E-0AC0A580BDDF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902;p193">
              <a:extLst>
                <a:ext uri="{FF2B5EF4-FFF2-40B4-BE49-F238E27FC236}">
                  <a16:creationId xmlns:a16="http://schemas.microsoft.com/office/drawing/2014/main" id="{7FA58DF8-EDF8-3D32-97D7-1442566302A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903;p193">
              <a:extLst>
                <a:ext uri="{FF2B5EF4-FFF2-40B4-BE49-F238E27FC236}">
                  <a16:creationId xmlns:a16="http://schemas.microsoft.com/office/drawing/2014/main" id="{12E354D7-C87C-E5B9-846F-F6B96EA47FF3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904;p193">
                <a:extLst>
                  <a:ext uri="{FF2B5EF4-FFF2-40B4-BE49-F238E27FC236}">
                    <a16:creationId xmlns:a16="http://schemas.microsoft.com/office/drawing/2014/main" id="{42689A6E-19FB-3322-7F66-D795381500D2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905;p193">
                <a:extLst>
                  <a:ext uri="{FF2B5EF4-FFF2-40B4-BE49-F238E27FC236}">
                    <a16:creationId xmlns:a16="http://schemas.microsoft.com/office/drawing/2014/main" id="{45D7C68B-007F-FD6A-B55F-0CC073165EBE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906;p193">
            <a:extLst>
              <a:ext uri="{FF2B5EF4-FFF2-40B4-BE49-F238E27FC236}">
                <a16:creationId xmlns:a16="http://schemas.microsoft.com/office/drawing/2014/main" id="{11E93222-587F-978F-A882-2473F4AB4C09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907;p193">
            <a:extLst>
              <a:ext uri="{FF2B5EF4-FFF2-40B4-BE49-F238E27FC236}">
                <a16:creationId xmlns:a16="http://schemas.microsoft.com/office/drawing/2014/main" id="{6FA394A3-9837-A19F-F497-2645C51CE16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681160"/>
            <a:ext cx="538797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9" name="Google Shape;1908;p193">
            <a:extLst>
              <a:ext uri="{FF2B5EF4-FFF2-40B4-BE49-F238E27FC236}">
                <a16:creationId xmlns:a16="http://schemas.microsoft.com/office/drawing/2014/main" id="{DEE05484-D23E-D406-372C-A4EFDE6D920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2505071"/>
            <a:ext cx="5387973" cy="3684583"/>
          </a:xfrm>
          <a:solidFill>
            <a:srgbClr val="F3F6FB"/>
          </a:solidFill>
        </p:spPr>
        <p:txBody>
          <a:bodyPr lIns="182870" tIns="0" rIns="182870" bIns="0">
            <a:normAutofit/>
          </a:bodyPr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0" name="Google Shape;1909;p193">
            <a:extLst>
              <a:ext uri="{FF2B5EF4-FFF2-40B4-BE49-F238E27FC236}">
                <a16:creationId xmlns:a16="http://schemas.microsoft.com/office/drawing/2014/main" id="{1816DD10-D1B1-E881-CE16-E4B16E95C8D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681160"/>
            <a:ext cx="541020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11" name="Google Shape;1910;p193">
            <a:extLst>
              <a:ext uri="{FF2B5EF4-FFF2-40B4-BE49-F238E27FC236}">
                <a16:creationId xmlns:a16="http://schemas.microsoft.com/office/drawing/2014/main" id="{6C0C292B-D44C-CB77-F88B-41BEDEE45CB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2505071"/>
            <a:ext cx="5410203" cy="3684583"/>
          </a:xfrm>
          <a:solidFill>
            <a:srgbClr val="F3F6FB"/>
          </a:solidFill>
        </p:spPr>
        <p:txBody>
          <a:bodyPr lIns="182870" tIns="0" rIns="182870" bIns="0"/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2" name="Google Shape;1911;p193">
            <a:extLst>
              <a:ext uri="{FF2B5EF4-FFF2-40B4-BE49-F238E27FC236}">
                <a16:creationId xmlns:a16="http://schemas.microsoft.com/office/drawing/2014/main" id="{345496E6-0B6C-DD82-CF41-7927E905D36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BDF7872E-3369-4F86-BABA-214DF4FAB7A5}" type="slidenum">
              <a:t>‹#›</a:t>
            </a:fld>
            <a:endParaRPr lang="en-US"/>
          </a:p>
        </p:txBody>
      </p:sp>
      <p:cxnSp>
        <p:nvCxnSpPr>
          <p:cNvPr id="13" name="Google Shape;1912;p193">
            <a:extLst>
              <a:ext uri="{FF2B5EF4-FFF2-40B4-BE49-F238E27FC236}">
                <a16:creationId xmlns:a16="http://schemas.microsoft.com/office/drawing/2014/main" id="{3F115743-D2C7-8B67-2B83-7A032EE7F767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4" name="Google Shape;1913;p193">
            <a:extLst>
              <a:ext uri="{FF2B5EF4-FFF2-40B4-BE49-F238E27FC236}">
                <a16:creationId xmlns:a16="http://schemas.microsoft.com/office/drawing/2014/main" id="{2576BA80-4EBB-7B68-839E-9567A15F60BE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134780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915;p194">
            <a:extLst>
              <a:ext uri="{FF2B5EF4-FFF2-40B4-BE49-F238E27FC236}">
                <a16:creationId xmlns:a16="http://schemas.microsoft.com/office/drawing/2014/main" id="{36D759EE-5EDD-BAD2-B1DF-2898EAA2134D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916;p194">
              <a:extLst>
                <a:ext uri="{FF2B5EF4-FFF2-40B4-BE49-F238E27FC236}">
                  <a16:creationId xmlns:a16="http://schemas.microsoft.com/office/drawing/2014/main" id="{B880C9EE-F085-9ED4-2D00-5D8AAF02872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917;p194">
              <a:extLst>
                <a:ext uri="{FF2B5EF4-FFF2-40B4-BE49-F238E27FC236}">
                  <a16:creationId xmlns:a16="http://schemas.microsoft.com/office/drawing/2014/main" id="{39B1E162-E004-6D29-FF37-FD4FC2DA9F52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918;p194">
                <a:extLst>
                  <a:ext uri="{FF2B5EF4-FFF2-40B4-BE49-F238E27FC236}">
                    <a16:creationId xmlns:a16="http://schemas.microsoft.com/office/drawing/2014/main" id="{1E601C51-CFDE-F49C-44FC-295D4FEC93B1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919;p194">
                <a:extLst>
                  <a:ext uri="{FF2B5EF4-FFF2-40B4-BE49-F238E27FC236}">
                    <a16:creationId xmlns:a16="http://schemas.microsoft.com/office/drawing/2014/main" id="{D1F372C2-0ADA-DAB7-5346-6FAB179B73F7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920;p194">
            <a:extLst>
              <a:ext uri="{FF2B5EF4-FFF2-40B4-BE49-F238E27FC236}">
                <a16:creationId xmlns:a16="http://schemas.microsoft.com/office/drawing/2014/main" id="{14105D79-011A-E22E-E24E-209AFF83C66E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921;p194">
            <a:extLst>
              <a:ext uri="{FF2B5EF4-FFF2-40B4-BE49-F238E27FC236}">
                <a16:creationId xmlns:a16="http://schemas.microsoft.com/office/drawing/2014/main" id="{498EA61B-425C-BFC1-A73E-D0352A1EEB07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60057F58-F2BB-4D30-BF90-4725ACC1055F}" type="slidenum">
              <a:t>‹#›</a:t>
            </a:fld>
            <a:endParaRPr lang="en-US"/>
          </a:p>
        </p:txBody>
      </p:sp>
      <p:cxnSp>
        <p:nvCxnSpPr>
          <p:cNvPr id="9" name="Google Shape;1922;p194">
            <a:extLst>
              <a:ext uri="{FF2B5EF4-FFF2-40B4-BE49-F238E27FC236}">
                <a16:creationId xmlns:a16="http://schemas.microsoft.com/office/drawing/2014/main" id="{79033309-AF8B-D9D0-A3E8-11BF6DA89264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0" name="Google Shape;1923;p194">
            <a:extLst>
              <a:ext uri="{FF2B5EF4-FFF2-40B4-BE49-F238E27FC236}">
                <a16:creationId xmlns:a16="http://schemas.microsoft.com/office/drawing/2014/main" id="{A93FA965-7F47-CA20-F657-01F837EDF749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6537001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925;p195">
            <a:extLst>
              <a:ext uri="{FF2B5EF4-FFF2-40B4-BE49-F238E27FC236}">
                <a16:creationId xmlns:a16="http://schemas.microsoft.com/office/drawing/2014/main" id="{BDB1524E-FE64-F4FF-E6CE-2C8C8C58E8F9}"/>
              </a:ext>
            </a:extLst>
          </p:cNvPr>
          <p:cNvGrpSpPr/>
          <p:nvPr/>
        </p:nvGrpSpPr>
        <p:grpSpPr>
          <a:xfrm>
            <a:off x="0" y="0"/>
            <a:ext cx="12191996" cy="2148830"/>
            <a:chOff x="0" y="0"/>
            <a:chExt cx="12191996" cy="2148830"/>
          </a:xfrm>
        </p:grpSpPr>
        <p:sp>
          <p:nvSpPr>
            <p:cNvPr id="3" name="Google Shape;1926;p195">
              <a:extLst>
                <a:ext uri="{FF2B5EF4-FFF2-40B4-BE49-F238E27FC236}">
                  <a16:creationId xmlns:a16="http://schemas.microsoft.com/office/drawing/2014/main" id="{984DD596-4FF6-B3E8-EA88-7BD656EADAE5}"/>
                </a:ext>
              </a:extLst>
            </p:cNvPr>
            <p:cNvSpPr/>
            <p:nvPr/>
          </p:nvSpPr>
          <p:spPr>
            <a:xfrm flipH="1">
              <a:off x="0" y="0"/>
              <a:ext cx="12191996" cy="214883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2148830"/>
                <a:gd name="f5" fmla="val 2318293"/>
                <a:gd name="f6" fmla="val 2110341"/>
                <a:gd name="f7" fmla="val 1952334"/>
                <a:gd name="f8" fmla="val 920"/>
                <a:gd name="f9" fmla="val 1343499"/>
                <a:gd name="f10" fmla="val 23864"/>
                <a:gd name="f11" fmla="val 752130"/>
                <a:gd name="f12" fmla="val 152982"/>
                <a:gd name="f13" fmla="val 184205"/>
                <a:gd name="f14" fmla="val 435928"/>
                <a:gd name="f15" fmla="val 536864"/>
                <a:gd name="f16" fmla="val 554713"/>
                <a:gd name="f17" fmla="val 201115"/>
                <a:gd name="f18" fmla="val 452796"/>
                <a:gd name="f19" fmla="val 776357"/>
                <a:gd name="f20" fmla="val 187336"/>
                <a:gd name="f21" fmla="val 1349828"/>
                <a:gd name="f22" fmla="val 76760"/>
                <a:gd name="f23" fmla="val 1947588"/>
                <a:gd name="f24" fmla="val 66249"/>
                <a:gd name="f25" fmla="val 2962940"/>
                <a:gd name="f26" fmla="val 48421"/>
                <a:gd name="f27" fmla="val 3890218"/>
                <a:gd name="f28" fmla="val 291317"/>
                <a:gd name="f29" fmla="val 4778140"/>
                <a:gd name="f30" fmla="val 604018"/>
                <a:gd name="f31" fmla="val 7231510"/>
                <a:gd name="f32" fmla="val 1468126"/>
                <a:gd name="f33" fmla="val 9178927"/>
                <a:gd name="f34" fmla="val 2492024"/>
                <a:gd name="f35" fmla="val 11996242"/>
                <a:gd name="f36" fmla="val 2036894"/>
                <a:gd name="f37" fmla="val 2002266"/>
                <a:gd name="f38" fmla="val 1415250"/>
                <a:gd name="f39" fmla="val 12022971"/>
                <a:gd name="f40" fmla="val 1470801"/>
                <a:gd name="f41" fmla="val 10719696"/>
                <a:gd name="f42" fmla="val 1863939"/>
                <a:gd name="f43" fmla="val 9271154"/>
                <a:gd name="f44" fmla="val 1783804"/>
                <a:gd name="f45" fmla="val 7970940"/>
                <a:gd name="f46" fmla="val 1436986"/>
                <a:gd name="f47" fmla="val 6890984"/>
                <a:gd name="f48" fmla="val 1148958"/>
                <a:gd name="f49" fmla="val 5866930"/>
                <a:gd name="f50" fmla="val 767309"/>
                <a:gd name="f51" fmla="val 4800356"/>
                <a:gd name="f52" fmla="val 456582"/>
                <a:gd name="f53" fmla="val 4068903"/>
                <a:gd name="f54" fmla="val 243471"/>
                <a:gd name="f55" fmla="val 3348204"/>
                <a:gd name="f56" fmla="val 74251"/>
                <a:gd name="f57" fmla="val 2646880"/>
                <a:gd name="f58" fmla="val 17560"/>
                <a:gd name="f59" fmla="*/ f0 1 12192000"/>
                <a:gd name="f60" fmla="*/ f1 1 2148830"/>
                <a:gd name="f61" fmla="+- f4 0 f2"/>
                <a:gd name="f62" fmla="+- f3 0 f2"/>
                <a:gd name="f63" fmla="*/ f62 1 12192000"/>
                <a:gd name="f64" fmla="*/ f61 1 2148830"/>
                <a:gd name="f65" fmla="*/ f2 1 f63"/>
                <a:gd name="f66" fmla="*/ f3 1 f63"/>
                <a:gd name="f67" fmla="*/ f2 1 f64"/>
                <a:gd name="f68" fmla="*/ f4 1 f64"/>
                <a:gd name="f69" fmla="*/ f65 f59 1"/>
                <a:gd name="f70" fmla="*/ f66 f59 1"/>
                <a:gd name="f71" fmla="*/ f68 f60 1"/>
                <a:gd name="f72" fmla="*/ f67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9" t="f72" r="f70" b="f71"/>
              <a:pathLst>
                <a:path w="12192000" h="2148830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1927;p195">
              <a:extLst>
                <a:ext uri="{FF2B5EF4-FFF2-40B4-BE49-F238E27FC236}">
                  <a16:creationId xmlns:a16="http://schemas.microsoft.com/office/drawing/2014/main" id="{4C8F0A34-268A-3BE0-043A-FA0985F90744}"/>
                </a:ext>
              </a:extLst>
            </p:cNvPr>
            <p:cNvSpPr/>
            <p:nvPr/>
          </p:nvSpPr>
          <p:spPr>
            <a:xfrm flipH="1">
              <a:off x="0" y="0"/>
              <a:ext cx="12191996" cy="19921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992138"/>
                <a:gd name="f5" fmla="val 2724271"/>
                <a:gd name="f6" fmla="val 1788442"/>
                <a:gd name="f7" fmla="val 1635403"/>
                <a:gd name="f8" fmla="val 12925"/>
                <a:gd name="f9" fmla="val 1134241"/>
                <a:gd name="f10" fmla="val 70905"/>
                <a:gd name="f11" fmla="val 647221"/>
                <a:gd name="f12" fmla="val 207817"/>
                <a:gd name="f13" fmla="val 178220"/>
                <a:gd name="f14" fmla="val 451207"/>
                <a:gd name="f15" fmla="val 552718"/>
                <a:gd name="f16" fmla="val 570885"/>
                <a:gd name="f17" fmla="val 195368"/>
                <a:gd name="f18" fmla="val 467800"/>
                <a:gd name="f19" fmla="val 765758"/>
                <a:gd name="f20" fmla="val 193094"/>
                <a:gd name="f21" fmla="val 1336955"/>
                <a:gd name="f22" fmla="val 73179"/>
                <a:gd name="f23" fmla="val 1934073"/>
                <a:gd name="f24" fmla="val 52850"/>
                <a:gd name="f25" fmla="val 2948304"/>
                <a:gd name="f26" fmla="val 18310"/>
                <a:gd name="f27" fmla="val 3878878"/>
                <a:gd name="f28" fmla="val 245747"/>
                <a:gd name="f29" fmla="val 4771217"/>
                <a:gd name="f30" fmla="val 543645"/>
                <a:gd name="f31" fmla="val 7236913"/>
                <a:gd name="f32" fmla="val 1366709"/>
                <a:gd name="f33" fmla="val 9199689"/>
                <a:gd name="f34" fmla="val 2357774"/>
                <a:gd name="f35" fmla="val 12007222"/>
                <a:gd name="f36" fmla="val 1856729"/>
                <a:gd name="f37" fmla="val 1820900"/>
                <a:gd name="f38" fmla="val 897073"/>
                <a:gd name="f39" fmla="val 12062517"/>
                <a:gd name="f40" fmla="val 950128"/>
                <a:gd name="f41" fmla="val 10950292"/>
                <a:gd name="f42" fmla="val 1376478"/>
                <a:gd name="f43" fmla="val 9595706"/>
                <a:gd name="f44" fmla="val 1466451"/>
                <a:gd name="f45" fmla="val 8435105"/>
                <a:gd name="f46" fmla="val 1266613"/>
                <a:gd name="f47" fmla="val 6618389"/>
                <a:gd name="f48" fmla="val 953715"/>
                <a:gd name="f49" fmla="val 4735222"/>
                <a:gd name="f50" fmla="val 130088"/>
                <a:gd name="f51" fmla="val 2948502"/>
                <a:gd name="f52" fmla="val 20548"/>
                <a:gd name="f53" fmla="*/ f0 1 12192000"/>
                <a:gd name="f54" fmla="*/ f1 1 1992138"/>
                <a:gd name="f55" fmla="+- f4 0 f2"/>
                <a:gd name="f56" fmla="+- f3 0 f2"/>
                <a:gd name="f57" fmla="*/ f56 1 12192000"/>
                <a:gd name="f58" fmla="*/ f55 1 1992138"/>
                <a:gd name="f59" fmla="*/ f2 1 f57"/>
                <a:gd name="f60" fmla="*/ f3 1 f57"/>
                <a:gd name="f61" fmla="*/ f2 1 f58"/>
                <a:gd name="f62" fmla="*/ f4 1 f58"/>
                <a:gd name="f63" fmla="*/ f59 f53 1"/>
                <a:gd name="f64" fmla="*/ f60 f53 1"/>
                <a:gd name="f65" fmla="*/ f62 f54 1"/>
                <a:gd name="f66" fmla="*/ f61 f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3" t="f66" r="f64" b="f65"/>
              <a:pathLst>
                <a:path w="12192000" h="1992138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lose/>
                </a:path>
              </a:pathLst>
            </a:custGeom>
            <a:solidFill>
              <a:srgbClr val="00498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sp>
        <p:nvSpPr>
          <p:cNvPr id="5" name="Google Shape;1928;p195">
            <a:extLst>
              <a:ext uri="{FF2B5EF4-FFF2-40B4-BE49-F238E27FC236}">
                <a16:creationId xmlns:a16="http://schemas.microsoft.com/office/drawing/2014/main" id="{FDCA95D6-DFBD-CFFA-1013-A8DD5F06CC23}"/>
              </a:ext>
            </a:extLst>
          </p:cNvPr>
          <p:cNvSpPr/>
          <p:nvPr/>
        </p:nvSpPr>
        <p:spPr>
          <a:xfrm>
            <a:off x="902366" y="1517693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6" name="Google Shape;1929;p195">
            <a:extLst>
              <a:ext uri="{FF2B5EF4-FFF2-40B4-BE49-F238E27FC236}">
                <a16:creationId xmlns:a16="http://schemas.microsoft.com/office/drawing/2014/main" id="{B9462697-0132-6B7C-B54F-4777A395B7F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219196" y="3429000"/>
            <a:ext cx="5582649" cy="1413561"/>
          </a:xfrm>
        </p:spPr>
        <p:txBody>
          <a:bodyPr/>
          <a:lstStyle>
            <a:lvl1pPr indent="-228600">
              <a:buNone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7" name="Google Shape;1930;p195">
            <a:extLst>
              <a:ext uri="{FF2B5EF4-FFF2-40B4-BE49-F238E27FC236}">
                <a16:creationId xmlns:a16="http://schemas.microsoft.com/office/drawing/2014/main" id="{321FBE58-8A12-FA85-09B1-36508136C62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19196" y="1887486"/>
            <a:ext cx="5582649" cy="1078260"/>
          </a:xfrm>
        </p:spPr>
        <p:txBody>
          <a:bodyPr/>
          <a:lstStyle>
            <a:lvl1pPr>
              <a:defRPr sz="6000"/>
            </a:lvl1pPr>
          </a:lstStyle>
          <a:p>
            <a:pPr lvl="0"/>
            <a:endParaRPr lang="en-US"/>
          </a:p>
        </p:txBody>
      </p:sp>
      <p:pic>
        <p:nvPicPr>
          <p:cNvPr id="8" name="Google Shape;1931;p195">
            <a:extLst>
              <a:ext uri="{FF2B5EF4-FFF2-40B4-BE49-F238E27FC236}">
                <a16:creationId xmlns:a16="http://schemas.microsoft.com/office/drawing/2014/main" id="{3D4E181F-A116-3DD1-EA76-1047C5EA60A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902366" y="228371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87764004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934;p196">
            <a:extLst>
              <a:ext uri="{FF2B5EF4-FFF2-40B4-BE49-F238E27FC236}">
                <a16:creationId xmlns:a16="http://schemas.microsoft.com/office/drawing/2014/main" id="{8B3E16F5-8342-C286-DDE9-AD0B4DE6ED6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98CF857D-65D7-4340-9F3A-9631A3BD8440}" type="slidenum">
              <a:t>‹#›</a:t>
            </a:fld>
            <a:endParaRPr lang="en-US"/>
          </a:p>
        </p:txBody>
      </p:sp>
      <p:cxnSp>
        <p:nvCxnSpPr>
          <p:cNvPr id="3" name="Google Shape;1935;p196">
            <a:extLst>
              <a:ext uri="{FF2B5EF4-FFF2-40B4-BE49-F238E27FC236}">
                <a16:creationId xmlns:a16="http://schemas.microsoft.com/office/drawing/2014/main" id="{4FB879F1-4E2B-E1A6-AC50-9EF0F04E66B7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4" name="Google Shape;1936;p196">
            <a:extLst>
              <a:ext uri="{FF2B5EF4-FFF2-40B4-BE49-F238E27FC236}">
                <a16:creationId xmlns:a16="http://schemas.microsoft.com/office/drawing/2014/main" id="{F09FE768-0562-8309-DF66-7882B52E8175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1937;p196">
            <a:extLst>
              <a:ext uri="{FF2B5EF4-FFF2-40B4-BE49-F238E27FC236}">
                <a16:creationId xmlns:a16="http://schemas.microsoft.com/office/drawing/2014/main" id="{FEAFE3EA-03EB-95CA-E791-74B5A885490B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6" name="Google Shape;1938;p196">
              <a:extLst>
                <a:ext uri="{FF2B5EF4-FFF2-40B4-BE49-F238E27FC236}">
                  <a16:creationId xmlns:a16="http://schemas.microsoft.com/office/drawing/2014/main" id="{5EA8B8EB-7FAE-4C3F-2588-AF7EB93FCF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7" name="Google Shape;1939;p196">
              <a:extLst>
                <a:ext uri="{FF2B5EF4-FFF2-40B4-BE49-F238E27FC236}">
                  <a16:creationId xmlns:a16="http://schemas.microsoft.com/office/drawing/2014/main" id="{868335B4-FC0C-7DA9-B3C0-AD1589EFFAE5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8" name="Google Shape;1940;p196">
                <a:extLst>
                  <a:ext uri="{FF2B5EF4-FFF2-40B4-BE49-F238E27FC236}">
                    <a16:creationId xmlns:a16="http://schemas.microsoft.com/office/drawing/2014/main" id="{B601DFD8-0ED8-1A4E-4673-FDBEBE2979DF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9" name="Google Shape;1941;p196">
                <a:extLst>
                  <a:ext uri="{FF2B5EF4-FFF2-40B4-BE49-F238E27FC236}">
                    <a16:creationId xmlns:a16="http://schemas.microsoft.com/office/drawing/2014/main" id="{29B7E19F-DE0A-CAC7-6932-E267DE9250AC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55560923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ation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740;p178">
            <a:extLst>
              <a:ext uri="{FF2B5EF4-FFF2-40B4-BE49-F238E27FC236}">
                <a16:creationId xmlns:a16="http://schemas.microsoft.com/office/drawing/2014/main" id="{5BF8BF7D-BF29-D80D-F73E-26989620B785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741;p178">
            <a:extLst>
              <a:ext uri="{FF2B5EF4-FFF2-40B4-BE49-F238E27FC236}">
                <a16:creationId xmlns:a16="http://schemas.microsoft.com/office/drawing/2014/main" id="{3DAE2D7D-C232-7C08-9F75-04CD0510164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742;p178">
            <a:extLst>
              <a:ext uri="{FF2B5EF4-FFF2-40B4-BE49-F238E27FC236}">
                <a16:creationId xmlns:a16="http://schemas.microsoft.com/office/drawing/2014/main" id="{1BAF64DC-9F51-99F5-E058-2BB12AF91EB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743;p178">
            <a:extLst>
              <a:ext uri="{FF2B5EF4-FFF2-40B4-BE49-F238E27FC236}">
                <a16:creationId xmlns:a16="http://schemas.microsoft.com/office/drawing/2014/main" id="{3228FBE3-D2BB-A3AD-DC3A-432F6BCC952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8C4BA719-EFA8-4865-9FE4-3344A25027B0}" type="slidenum">
              <a:t>‹#›</a:t>
            </a:fld>
            <a:endParaRPr lang="en-US"/>
          </a:p>
        </p:txBody>
      </p:sp>
      <p:cxnSp>
        <p:nvCxnSpPr>
          <p:cNvPr id="6" name="Google Shape;1744;p178">
            <a:extLst>
              <a:ext uri="{FF2B5EF4-FFF2-40B4-BE49-F238E27FC236}">
                <a16:creationId xmlns:a16="http://schemas.microsoft.com/office/drawing/2014/main" id="{09BE6BF0-59E0-6E87-AE7F-6D46A173E00B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745;p178">
            <a:extLst>
              <a:ext uri="{FF2B5EF4-FFF2-40B4-BE49-F238E27FC236}">
                <a16:creationId xmlns:a16="http://schemas.microsoft.com/office/drawing/2014/main" id="{5C1F2221-1320-6543-6181-B3C6E6AB6D7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1746;p178">
            <a:extLst>
              <a:ext uri="{FF2B5EF4-FFF2-40B4-BE49-F238E27FC236}">
                <a16:creationId xmlns:a16="http://schemas.microsoft.com/office/drawing/2014/main" id="{1259E5FE-4C0A-24B9-B9BE-24E360B59DA3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1747;p178">
              <a:extLst>
                <a:ext uri="{FF2B5EF4-FFF2-40B4-BE49-F238E27FC236}">
                  <a16:creationId xmlns:a16="http://schemas.microsoft.com/office/drawing/2014/main" id="{85CD91BD-8C70-3365-4C98-16309F2BC70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1748;p178">
              <a:extLst>
                <a:ext uri="{FF2B5EF4-FFF2-40B4-BE49-F238E27FC236}">
                  <a16:creationId xmlns:a16="http://schemas.microsoft.com/office/drawing/2014/main" id="{8686692A-B67E-6222-28A2-E035665273CE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1749;p178">
                <a:extLst>
                  <a:ext uri="{FF2B5EF4-FFF2-40B4-BE49-F238E27FC236}">
                    <a16:creationId xmlns:a16="http://schemas.microsoft.com/office/drawing/2014/main" id="{46CF1434-E83C-7D07-8DDE-74DD440E55EE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1750;p178">
                <a:extLst>
                  <a:ext uri="{FF2B5EF4-FFF2-40B4-BE49-F238E27FC236}">
                    <a16:creationId xmlns:a16="http://schemas.microsoft.com/office/drawing/2014/main" id="{5F5E1B8D-A87E-F77B-98F5-1EC1ADC5E445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1751;p178" descr="Open quotation mark with solid fill">
            <a:extLst>
              <a:ext uri="{FF2B5EF4-FFF2-40B4-BE49-F238E27FC236}">
                <a16:creationId xmlns:a16="http://schemas.microsoft.com/office/drawing/2014/main" id="{10951448-A50A-DDA7-10DD-B8EFDFF351E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4032827323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753;p179">
            <a:extLst>
              <a:ext uri="{FF2B5EF4-FFF2-40B4-BE49-F238E27FC236}">
                <a16:creationId xmlns:a16="http://schemas.microsoft.com/office/drawing/2014/main" id="{3F5BA524-3474-61D8-2E94-3382C238C363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3" name="Google Shape;1754;p179">
            <a:extLst>
              <a:ext uri="{FF2B5EF4-FFF2-40B4-BE49-F238E27FC236}">
                <a16:creationId xmlns:a16="http://schemas.microsoft.com/office/drawing/2014/main" id="{B675C932-E971-DCCD-454F-332B974F97F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grpSp>
        <p:nvGrpSpPr>
          <p:cNvPr id="4" name="Google Shape;1755;p179">
            <a:extLst>
              <a:ext uri="{FF2B5EF4-FFF2-40B4-BE49-F238E27FC236}">
                <a16:creationId xmlns:a16="http://schemas.microsoft.com/office/drawing/2014/main" id="{304819DC-9030-13FF-B677-BC51CF1997E0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5" name="Google Shape;1756;p179">
              <a:extLst>
                <a:ext uri="{FF2B5EF4-FFF2-40B4-BE49-F238E27FC236}">
                  <a16:creationId xmlns:a16="http://schemas.microsoft.com/office/drawing/2014/main" id="{824C9C58-BB91-2BA3-A7CA-CD10DE939A0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6" name="Google Shape;1757;p179">
              <a:extLst>
                <a:ext uri="{FF2B5EF4-FFF2-40B4-BE49-F238E27FC236}">
                  <a16:creationId xmlns:a16="http://schemas.microsoft.com/office/drawing/2014/main" id="{75C6ECB0-8D3B-1A90-4792-F55C774C5F32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7" name="Google Shape;1758;p179">
                <a:extLst>
                  <a:ext uri="{FF2B5EF4-FFF2-40B4-BE49-F238E27FC236}">
                    <a16:creationId xmlns:a16="http://schemas.microsoft.com/office/drawing/2014/main" id="{8A743CE7-523E-69D3-3A18-095C1C4C8412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8" name="Google Shape;1759;p179">
                <a:extLst>
                  <a:ext uri="{FF2B5EF4-FFF2-40B4-BE49-F238E27FC236}">
                    <a16:creationId xmlns:a16="http://schemas.microsoft.com/office/drawing/2014/main" id="{FF4DFF0E-F1A0-6DB1-2572-CE559A446606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9" name="Google Shape;1760;p179">
            <a:extLst>
              <a:ext uri="{FF2B5EF4-FFF2-40B4-BE49-F238E27FC236}">
                <a16:creationId xmlns:a16="http://schemas.microsoft.com/office/drawing/2014/main" id="{2C62D676-566A-86CA-9DAE-D772830DC3E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Google Shape;1761;p179">
            <a:extLst>
              <a:ext uri="{FF2B5EF4-FFF2-40B4-BE49-F238E27FC236}">
                <a16:creationId xmlns:a16="http://schemas.microsoft.com/office/drawing/2014/main" id="{E83704FB-E23A-F367-8955-3F76E06F16B2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8839193" y="6356351"/>
            <a:ext cx="2743200" cy="365129"/>
          </a:xfrm>
        </p:spPr>
        <p:txBody>
          <a:bodyPr/>
          <a:lstStyle>
            <a:lvl1pPr>
              <a:defRPr/>
            </a:lvl1pPr>
          </a:lstStyle>
          <a:p>
            <a:pPr lvl="0"/>
            <a:fld id="{74CE457E-644E-4EE0-9BFE-B8CDDDB2B816}" type="slidenum">
              <a:t>‹#›</a:t>
            </a:fld>
            <a:endParaRPr lang="en-US"/>
          </a:p>
        </p:txBody>
      </p:sp>
      <p:cxnSp>
        <p:nvCxnSpPr>
          <p:cNvPr id="11" name="Google Shape;1762;p179">
            <a:extLst>
              <a:ext uri="{FF2B5EF4-FFF2-40B4-BE49-F238E27FC236}">
                <a16:creationId xmlns:a16="http://schemas.microsoft.com/office/drawing/2014/main" id="{68B5995D-3399-C3FE-A4C6-60624BA791D5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2" name="Google Shape;1763;p179">
            <a:extLst>
              <a:ext uri="{FF2B5EF4-FFF2-40B4-BE49-F238E27FC236}">
                <a16:creationId xmlns:a16="http://schemas.microsoft.com/office/drawing/2014/main" id="{76C33794-047A-9E5C-1290-236EC8EE33F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25134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765;p180">
            <a:extLst>
              <a:ext uri="{FF2B5EF4-FFF2-40B4-BE49-F238E27FC236}">
                <a16:creationId xmlns:a16="http://schemas.microsoft.com/office/drawing/2014/main" id="{92DACBAD-7FE9-C8EC-0A30-BEF1D9AACF4B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766;p180">
              <a:extLst>
                <a:ext uri="{FF2B5EF4-FFF2-40B4-BE49-F238E27FC236}">
                  <a16:creationId xmlns:a16="http://schemas.microsoft.com/office/drawing/2014/main" id="{1FB6594B-03F5-C7D4-C94D-EE809866FFC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767;p180">
              <a:extLst>
                <a:ext uri="{FF2B5EF4-FFF2-40B4-BE49-F238E27FC236}">
                  <a16:creationId xmlns:a16="http://schemas.microsoft.com/office/drawing/2014/main" id="{1B87DC2E-F7FC-F256-F6FD-66A2E6ACAAFB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768;p180">
                <a:extLst>
                  <a:ext uri="{FF2B5EF4-FFF2-40B4-BE49-F238E27FC236}">
                    <a16:creationId xmlns:a16="http://schemas.microsoft.com/office/drawing/2014/main" id="{9AD38C26-3787-1B88-6299-8375C7BCA5C8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769;p180">
                <a:extLst>
                  <a:ext uri="{FF2B5EF4-FFF2-40B4-BE49-F238E27FC236}">
                    <a16:creationId xmlns:a16="http://schemas.microsoft.com/office/drawing/2014/main" id="{992CDBF0-7770-80C4-C67D-B46594A87D2F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770;p180">
            <a:extLst>
              <a:ext uri="{FF2B5EF4-FFF2-40B4-BE49-F238E27FC236}">
                <a16:creationId xmlns:a16="http://schemas.microsoft.com/office/drawing/2014/main" id="{7FFDDF4A-CB62-9979-DF1F-B1B152517B38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771;p180">
            <a:extLst>
              <a:ext uri="{FF2B5EF4-FFF2-40B4-BE49-F238E27FC236}">
                <a16:creationId xmlns:a16="http://schemas.microsoft.com/office/drawing/2014/main" id="{CE6DECA7-BA9D-BF10-A7B6-74B88BB8EF1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681160"/>
            <a:ext cx="538797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9" name="Google Shape;1772;p180">
            <a:extLst>
              <a:ext uri="{FF2B5EF4-FFF2-40B4-BE49-F238E27FC236}">
                <a16:creationId xmlns:a16="http://schemas.microsoft.com/office/drawing/2014/main" id="{6131E16D-268B-A51B-0164-3C7C212A1FE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2505071"/>
            <a:ext cx="5387973" cy="3684583"/>
          </a:xfrm>
          <a:solidFill>
            <a:srgbClr val="F3F6FB"/>
          </a:solidFill>
        </p:spPr>
        <p:txBody>
          <a:bodyPr lIns="182870" tIns="0" rIns="182870" bIns="0">
            <a:normAutofit/>
          </a:bodyPr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0" name="Google Shape;1773;p180">
            <a:extLst>
              <a:ext uri="{FF2B5EF4-FFF2-40B4-BE49-F238E27FC236}">
                <a16:creationId xmlns:a16="http://schemas.microsoft.com/office/drawing/2014/main" id="{6212BE8D-AF9C-4952-2E4D-B8779982607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681160"/>
            <a:ext cx="541020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11" name="Google Shape;1774;p180">
            <a:extLst>
              <a:ext uri="{FF2B5EF4-FFF2-40B4-BE49-F238E27FC236}">
                <a16:creationId xmlns:a16="http://schemas.microsoft.com/office/drawing/2014/main" id="{6D208B76-C150-094D-630E-03F046FDA89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2505071"/>
            <a:ext cx="5410203" cy="3684583"/>
          </a:xfrm>
          <a:solidFill>
            <a:srgbClr val="F3F6FB"/>
          </a:solidFill>
        </p:spPr>
        <p:txBody>
          <a:bodyPr lIns="182870" tIns="0" rIns="182870" bIns="0"/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2" name="Google Shape;1775;p180">
            <a:extLst>
              <a:ext uri="{FF2B5EF4-FFF2-40B4-BE49-F238E27FC236}">
                <a16:creationId xmlns:a16="http://schemas.microsoft.com/office/drawing/2014/main" id="{FC321205-0D09-C227-50B5-95C156F8348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C832BDCA-0DD1-4212-AD68-854F61DC21D9}" type="slidenum">
              <a:t>‹#›</a:t>
            </a:fld>
            <a:endParaRPr lang="en-US"/>
          </a:p>
        </p:txBody>
      </p:sp>
      <p:cxnSp>
        <p:nvCxnSpPr>
          <p:cNvPr id="13" name="Google Shape;1776;p180">
            <a:extLst>
              <a:ext uri="{FF2B5EF4-FFF2-40B4-BE49-F238E27FC236}">
                <a16:creationId xmlns:a16="http://schemas.microsoft.com/office/drawing/2014/main" id="{8EED66D1-5FB9-1EDC-AC89-964AF37CC1CD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4" name="Google Shape;1777;p180">
            <a:extLst>
              <a:ext uri="{FF2B5EF4-FFF2-40B4-BE49-F238E27FC236}">
                <a16:creationId xmlns:a16="http://schemas.microsoft.com/office/drawing/2014/main" id="{053B7D8C-C86A-2BC0-A0E3-1F5DFE2B4D94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78728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3476361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779;p181">
            <a:extLst>
              <a:ext uri="{FF2B5EF4-FFF2-40B4-BE49-F238E27FC236}">
                <a16:creationId xmlns:a16="http://schemas.microsoft.com/office/drawing/2014/main" id="{2FEBE0A5-B557-943E-E982-63976D2D4479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780;p181">
              <a:extLst>
                <a:ext uri="{FF2B5EF4-FFF2-40B4-BE49-F238E27FC236}">
                  <a16:creationId xmlns:a16="http://schemas.microsoft.com/office/drawing/2014/main" id="{912414BC-769C-18F0-B329-04F6CBA93C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781;p181">
              <a:extLst>
                <a:ext uri="{FF2B5EF4-FFF2-40B4-BE49-F238E27FC236}">
                  <a16:creationId xmlns:a16="http://schemas.microsoft.com/office/drawing/2014/main" id="{9D3898E9-5B25-3CF9-030E-44D8B0504D77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782;p181">
                <a:extLst>
                  <a:ext uri="{FF2B5EF4-FFF2-40B4-BE49-F238E27FC236}">
                    <a16:creationId xmlns:a16="http://schemas.microsoft.com/office/drawing/2014/main" id="{7363C49F-0CD3-E6D6-A74C-C0517C1194DE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783;p181">
                <a:extLst>
                  <a:ext uri="{FF2B5EF4-FFF2-40B4-BE49-F238E27FC236}">
                    <a16:creationId xmlns:a16="http://schemas.microsoft.com/office/drawing/2014/main" id="{AB607B1A-92AA-92DC-956D-CE524FB2DCED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784;p181">
            <a:extLst>
              <a:ext uri="{FF2B5EF4-FFF2-40B4-BE49-F238E27FC236}">
                <a16:creationId xmlns:a16="http://schemas.microsoft.com/office/drawing/2014/main" id="{6BF47FCD-FCDB-C52F-B70A-4B3951F4CBE7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785;p181">
            <a:extLst>
              <a:ext uri="{FF2B5EF4-FFF2-40B4-BE49-F238E27FC236}">
                <a16:creationId xmlns:a16="http://schemas.microsoft.com/office/drawing/2014/main" id="{9E89D4E0-C95B-57A8-8761-077919D7AA0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69A74B06-D0E9-4C5B-A691-BE222352759D}" type="slidenum">
              <a:t>‹#›</a:t>
            </a:fld>
            <a:endParaRPr lang="en-US"/>
          </a:p>
        </p:txBody>
      </p:sp>
      <p:cxnSp>
        <p:nvCxnSpPr>
          <p:cNvPr id="9" name="Google Shape;1786;p181">
            <a:extLst>
              <a:ext uri="{FF2B5EF4-FFF2-40B4-BE49-F238E27FC236}">
                <a16:creationId xmlns:a16="http://schemas.microsoft.com/office/drawing/2014/main" id="{E9BD0E5C-9F5C-0E24-7649-7AD398DD2D74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0" name="Google Shape;1787;p181">
            <a:extLst>
              <a:ext uri="{FF2B5EF4-FFF2-40B4-BE49-F238E27FC236}">
                <a16:creationId xmlns:a16="http://schemas.microsoft.com/office/drawing/2014/main" id="{DD44CDFD-9C40-2D6B-B7C2-98B324578140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481156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d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789;p182">
            <a:extLst>
              <a:ext uri="{FF2B5EF4-FFF2-40B4-BE49-F238E27FC236}">
                <a16:creationId xmlns:a16="http://schemas.microsoft.com/office/drawing/2014/main" id="{3D60D681-B55A-8DA8-F4A9-7CCA7FFE4CC0}"/>
              </a:ext>
            </a:extLst>
          </p:cNvPr>
          <p:cNvGrpSpPr/>
          <p:nvPr/>
        </p:nvGrpSpPr>
        <p:grpSpPr>
          <a:xfrm>
            <a:off x="0" y="0"/>
            <a:ext cx="12191996" cy="2148830"/>
            <a:chOff x="0" y="0"/>
            <a:chExt cx="12191996" cy="2148830"/>
          </a:xfrm>
        </p:grpSpPr>
        <p:sp>
          <p:nvSpPr>
            <p:cNvPr id="3" name="Google Shape;1790;p182">
              <a:extLst>
                <a:ext uri="{FF2B5EF4-FFF2-40B4-BE49-F238E27FC236}">
                  <a16:creationId xmlns:a16="http://schemas.microsoft.com/office/drawing/2014/main" id="{59E7740E-50C8-1A67-BB5E-BCC0F1E8062C}"/>
                </a:ext>
              </a:extLst>
            </p:cNvPr>
            <p:cNvSpPr/>
            <p:nvPr/>
          </p:nvSpPr>
          <p:spPr>
            <a:xfrm flipH="1">
              <a:off x="0" y="0"/>
              <a:ext cx="12191996" cy="214883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2148830"/>
                <a:gd name="f5" fmla="val 2318293"/>
                <a:gd name="f6" fmla="val 2110341"/>
                <a:gd name="f7" fmla="val 1952334"/>
                <a:gd name="f8" fmla="val 920"/>
                <a:gd name="f9" fmla="val 1343499"/>
                <a:gd name="f10" fmla="val 23864"/>
                <a:gd name="f11" fmla="val 752130"/>
                <a:gd name="f12" fmla="val 152982"/>
                <a:gd name="f13" fmla="val 184205"/>
                <a:gd name="f14" fmla="val 435928"/>
                <a:gd name="f15" fmla="val 536864"/>
                <a:gd name="f16" fmla="val 554713"/>
                <a:gd name="f17" fmla="val 201115"/>
                <a:gd name="f18" fmla="val 452796"/>
                <a:gd name="f19" fmla="val 776357"/>
                <a:gd name="f20" fmla="val 187336"/>
                <a:gd name="f21" fmla="val 1349828"/>
                <a:gd name="f22" fmla="val 76760"/>
                <a:gd name="f23" fmla="val 1947588"/>
                <a:gd name="f24" fmla="val 66249"/>
                <a:gd name="f25" fmla="val 2962940"/>
                <a:gd name="f26" fmla="val 48421"/>
                <a:gd name="f27" fmla="val 3890218"/>
                <a:gd name="f28" fmla="val 291317"/>
                <a:gd name="f29" fmla="val 4778140"/>
                <a:gd name="f30" fmla="val 604018"/>
                <a:gd name="f31" fmla="val 7231510"/>
                <a:gd name="f32" fmla="val 1468126"/>
                <a:gd name="f33" fmla="val 9178927"/>
                <a:gd name="f34" fmla="val 2492024"/>
                <a:gd name="f35" fmla="val 11996242"/>
                <a:gd name="f36" fmla="val 2036894"/>
                <a:gd name="f37" fmla="val 2002266"/>
                <a:gd name="f38" fmla="val 1415250"/>
                <a:gd name="f39" fmla="val 12022971"/>
                <a:gd name="f40" fmla="val 1470801"/>
                <a:gd name="f41" fmla="val 10719696"/>
                <a:gd name="f42" fmla="val 1863939"/>
                <a:gd name="f43" fmla="val 9271154"/>
                <a:gd name="f44" fmla="val 1783804"/>
                <a:gd name="f45" fmla="val 7970940"/>
                <a:gd name="f46" fmla="val 1436986"/>
                <a:gd name="f47" fmla="val 6890984"/>
                <a:gd name="f48" fmla="val 1148958"/>
                <a:gd name="f49" fmla="val 5866930"/>
                <a:gd name="f50" fmla="val 767309"/>
                <a:gd name="f51" fmla="val 4800356"/>
                <a:gd name="f52" fmla="val 456582"/>
                <a:gd name="f53" fmla="val 4068903"/>
                <a:gd name="f54" fmla="val 243471"/>
                <a:gd name="f55" fmla="val 3348204"/>
                <a:gd name="f56" fmla="val 74251"/>
                <a:gd name="f57" fmla="val 2646880"/>
                <a:gd name="f58" fmla="val 17560"/>
                <a:gd name="f59" fmla="*/ f0 1 12192000"/>
                <a:gd name="f60" fmla="*/ f1 1 2148830"/>
                <a:gd name="f61" fmla="+- f4 0 f2"/>
                <a:gd name="f62" fmla="+- f3 0 f2"/>
                <a:gd name="f63" fmla="*/ f62 1 12192000"/>
                <a:gd name="f64" fmla="*/ f61 1 2148830"/>
                <a:gd name="f65" fmla="*/ f2 1 f63"/>
                <a:gd name="f66" fmla="*/ f3 1 f63"/>
                <a:gd name="f67" fmla="*/ f2 1 f64"/>
                <a:gd name="f68" fmla="*/ f4 1 f64"/>
                <a:gd name="f69" fmla="*/ f65 f59 1"/>
                <a:gd name="f70" fmla="*/ f66 f59 1"/>
                <a:gd name="f71" fmla="*/ f68 f60 1"/>
                <a:gd name="f72" fmla="*/ f67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9" t="f72" r="f70" b="f71"/>
              <a:pathLst>
                <a:path w="12192000" h="2148830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1791;p182">
              <a:extLst>
                <a:ext uri="{FF2B5EF4-FFF2-40B4-BE49-F238E27FC236}">
                  <a16:creationId xmlns:a16="http://schemas.microsoft.com/office/drawing/2014/main" id="{F860DEC1-F9DE-C183-1ADE-08DFAE14DE6F}"/>
                </a:ext>
              </a:extLst>
            </p:cNvPr>
            <p:cNvSpPr/>
            <p:nvPr/>
          </p:nvSpPr>
          <p:spPr>
            <a:xfrm flipH="1">
              <a:off x="0" y="0"/>
              <a:ext cx="12191996" cy="19921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992138"/>
                <a:gd name="f5" fmla="val 2724271"/>
                <a:gd name="f6" fmla="val 1788442"/>
                <a:gd name="f7" fmla="val 1635403"/>
                <a:gd name="f8" fmla="val 12925"/>
                <a:gd name="f9" fmla="val 1134241"/>
                <a:gd name="f10" fmla="val 70905"/>
                <a:gd name="f11" fmla="val 647221"/>
                <a:gd name="f12" fmla="val 207817"/>
                <a:gd name="f13" fmla="val 178220"/>
                <a:gd name="f14" fmla="val 451207"/>
                <a:gd name="f15" fmla="val 552718"/>
                <a:gd name="f16" fmla="val 570885"/>
                <a:gd name="f17" fmla="val 195368"/>
                <a:gd name="f18" fmla="val 467800"/>
                <a:gd name="f19" fmla="val 765758"/>
                <a:gd name="f20" fmla="val 193094"/>
                <a:gd name="f21" fmla="val 1336955"/>
                <a:gd name="f22" fmla="val 73179"/>
                <a:gd name="f23" fmla="val 1934073"/>
                <a:gd name="f24" fmla="val 52850"/>
                <a:gd name="f25" fmla="val 2948304"/>
                <a:gd name="f26" fmla="val 18310"/>
                <a:gd name="f27" fmla="val 3878878"/>
                <a:gd name="f28" fmla="val 245747"/>
                <a:gd name="f29" fmla="val 4771217"/>
                <a:gd name="f30" fmla="val 543645"/>
                <a:gd name="f31" fmla="val 7236913"/>
                <a:gd name="f32" fmla="val 1366709"/>
                <a:gd name="f33" fmla="val 9199689"/>
                <a:gd name="f34" fmla="val 2357774"/>
                <a:gd name="f35" fmla="val 12007222"/>
                <a:gd name="f36" fmla="val 1856729"/>
                <a:gd name="f37" fmla="val 1820900"/>
                <a:gd name="f38" fmla="val 897073"/>
                <a:gd name="f39" fmla="val 12062517"/>
                <a:gd name="f40" fmla="val 950128"/>
                <a:gd name="f41" fmla="val 10950292"/>
                <a:gd name="f42" fmla="val 1376478"/>
                <a:gd name="f43" fmla="val 9595706"/>
                <a:gd name="f44" fmla="val 1466451"/>
                <a:gd name="f45" fmla="val 8435105"/>
                <a:gd name="f46" fmla="val 1266613"/>
                <a:gd name="f47" fmla="val 6618389"/>
                <a:gd name="f48" fmla="val 953715"/>
                <a:gd name="f49" fmla="val 4735222"/>
                <a:gd name="f50" fmla="val 130088"/>
                <a:gd name="f51" fmla="val 2948502"/>
                <a:gd name="f52" fmla="val 20548"/>
                <a:gd name="f53" fmla="*/ f0 1 12192000"/>
                <a:gd name="f54" fmla="*/ f1 1 1992138"/>
                <a:gd name="f55" fmla="+- f4 0 f2"/>
                <a:gd name="f56" fmla="+- f3 0 f2"/>
                <a:gd name="f57" fmla="*/ f56 1 12192000"/>
                <a:gd name="f58" fmla="*/ f55 1 1992138"/>
                <a:gd name="f59" fmla="*/ f2 1 f57"/>
                <a:gd name="f60" fmla="*/ f3 1 f57"/>
                <a:gd name="f61" fmla="*/ f2 1 f58"/>
                <a:gd name="f62" fmla="*/ f4 1 f58"/>
                <a:gd name="f63" fmla="*/ f59 f53 1"/>
                <a:gd name="f64" fmla="*/ f60 f53 1"/>
                <a:gd name="f65" fmla="*/ f62 f54 1"/>
                <a:gd name="f66" fmla="*/ f61 f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3" t="f66" r="f64" b="f65"/>
              <a:pathLst>
                <a:path w="12192000" h="1992138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lose/>
                </a:path>
              </a:pathLst>
            </a:custGeom>
            <a:solidFill>
              <a:srgbClr val="00498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sp>
        <p:nvSpPr>
          <p:cNvPr id="5" name="Google Shape;1792;p182">
            <a:extLst>
              <a:ext uri="{FF2B5EF4-FFF2-40B4-BE49-F238E27FC236}">
                <a16:creationId xmlns:a16="http://schemas.microsoft.com/office/drawing/2014/main" id="{BD74B949-3890-A7E4-ABD6-85B88C0695CC}"/>
              </a:ext>
            </a:extLst>
          </p:cNvPr>
          <p:cNvSpPr/>
          <p:nvPr/>
        </p:nvSpPr>
        <p:spPr>
          <a:xfrm>
            <a:off x="902366" y="1517693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6" name="Google Shape;1793;p182">
            <a:extLst>
              <a:ext uri="{FF2B5EF4-FFF2-40B4-BE49-F238E27FC236}">
                <a16:creationId xmlns:a16="http://schemas.microsoft.com/office/drawing/2014/main" id="{4799E8BF-21DB-D4D4-CBF9-B6305511E6D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219196" y="3429000"/>
            <a:ext cx="5582649" cy="1413561"/>
          </a:xfrm>
        </p:spPr>
        <p:txBody>
          <a:bodyPr/>
          <a:lstStyle>
            <a:lvl1pPr indent="-228600">
              <a:buNone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7" name="Google Shape;1794;p182">
            <a:extLst>
              <a:ext uri="{FF2B5EF4-FFF2-40B4-BE49-F238E27FC236}">
                <a16:creationId xmlns:a16="http://schemas.microsoft.com/office/drawing/2014/main" id="{BA517688-04EC-054E-D48A-12B100E190D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19196" y="1887486"/>
            <a:ext cx="5582649" cy="1078260"/>
          </a:xfrm>
        </p:spPr>
        <p:txBody>
          <a:bodyPr/>
          <a:lstStyle>
            <a:lvl1pPr>
              <a:defRPr sz="6000"/>
            </a:lvl1pPr>
          </a:lstStyle>
          <a:p>
            <a:pPr lvl="0"/>
            <a:endParaRPr lang="en-US"/>
          </a:p>
        </p:txBody>
      </p:sp>
      <p:pic>
        <p:nvPicPr>
          <p:cNvPr id="8" name="Google Shape;1795;p182">
            <a:extLst>
              <a:ext uri="{FF2B5EF4-FFF2-40B4-BE49-F238E27FC236}">
                <a16:creationId xmlns:a16="http://schemas.microsoft.com/office/drawing/2014/main" id="{AFC8242F-C812-4EF0-6AA1-B3FB42252BF6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902366" y="228371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18825675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798;p183">
            <a:extLst>
              <a:ext uri="{FF2B5EF4-FFF2-40B4-BE49-F238E27FC236}">
                <a16:creationId xmlns:a16="http://schemas.microsoft.com/office/drawing/2014/main" id="{082B4558-0591-7316-DDCD-FCB66EB2F03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E40C40FC-C9D6-4A68-958F-6A717732EFFA}" type="slidenum">
              <a:t>‹#›</a:t>
            </a:fld>
            <a:endParaRPr lang="en-US"/>
          </a:p>
        </p:txBody>
      </p:sp>
      <p:cxnSp>
        <p:nvCxnSpPr>
          <p:cNvPr id="3" name="Google Shape;1799;p183">
            <a:extLst>
              <a:ext uri="{FF2B5EF4-FFF2-40B4-BE49-F238E27FC236}">
                <a16:creationId xmlns:a16="http://schemas.microsoft.com/office/drawing/2014/main" id="{858C08F5-04CA-580E-5340-417CDF3AAB39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4" name="Google Shape;1800;p183">
            <a:extLst>
              <a:ext uri="{FF2B5EF4-FFF2-40B4-BE49-F238E27FC236}">
                <a16:creationId xmlns:a16="http://schemas.microsoft.com/office/drawing/2014/main" id="{6DB0B010-CB8F-42BB-0BA8-AB288FC7C0C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1801;p183">
            <a:extLst>
              <a:ext uri="{FF2B5EF4-FFF2-40B4-BE49-F238E27FC236}">
                <a16:creationId xmlns:a16="http://schemas.microsoft.com/office/drawing/2014/main" id="{72511C0F-566E-C59A-52D5-D477289686A1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6" name="Google Shape;1802;p183">
              <a:extLst>
                <a:ext uri="{FF2B5EF4-FFF2-40B4-BE49-F238E27FC236}">
                  <a16:creationId xmlns:a16="http://schemas.microsoft.com/office/drawing/2014/main" id="{367FD2B0-7815-4658-5C3C-98047046284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7" name="Google Shape;1803;p183">
              <a:extLst>
                <a:ext uri="{FF2B5EF4-FFF2-40B4-BE49-F238E27FC236}">
                  <a16:creationId xmlns:a16="http://schemas.microsoft.com/office/drawing/2014/main" id="{9F2B9F10-22FD-F1D6-4D99-C7A3681664E2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8" name="Google Shape;1804;p183">
                <a:extLst>
                  <a:ext uri="{FF2B5EF4-FFF2-40B4-BE49-F238E27FC236}">
                    <a16:creationId xmlns:a16="http://schemas.microsoft.com/office/drawing/2014/main" id="{62E04F88-02B8-8B8B-B267-00BAE726D1C9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9" name="Google Shape;1805;p183">
                <a:extLst>
                  <a:ext uri="{FF2B5EF4-FFF2-40B4-BE49-F238E27FC236}">
                    <a16:creationId xmlns:a16="http://schemas.microsoft.com/office/drawing/2014/main" id="{45F96D3F-DAD4-88D1-AD7C-857066994A03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2260710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Quot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807;p184">
            <a:extLst>
              <a:ext uri="{FF2B5EF4-FFF2-40B4-BE49-F238E27FC236}">
                <a16:creationId xmlns:a16="http://schemas.microsoft.com/office/drawing/2014/main" id="{B57FBA88-DE79-F395-4058-01950698EF77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808;p184">
            <a:extLst>
              <a:ext uri="{FF2B5EF4-FFF2-40B4-BE49-F238E27FC236}">
                <a16:creationId xmlns:a16="http://schemas.microsoft.com/office/drawing/2014/main" id="{25DC8692-7437-5B06-F5CA-AA2323D6EFA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809;p184">
            <a:extLst>
              <a:ext uri="{FF2B5EF4-FFF2-40B4-BE49-F238E27FC236}">
                <a16:creationId xmlns:a16="http://schemas.microsoft.com/office/drawing/2014/main" id="{E99025EF-2FF5-EB38-FC4A-CE357D7377E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810;p184">
            <a:extLst>
              <a:ext uri="{FF2B5EF4-FFF2-40B4-BE49-F238E27FC236}">
                <a16:creationId xmlns:a16="http://schemas.microsoft.com/office/drawing/2014/main" id="{67E59E2A-A809-77FE-89B3-5C828212A8D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F0447E80-B064-453B-A137-05CCBA1F2016}" type="slidenum">
              <a:t>‹#›</a:t>
            </a:fld>
            <a:endParaRPr lang="en-US"/>
          </a:p>
        </p:txBody>
      </p:sp>
      <p:cxnSp>
        <p:nvCxnSpPr>
          <p:cNvPr id="6" name="Google Shape;1811;p184">
            <a:extLst>
              <a:ext uri="{FF2B5EF4-FFF2-40B4-BE49-F238E27FC236}">
                <a16:creationId xmlns:a16="http://schemas.microsoft.com/office/drawing/2014/main" id="{1BBF7816-6EC1-08A9-0553-61FD4A8FA7AE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812;p184">
            <a:extLst>
              <a:ext uri="{FF2B5EF4-FFF2-40B4-BE49-F238E27FC236}">
                <a16:creationId xmlns:a16="http://schemas.microsoft.com/office/drawing/2014/main" id="{EF9C63AF-9263-297B-3030-0C4A5AC697BE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1813;p184">
            <a:extLst>
              <a:ext uri="{FF2B5EF4-FFF2-40B4-BE49-F238E27FC236}">
                <a16:creationId xmlns:a16="http://schemas.microsoft.com/office/drawing/2014/main" id="{5008B5F2-35DB-FAFA-897D-2798D319C08D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1814;p184">
              <a:extLst>
                <a:ext uri="{FF2B5EF4-FFF2-40B4-BE49-F238E27FC236}">
                  <a16:creationId xmlns:a16="http://schemas.microsoft.com/office/drawing/2014/main" id="{F879EE20-B302-B041-0D41-74F6DDEE7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1815;p184">
              <a:extLst>
                <a:ext uri="{FF2B5EF4-FFF2-40B4-BE49-F238E27FC236}">
                  <a16:creationId xmlns:a16="http://schemas.microsoft.com/office/drawing/2014/main" id="{42E2A0A5-8D91-A34F-5986-3A8039435351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1816;p184">
                <a:extLst>
                  <a:ext uri="{FF2B5EF4-FFF2-40B4-BE49-F238E27FC236}">
                    <a16:creationId xmlns:a16="http://schemas.microsoft.com/office/drawing/2014/main" id="{199FC01E-39A2-5413-C2C2-C029BE107EA7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1817;p184">
                <a:extLst>
                  <a:ext uri="{FF2B5EF4-FFF2-40B4-BE49-F238E27FC236}">
                    <a16:creationId xmlns:a16="http://schemas.microsoft.com/office/drawing/2014/main" id="{0E803978-E026-0934-5C13-317035AD0A61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1818;p184" descr="Open quotation mark with solid fill">
            <a:extLst>
              <a:ext uri="{FF2B5EF4-FFF2-40B4-BE49-F238E27FC236}">
                <a16:creationId xmlns:a16="http://schemas.microsoft.com/office/drawing/2014/main" id="{FC82EF66-064C-E781-8F55-8568A7DFEE0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437487418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827;p186">
            <a:extLst>
              <a:ext uri="{FF2B5EF4-FFF2-40B4-BE49-F238E27FC236}">
                <a16:creationId xmlns:a16="http://schemas.microsoft.com/office/drawing/2014/main" id="{21F783A5-782B-B541-5784-58CABF758942}"/>
              </a:ext>
            </a:extLst>
          </p:cNvPr>
          <p:cNvSpPr/>
          <p:nvPr/>
        </p:nvSpPr>
        <p:spPr>
          <a:xfrm>
            <a:off x="902366" y="1294415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828;p186">
            <a:extLst>
              <a:ext uri="{FF2B5EF4-FFF2-40B4-BE49-F238E27FC236}">
                <a16:creationId xmlns:a16="http://schemas.microsoft.com/office/drawing/2014/main" id="{2860B565-ED0F-8EA8-78BA-5BD9C83E5BC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1561328"/>
            <a:ext cx="5194432" cy="1826340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Google Shape;1829;p186">
            <a:extLst>
              <a:ext uri="{FF2B5EF4-FFF2-40B4-BE49-F238E27FC236}">
                <a16:creationId xmlns:a16="http://schemas.microsoft.com/office/drawing/2014/main" id="{A80D2AE0-E1CB-8D8A-35BB-405D35066BC8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766861"/>
            <a:ext cx="5194432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1831;p186">
            <a:extLst>
              <a:ext uri="{FF2B5EF4-FFF2-40B4-BE49-F238E27FC236}">
                <a16:creationId xmlns:a16="http://schemas.microsoft.com/office/drawing/2014/main" id="{66487EA2-7CB0-7647-7700-675734A44352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6" name="Google Shape;1832;p186">
              <a:extLst>
                <a:ext uri="{FF2B5EF4-FFF2-40B4-BE49-F238E27FC236}">
                  <a16:creationId xmlns:a16="http://schemas.microsoft.com/office/drawing/2014/main" id="{0A1668CE-1E98-3215-56B3-055C86D288FD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7" name="Google Shape;1833;p186">
              <a:extLst>
                <a:ext uri="{FF2B5EF4-FFF2-40B4-BE49-F238E27FC236}">
                  <a16:creationId xmlns:a16="http://schemas.microsoft.com/office/drawing/2014/main" id="{91FD8890-E233-6B39-DBF8-0AFF3C33FCF1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8" name="Google Shape;1834;p186">
              <a:extLst>
                <a:ext uri="{FF2B5EF4-FFF2-40B4-BE49-F238E27FC236}">
                  <a16:creationId xmlns:a16="http://schemas.microsoft.com/office/drawing/2014/main" id="{999EA261-D248-1820-B6ED-ED00E94FD2D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710095882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836;p187">
            <a:extLst>
              <a:ext uri="{FF2B5EF4-FFF2-40B4-BE49-F238E27FC236}">
                <a16:creationId xmlns:a16="http://schemas.microsoft.com/office/drawing/2014/main" id="{D398B27C-5B51-3BF4-3100-E03C492B0655}"/>
              </a:ext>
            </a:extLst>
          </p:cNvPr>
          <p:cNvGrpSpPr/>
          <p:nvPr/>
        </p:nvGrpSpPr>
        <p:grpSpPr>
          <a:xfrm>
            <a:off x="0" y="5020348"/>
            <a:ext cx="12191996" cy="1837651"/>
            <a:chOff x="0" y="5020348"/>
            <a:chExt cx="12191996" cy="1837651"/>
          </a:xfrm>
        </p:grpSpPr>
        <p:sp>
          <p:nvSpPr>
            <p:cNvPr id="3" name="Google Shape;1837;p187">
              <a:extLst>
                <a:ext uri="{FF2B5EF4-FFF2-40B4-BE49-F238E27FC236}">
                  <a16:creationId xmlns:a16="http://schemas.microsoft.com/office/drawing/2014/main" id="{248B1344-0035-1E98-F9C6-A26858100D8E}"/>
                </a:ext>
              </a:extLst>
            </p:cNvPr>
            <p:cNvSpPr/>
            <p:nvPr/>
          </p:nvSpPr>
          <p:spPr>
            <a:xfrm>
              <a:off x="0" y="5100267"/>
              <a:ext cx="7111371" cy="175773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111369"/>
                <a:gd name="f4" fmla="val 1757730"/>
                <a:gd name="f5" fmla="val 772954"/>
                <a:gd name="f6" fmla="val 2778"/>
                <a:gd name="f7" fmla="val 1769038"/>
                <a:gd name="f8" fmla="val 30799"/>
                <a:gd name="f9" fmla="val 2696750"/>
                <a:gd name="f10" fmla="val 267531"/>
                <a:gd name="f11" fmla="val 3590934"/>
                <a:gd name="f12" fmla="val 566046"/>
                <a:gd name="f13" fmla="val 4684008"/>
                <a:gd name="f14" fmla="val 930921"/>
                <a:gd name="f15" fmla="val 5690778"/>
                <a:gd name="f16" fmla="val 1324625"/>
                <a:gd name="f17" fmla="val 6700767"/>
                <a:gd name="f18" fmla="val 1636882"/>
                <a:gd name="f19" fmla="val 25690"/>
                <a:gd name="f20" fmla="val 2197"/>
                <a:gd name="f21" fmla="val 25414"/>
                <a:gd name="f22" fmla="val 114653"/>
                <a:gd name="f23" fmla="val 14905"/>
                <a:gd name="f24" fmla="val 227801"/>
                <a:gd name="f25" fmla="val 7857"/>
                <a:gd name="f26" fmla="val 341773"/>
                <a:gd name="f27" fmla="val 3976"/>
                <a:gd name="f28" fmla="val 486963"/>
                <a:gd name="f29" fmla="+- 0 0 968"/>
                <a:gd name="f30" fmla="val 630656"/>
                <a:gd name="f31" fmla="+- 0 0 1224"/>
                <a:gd name="f32" fmla="*/ f0 1 7111369"/>
                <a:gd name="f33" fmla="*/ f1 1 1757730"/>
                <a:gd name="f34" fmla="+- f4 0 f2"/>
                <a:gd name="f35" fmla="+- f3 0 f2"/>
                <a:gd name="f36" fmla="*/ f35 1 7111369"/>
                <a:gd name="f37" fmla="*/ f34 1 1757730"/>
                <a:gd name="f38" fmla="*/ f2 1 f36"/>
                <a:gd name="f39" fmla="*/ f3 1 f36"/>
                <a:gd name="f40" fmla="*/ f2 1 f37"/>
                <a:gd name="f41" fmla="*/ f4 1 f37"/>
                <a:gd name="f42" fmla="*/ f38 f32 1"/>
                <a:gd name="f43" fmla="*/ f39 f32 1"/>
                <a:gd name="f44" fmla="*/ f41 f33 1"/>
                <a:gd name="f45" fmla="*/ f40 f3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2" t="f45" r="f43" b="f44"/>
              <a:pathLst>
                <a:path w="7111369" h="1757730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4"/>
                  </a:lnTo>
                  <a:lnTo>
                    <a:pt x="f2" y="f4"/>
                  </a:lnTo>
                  <a:lnTo>
                    <a:pt x="f2" y="f19"/>
                  </a:lnTo>
                  <a:lnTo>
                    <a:pt x="f20" y="f21"/>
                  </a:ln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5" y="f6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1838;p187">
              <a:extLst>
                <a:ext uri="{FF2B5EF4-FFF2-40B4-BE49-F238E27FC236}">
                  <a16:creationId xmlns:a16="http://schemas.microsoft.com/office/drawing/2014/main" id="{BFB51E99-0E5A-503E-B190-F95E6AFCB48E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19056"/>
                <a:gd name="f5" fmla="val 1590347"/>
                <a:gd name="f6" fmla="val 12188220"/>
                <a:gd name="f7" fmla="val 11380834"/>
                <a:gd name="f8" fmla="val 11595183"/>
                <a:gd name="f9" fmla="val 1770580"/>
                <a:gd name="f10" fmla="val 11796947"/>
                <a:gd name="f11" fmla="val 1720044"/>
                <a:gd name="f12" fmla="val 11996151"/>
                <a:gd name="f13" fmla="val 1660154"/>
                <a:gd name="f14" fmla="val 758403"/>
                <a:gd name="f15" fmla="val 2043"/>
                <a:gd name="f16" fmla="val 1686489"/>
                <a:gd name="f17" fmla="val 25125"/>
                <a:gd name="f18" fmla="val 2647016"/>
                <a:gd name="f19" fmla="val 241445"/>
                <a:gd name="f20" fmla="val 3624304"/>
                <a:gd name="f21" fmla="val 526182"/>
                <a:gd name="f22" fmla="val 4845769"/>
                <a:gd name="f23" fmla="val 882033"/>
                <a:gd name="f24" fmla="val 6018540"/>
                <a:gd name="f25" fmla="val 1319108"/>
                <a:gd name="f26" fmla="val 7255331"/>
                <a:gd name="f27" fmla="val 1648964"/>
                <a:gd name="f28" fmla="val 7453869"/>
                <a:gd name="f29" fmla="val 1701922"/>
                <a:gd name="f30" fmla="val 7655427"/>
                <a:gd name="f31" fmla="val 1749451"/>
                <a:gd name="f32" fmla="val 7859208"/>
                <a:gd name="f33" fmla="val 1790989"/>
                <a:gd name="f34" fmla="val 8008547"/>
                <a:gd name="f35" fmla="val 6697152"/>
                <a:gd name="f36" fmla="val 6692612"/>
                <a:gd name="f37" fmla="val 1817638"/>
                <a:gd name="f38" fmla="val 5687256"/>
                <a:gd name="f39" fmla="val 1488590"/>
                <a:gd name="f40" fmla="val 4686470"/>
                <a:gd name="f41" fmla="val 1078099"/>
                <a:gd name="f42" fmla="val 3598861"/>
                <a:gd name="f43" fmla="val 695028"/>
                <a:gd name="f44" fmla="val 2581993"/>
                <a:gd name="f45" fmla="val 336916"/>
                <a:gd name="f46" fmla="val 1520053"/>
                <a:gd name="f47" fmla="val 58744"/>
                <a:gd name="f48" fmla="val 357248"/>
                <a:gd name="f49" fmla="val 79163"/>
                <a:gd name="f50" fmla="val 243154"/>
                <a:gd name="f51" fmla="val 81169"/>
                <a:gd name="f52" fmla="val 129832"/>
                <a:gd name="f53" fmla="val 86358"/>
                <a:gd name="f54" fmla="val 17144"/>
                <a:gd name="f55" fmla="val 95022"/>
                <a:gd name="f56" fmla="val 96893"/>
                <a:gd name="f57" fmla="val 29948"/>
                <a:gd name="f58" fmla="val 15757"/>
                <a:gd name="f59" fmla="val 27869"/>
                <a:gd name="f60" fmla="val 130823"/>
                <a:gd name="f61" fmla="val 16482"/>
                <a:gd name="f62" fmla="val 246476"/>
                <a:gd name="f63" fmla="val 8725"/>
                <a:gd name="f64" fmla="val 362684"/>
                <a:gd name="f65" fmla="val 4345"/>
                <a:gd name="f66" fmla="val 493898"/>
                <a:gd name="f67" fmla="+- 0 0 608"/>
                <a:gd name="f68" fmla="val 625820"/>
                <a:gd name="f69" fmla="+- 0 0 1255"/>
                <a:gd name="f70" fmla="*/ f0 1 12192000"/>
                <a:gd name="f71" fmla="*/ f1 1 1819056"/>
                <a:gd name="f72" fmla="+- f4 0 f2"/>
                <a:gd name="f73" fmla="+- f3 0 f2"/>
                <a:gd name="f74" fmla="*/ f73 1 12192000"/>
                <a:gd name="f75" fmla="*/ f72 1 1819056"/>
                <a:gd name="f76" fmla="*/ f2 1 f74"/>
                <a:gd name="f77" fmla="*/ f3 1 f74"/>
                <a:gd name="f78" fmla="*/ f2 1 f75"/>
                <a:gd name="f79" fmla="*/ f4 1 f75"/>
                <a:gd name="f80" fmla="*/ f76 f70 1"/>
                <a:gd name="f81" fmla="*/ f77 f70 1"/>
                <a:gd name="f82" fmla="*/ f79 f71 1"/>
                <a:gd name="f83" fmla="*/ f78 f7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80" t="f83" r="f81" b="f82"/>
              <a:pathLst>
                <a:path w="12192000" h="1819056">
                  <a:moveTo>
                    <a:pt x="f3" y="f5"/>
                  </a:moveTo>
                  <a:lnTo>
                    <a:pt x="f6" y="f4"/>
                  </a:lnTo>
                  <a:lnTo>
                    <a:pt x="f7" y="f4"/>
                  </a:lnTo>
                  <a:lnTo>
                    <a:pt x="f8" y="f9"/>
                  </a:lnTo>
                  <a:cubicBezTo>
                    <a:pt x="f10" y="f11"/>
                    <a:pt x="f12" y="f13"/>
                    <a:pt x="f3" y="f5"/>
                  </a:cubicBezTo>
                  <a:close/>
                  <a:moveTo>
                    <a:pt x="f14" y="f15"/>
                  </a:move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26" y="f27"/>
                  </a:cubicBezTo>
                  <a:cubicBezTo>
                    <a:pt x="f28" y="f29"/>
                    <a:pt x="f30" y="f31"/>
                    <a:pt x="f32" y="f33"/>
                  </a:cubicBezTo>
                  <a:lnTo>
                    <a:pt x="f34" y="f4"/>
                  </a:lnTo>
                  <a:lnTo>
                    <a:pt x="f35" y="f4"/>
                  </a:lnTo>
                  <a:lnTo>
                    <a:pt x="f36" y="f37"/>
                  </a:ln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lnTo>
                    <a:pt x="f2" y="f56"/>
                  </a:lnTo>
                  <a:lnTo>
                    <a:pt x="f2" y="f57"/>
                  </a:lnTo>
                  <a:lnTo>
                    <a:pt x="f58" y="f59"/>
                  </a:lnTo>
                  <a:cubicBezTo>
                    <a:pt x="f60" y="f61"/>
                    <a:pt x="f62" y="f63"/>
                    <a:pt x="f64" y="f65"/>
                  </a:cubicBezTo>
                  <a:cubicBezTo>
                    <a:pt x="f66" y="f67"/>
                    <a:pt x="f68" y="f69"/>
                    <a:pt x="f14" y="f15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5" name="Google Shape;1839;p187">
              <a:extLst>
                <a:ext uri="{FF2B5EF4-FFF2-40B4-BE49-F238E27FC236}">
                  <a16:creationId xmlns:a16="http://schemas.microsoft.com/office/drawing/2014/main" id="{C498B336-6237-C74E-20BF-C4D85187EB58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837653"/>
                <a:gd name="f5" fmla="val 631978"/>
                <a:gd name="f6" fmla="val 192"/>
                <a:gd name="f7" fmla="val 919158"/>
                <a:gd name="f8" fmla="+- 0 0 2016"/>
                <a:gd name="f9" fmla="val 1209873"/>
                <a:gd name="f10" fmla="val 14922"/>
                <a:gd name="f11" fmla="val 1503520"/>
                <a:gd name="f12" fmla="val 46905"/>
                <a:gd name="f13" fmla="val 3549714"/>
                <a:gd name="f14" fmla="val 172355"/>
                <a:gd name="f15" fmla="val 5706358"/>
                <a:gd name="f16" fmla="val 1115591"/>
                <a:gd name="f17" fmla="val 7786904"/>
                <a:gd name="f18" fmla="val 1473930"/>
                <a:gd name="f19" fmla="val 9204661"/>
                <a:gd name="f20" fmla="val 1718045"/>
                <a:gd name="f21" fmla="val 10875183"/>
                <a:gd name="f22" fmla="val 1584536"/>
                <a:gd name="f23" fmla="val 1008678"/>
                <a:gd name="f24" fmla="val 1399189"/>
                <a:gd name="f25" fmla="val 1684971"/>
                <a:gd name="f26" fmla="val 7111369"/>
                <a:gd name="f27" fmla="val 6700767"/>
                <a:gd name="f28" fmla="val 1716805"/>
                <a:gd name="f29" fmla="val 5690778"/>
                <a:gd name="f30" fmla="val 1404548"/>
                <a:gd name="f31" fmla="val 4684008"/>
                <a:gd name="f32" fmla="val 1010844"/>
                <a:gd name="f33" fmla="val 3590934"/>
                <a:gd name="f34" fmla="val 645969"/>
                <a:gd name="f35" fmla="val 2569009"/>
                <a:gd name="f36" fmla="val 304809"/>
                <a:gd name="f37" fmla="val 1503293"/>
                <a:gd name="f38" fmla="val 44345"/>
                <a:gd name="f39" fmla="val 341773"/>
                <a:gd name="f40" fmla="val 83899"/>
                <a:gd name="f41" fmla="val 227801"/>
                <a:gd name="f42" fmla="val 87780"/>
                <a:gd name="f43" fmla="val 114653"/>
                <a:gd name="f44" fmla="val 94828"/>
                <a:gd name="f45" fmla="val 2197"/>
                <a:gd name="f46" fmla="val 105337"/>
                <a:gd name="f47" fmla="val 105613"/>
                <a:gd name="f48" fmla="val 38154"/>
                <a:gd name="f49" fmla="val 346000"/>
                <a:gd name="f50" fmla="val 8933"/>
                <a:gd name="f51" fmla="val 440918"/>
                <a:gd name="f52" fmla="val 3791"/>
                <a:gd name="f53" fmla="val 536252"/>
                <a:gd name="f54" fmla="val 928"/>
                <a:gd name="f55" fmla="*/ f0 1 12192000"/>
                <a:gd name="f56" fmla="*/ f1 1 1837653"/>
                <a:gd name="f57" fmla="+- f4 0 f2"/>
                <a:gd name="f58" fmla="+- f3 0 f2"/>
                <a:gd name="f59" fmla="*/ f58 1 12192000"/>
                <a:gd name="f60" fmla="*/ f57 1 1837653"/>
                <a:gd name="f61" fmla="*/ f2 1 f59"/>
                <a:gd name="f62" fmla="*/ f3 1 f59"/>
                <a:gd name="f63" fmla="*/ f2 1 f60"/>
                <a:gd name="f64" fmla="*/ f4 1 f60"/>
                <a:gd name="f65" fmla="*/ f61 f55 1"/>
                <a:gd name="f66" fmla="*/ f62 f55 1"/>
                <a:gd name="f67" fmla="*/ f64 f56 1"/>
                <a:gd name="f68" fmla="*/ f63 f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5" t="f68" r="f66" b="f67"/>
              <a:pathLst>
                <a:path w="12192000" h="1837653">
                  <a:moveTo>
                    <a:pt x="f5" y="f6"/>
                  </a:move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cubicBezTo>
                    <a:pt x="f19" y="f20"/>
                    <a:pt x="f21" y="f22"/>
                    <a:pt x="f3" y="f23"/>
                  </a:cubicBezTo>
                  <a:lnTo>
                    <a:pt x="f3" y="f24"/>
                  </a:lnTo>
                  <a:lnTo>
                    <a:pt x="f3" y="f25"/>
                  </a:lnTo>
                  <a:lnTo>
                    <a:pt x="f3" y="f4"/>
                  </a:lnTo>
                  <a:lnTo>
                    <a:pt x="f26" y="f4"/>
                  </a:lnTo>
                  <a:lnTo>
                    <a:pt x="f27" y="f28"/>
                  </a:ln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lnTo>
                    <a:pt x="f2" y="f47"/>
                  </a:lnTo>
                  <a:lnTo>
                    <a:pt x="f2" y="f48"/>
                  </a:lnTo>
                  <a:lnTo>
                    <a:pt x="f49" y="f50"/>
                  </a:lnTo>
                  <a:cubicBezTo>
                    <a:pt x="f51" y="f52"/>
                    <a:pt x="f53" y="f54"/>
                    <a:pt x="f5" y="f6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6" name="Google Shape;1840;p187">
              <a:extLst>
                <a:ext uri="{FF2B5EF4-FFF2-40B4-BE49-F238E27FC236}">
                  <a16:creationId xmlns:a16="http://schemas.microsoft.com/office/drawing/2014/main" id="{5AEBC50C-F992-C840-32EF-88804A377F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7" name="Google Shape;1841;p187">
            <a:extLst>
              <a:ext uri="{FF2B5EF4-FFF2-40B4-BE49-F238E27FC236}">
                <a16:creationId xmlns:a16="http://schemas.microsoft.com/office/drawing/2014/main" id="{29F32818-B7EC-9EB8-9076-943D2629EA4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701747"/>
            <a:ext cx="9365376" cy="2014679"/>
          </a:xfrm>
        </p:spPr>
        <p:txBody>
          <a:bodyPr anchor="b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842;p187">
            <a:extLst>
              <a:ext uri="{FF2B5EF4-FFF2-40B4-BE49-F238E27FC236}">
                <a16:creationId xmlns:a16="http://schemas.microsoft.com/office/drawing/2014/main" id="{4746019E-EEE7-630D-B38C-05F0497199AD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081637"/>
            <a:ext cx="9365376" cy="9865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654994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844;p188">
            <a:extLst>
              <a:ext uri="{FF2B5EF4-FFF2-40B4-BE49-F238E27FC236}">
                <a16:creationId xmlns:a16="http://schemas.microsoft.com/office/drawing/2014/main" id="{A5CA2FB7-41FF-CA69-340F-E4BE8661052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57200" y="1146255"/>
            <a:ext cx="2350172" cy="2971800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cxnSp>
        <p:nvCxnSpPr>
          <p:cNvPr id="3" name="Google Shape;1845;p188">
            <a:extLst>
              <a:ext uri="{FF2B5EF4-FFF2-40B4-BE49-F238E27FC236}">
                <a16:creationId xmlns:a16="http://schemas.microsoft.com/office/drawing/2014/main" id="{0480D35C-E2DD-7148-A56F-4902AEC18932}"/>
              </a:ext>
            </a:extLst>
          </p:cNvPr>
          <p:cNvCxnSpPr/>
          <p:nvPr/>
        </p:nvCxnSpPr>
        <p:spPr>
          <a:xfrm>
            <a:off x="457200" y="947985"/>
            <a:ext cx="2350163" cy="0"/>
          </a:xfrm>
          <a:prstGeom prst="straightConnector1">
            <a:avLst/>
          </a:prstGeom>
          <a:noFill/>
          <a:ln w="31747" cap="flat">
            <a:solidFill>
              <a:srgbClr val="F58366"/>
            </a:solidFill>
            <a:prstDash val="solid"/>
            <a:miter/>
          </a:ln>
        </p:spPr>
      </p:cxnSp>
      <p:grpSp>
        <p:nvGrpSpPr>
          <p:cNvPr id="4" name="Google Shape;1846;p188">
            <a:extLst>
              <a:ext uri="{FF2B5EF4-FFF2-40B4-BE49-F238E27FC236}">
                <a16:creationId xmlns:a16="http://schemas.microsoft.com/office/drawing/2014/main" id="{0433D8E2-90DC-7685-C749-0F16935ECC78}"/>
              </a:ext>
            </a:extLst>
          </p:cNvPr>
          <p:cNvGrpSpPr/>
          <p:nvPr/>
        </p:nvGrpSpPr>
        <p:grpSpPr>
          <a:xfrm>
            <a:off x="0" y="5379424"/>
            <a:ext cx="2807363" cy="753895"/>
            <a:chOff x="0" y="5379424"/>
            <a:chExt cx="2807363" cy="753895"/>
          </a:xfrm>
        </p:grpSpPr>
        <p:sp>
          <p:nvSpPr>
            <p:cNvPr id="5" name="Google Shape;1847;p188">
              <a:extLst>
                <a:ext uri="{FF2B5EF4-FFF2-40B4-BE49-F238E27FC236}">
                  <a16:creationId xmlns:a16="http://schemas.microsoft.com/office/drawing/2014/main" id="{7C269C41-F14F-433C-AE28-F4E95E0126DA}"/>
                </a:ext>
              </a:extLst>
            </p:cNvPr>
            <p:cNvSpPr/>
            <p:nvPr/>
          </p:nvSpPr>
          <p:spPr>
            <a:xfrm>
              <a:off x="0" y="5532513"/>
              <a:ext cx="2807363" cy="60080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00807"/>
                <a:gd name="f5" fmla="val 429971"/>
                <a:gd name="f6" fmla="val 123998"/>
                <a:gd name="f7" fmla="val 1184765"/>
                <a:gd name="f8" fmla="val 325331"/>
                <a:gd name="f9" fmla="val 2014184"/>
                <a:gd name="f10" fmla="val 392492"/>
                <a:gd name="f11" fmla="val 2790212"/>
                <a:gd name="f12" fmla="val 235402"/>
                <a:gd name="f13" fmla="val 231522"/>
                <a:gd name="f14" fmla="val 566106"/>
                <a:gd name="f15" fmla="val 2593885"/>
                <a:gd name="f16" fmla="val 587498"/>
                <a:gd name="f17" fmla="val 1673646"/>
                <a:gd name="f18" fmla="val 651184"/>
                <a:gd name="f19" fmla="val 884869"/>
                <a:gd name="f20" fmla="val 479260"/>
                <a:gd name="f21" fmla="val 100844"/>
                <a:gd name="f22" fmla="val 222653"/>
                <a:gd name="f23" fmla="val 188389"/>
                <a:gd name="f24" fmla="*/ f0 1 2807368"/>
                <a:gd name="f25" fmla="*/ f1 1 600807"/>
                <a:gd name="f26" fmla="+- f4 0 f2"/>
                <a:gd name="f27" fmla="+- f3 0 f2"/>
                <a:gd name="f28" fmla="*/ f27 1 2807368"/>
                <a:gd name="f29" fmla="*/ f26 1 600807"/>
                <a:gd name="f30" fmla="*/ f2 1 f28"/>
                <a:gd name="f31" fmla="*/ f3 1 f28"/>
                <a:gd name="f32" fmla="*/ f2 1 f29"/>
                <a:gd name="f33" fmla="*/ f4 1 f29"/>
                <a:gd name="f34" fmla="*/ f30 f24 1"/>
                <a:gd name="f35" fmla="*/ f31 f24 1"/>
                <a:gd name="f36" fmla="*/ f33 f25 1"/>
                <a:gd name="f37" fmla="*/ f32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37" r="f35" b="f36"/>
              <a:pathLst>
                <a:path w="2807368" h="600807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lnTo>
                    <a:pt x="f3" y="f13"/>
                  </a:lnTo>
                  <a:lnTo>
                    <a:pt x="f3" y="f14"/>
                  </a:lnTo>
                  <a:lnTo>
                    <a:pt x="f15" y="f16"/>
                  </a:lnTo>
                  <a:cubicBezTo>
                    <a:pt x="f17" y="f18"/>
                    <a:pt x="f19" y="f20"/>
                    <a:pt x="f21" y="f22"/>
                  </a:cubicBezTo>
                  <a:lnTo>
                    <a:pt x="f2" y="f23"/>
                  </a:ln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6" name="Google Shape;1848;p188">
              <a:extLst>
                <a:ext uri="{FF2B5EF4-FFF2-40B4-BE49-F238E27FC236}">
                  <a16:creationId xmlns:a16="http://schemas.microsoft.com/office/drawing/2014/main" id="{BB74AF36-D731-82D3-70D7-32894B81899C}"/>
                </a:ext>
              </a:extLst>
            </p:cNvPr>
            <p:cNvSpPr/>
            <p:nvPr/>
          </p:nvSpPr>
          <p:spPr>
            <a:xfrm>
              <a:off x="0" y="5379424"/>
              <a:ext cx="2807363" cy="64980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07368"/>
                <a:gd name="f4" fmla="val 649803"/>
                <a:gd name="f5" fmla="val 282676"/>
                <a:gd name="f6" fmla="val 70799"/>
                <a:gd name="f7" fmla="val 435964"/>
                <a:gd name="f8" fmla="val 106085"/>
                <a:gd name="f9" fmla="val 588770"/>
                <a:gd name="f10" fmla="val 137629"/>
                <a:gd name="f11" fmla="val 740881"/>
                <a:gd name="f12" fmla="val 163828"/>
                <a:gd name="f13" fmla="val 1362800"/>
                <a:gd name="f14" fmla="val 270912"/>
                <a:gd name="f15" fmla="val 2067879"/>
                <a:gd name="f16" fmla="val 253759"/>
                <a:gd name="f17" fmla="val 2706471"/>
                <a:gd name="f18" fmla="val 96397"/>
                <a:gd name="f19" fmla="val 67250"/>
                <a:gd name="f20" fmla="val 605551"/>
                <a:gd name="f21" fmla="val 2602685"/>
                <a:gd name="f22" fmla="val 629466"/>
                <a:gd name="f23" fmla="val 1684237"/>
                <a:gd name="f24" fmla="val 708219"/>
                <a:gd name="f25" fmla="val 893252"/>
                <a:gd name="f26" fmla="val 549395"/>
                <a:gd name="f27" fmla="val 105614"/>
                <a:gd name="f28" fmla="val 305882"/>
                <a:gd name="f29" fmla="val 271926"/>
                <a:gd name="f30" fmla="*/ f0 1 2807368"/>
                <a:gd name="f31" fmla="*/ f1 1 649803"/>
                <a:gd name="f32" fmla="+- f4 0 f2"/>
                <a:gd name="f33" fmla="+- f3 0 f2"/>
                <a:gd name="f34" fmla="*/ f33 1 2807368"/>
                <a:gd name="f35" fmla="*/ f32 1 649803"/>
                <a:gd name="f36" fmla="*/ f2 1 f34"/>
                <a:gd name="f37" fmla="*/ f3 1 f34"/>
                <a:gd name="f38" fmla="*/ f2 1 f35"/>
                <a:gd name="f39" fmla="*/ f4 1 f35"/>
                <a:gd name="f40" fmla="*/ f36 f30 1"/>
                <a:gd name="f41" fmla="*/ f37 f30 1"/>
                <a:gd name="f42" fmla="*/ f39 f31 1"/>
                <a:gd name="f43" fmla="*/ f38 f3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2807368" h="649803">
                  <a:moveTo>
                    <a:pt x="f2" y="f2"/>
                  </a:moveTo>
                  <a:lnTo>
                    <a:pt x="f5" y="f6"/>
                  </a:lnTo>
                  <a:cubicBezTo>
                    <a:pt x="f7" y="f8"/>
                    <a:pt x="f9" y="f10"/>
                    <a:pt x="f11" y="f12"/>
                  </a:cubicBezTo>
                  <a:cubicBezTo>
                    <a:pt x="f13" y="f14"/>
                    <a:pt x="f15" y="f16"/>
                    <a:pt x="f17" y="f18"/>
                  </a:cubicBezTo>
                  <a:lnTo>
                    <a:pt x="f3" y="f19"/>
                  </a:lnTo>
                  <a:lnTo>
                    <a:pt x="f3" y="f20"/>
                  </a:lnTo>
                  <a:lnTo>
                    <a:pt x="f21" y="f22"/>
                  </a:lnTo>
                  <a:cubicBezTo>
                    <a:pt x="f23" y="f24"/>
                    <a:pt x="f25" y="f26"/>
                    <a:pt x="f27" y="f28"/>
                  </a:cubicBezTo>
                  <a:lnTo>
                    <a:pt x="f2" y="f29"/>
                  </a:ln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pic>
        <p:nvPicPr>
          <p:cNvPr id="7" name="Google Shape;1850;p188">
            <a:extLst>
              <a:ext uri="{FF2B5EF4-FFF2-40B4-BE49-F238E27FC236}">
                <a16:creationId xmlns:a16="http://schemas.microsoft.com/office/drawing/2014/main" id="{1277BA78-EC7E-BE25-0EE0-FD32EAE1F99F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513344" y="4385535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813369819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ation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852;p189">
            <a:extLst>
              <a:ext uri="{FF2B5EF4-FFF2-40B4-BE49-F238E27FC236}">
                <a16:creationId xmlns:a16="http://schemas.microsoft.com/office/drawing/2014/main" id="{2FCE6CE5-8DBF-86AF-918B-00DE7D2909CD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853;p189">
            <a:extLst>
              <a:ext uri="{FF2B5EF4-FFF2-40B4-BE49-F238E27FC236}">
                <a16:creationId xmlns:a16="http://schemas.microsoft.com/office/drawing/2014/main" id="{ACCE6A0F-C68F-0419-A6DB-946A1854C2A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854;p189">
            <a:extLst>
              <a:ext uri="{FF2B5EF4-FFF2-40B4-BE49-F238E27FC236}">
                <a16:creationId xmlns:a16="http://schemas.microsoft.com/office/drawing/2014/main" id="{31AE3932-7BDF-624E-EA76-477E2C006E0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855;p189">
            <a:extLst>
              <a:ext uri="{FF2B5EF4-FFF2-40B4-BE49-F238E27FC236}">
                <a16:creationId xmlns:a16="http://schemas.microsoft.com/office/drawing/2014/main" id="{D21FE8B0-5192-9AFD-1E5A-4AEC4A8A9103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C96A1361-FE0B-46BE-AB73-079BEEC7389C}" type="slidenum">
              <a:t>‹#›</a:t>
            </a:fld>
            <a:endParaRPr lang="en-US"/>
          </a:p>
        </p:txBody>
      </p:sp>
      <p:cxnSp>
        <p:nvCxnSpPr>
          <p:cNvPr id="6" name="Google Shape;1856;p189">
            <a:extLst>
              <a:ext uri="{FF2B5EF4-FFF2-40B4-BE49-F238E27FC236}">
                <a16:creationId xmlns:a16="http://schemas.microsoft.com/office/drawing/2014/main" id="{0617EBB8-0C00-6B4A-00AF-39BD49FF28BC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857;p189">
            <a:extLst>
              <a:ext uri="{FF2B5EF4-FFF2-40B4-BE49-F238E27FC236}">
                <a16:creationId xmlns:a16="http://schemas.microsoft.com/office/drawing/2014/main" id="{C986B50B-EB08-31D6-141F-83222355945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1858;p189">
            <a:extLst>
              <a:ext uri="{FF2B5EF4-FFF2-40B4-BE49-F238E27FC236}">
                <a16:creationId xmlns:a16="http://schemas.microsoft.com/office/drawing/2014/main" id="{619FDD9F-6E1B-A3F3-4F92-4FF245D1FFC2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1859;p189">
              <a:extLst>
                <a:ext uri="{FF2B5EF4-FFF2-40B4-BE49-F238E27FC236}">
                  <a16:creationId xmlns:a16="http://schemas.microsoft.com/office/drawing/2014/main" id="{F50B509F-D825-C449-1231-C823FF954E7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1860;p189">
              <a:extLst>
                <a:ext uri="{FF2B5EF4-FFF2-40B4-BE49-F238E27FC236}">
                  <a16:creationId xmlns:a16="http://schemas.microsoft.com/office/drawing/2014/main" id="{98BEBF01-77F3-4FF7-3AF4-D85405E3AEE9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1861;p189">
                <a:extLst>
                  <a:ext uri="{FF2B5EF4-FFF2-40B4-BE49-F238E27FC236}">
                    <a16:creationId xmlns:a16="http://schemas.microsoft.com/office/drawing/2014/main" id="{508DB186-A6DD-5B8C-060B-96C85C9CB0CE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1862;p189">
                <a:extLst>
                  <a:ext uri="{FF2B5EF4-FFF2-40B4-BE49-F238E27FC236}">
                    <a16:creationId xmlns:a16="http://schemas.microsoft.com/office/drawing/2014/main" id="{1BB7AE37-4BCA-4772-41A3-AC6122854995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1863;p189" descr="Open quotation mark with solid fill">
            <a:extLst>
              <a:ext uri="{FF2B5EF4-FFF2-40B4-BE49-F238E27FC236}">
                <a16:creationId xmlns:a16="http://schemas.microsoft.com/office/drawing/2014/main" id="{67A47D21-AF1C-E901-522A-DA199A9353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111915549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ation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865;p190">
            <a:extLst>
              <a:ext uri="{FF2B5EF4-FFF2-40B4-BE49-F238E27FC236}">
                <a16:creationId xmlns:a16="http://schemas.microsoft.com/office/drawing/2014/main" id="{FE5E75FD-C7C2-F8F5-ACDF-EE8C0D363E36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866;p190">
            <a:extLst>
              <a:ext uri="{FF2B5EF4-FFF2-40B4-BE49-F238E27FC236}">
                <a16:creationId xmlns:a16="http://schemas.microsoft.com/office/drawing/2014/main" id="{3FA8351E-12D1-EBE9-996B-DC8DFC56A35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867;p190">
            <a:extLst>
              <a:ext uri="{FF2B5EF4-FFF2-40B4-BE49-F238E27FC236}">
                <a16:creationId xmlns:a16="http://schemas.microsoft.com/office/drawing/2014/main" id="{38685CFA-0137-7AE6-147C-29120F2898C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868;p190">
            <a:extLst>
              <a:ext uri="{FF2B5EF4-FFF2-40B4-BE49-F238E27FC236}">
                <a16:creationId xmlns:a16="http://schemas.microsoft.com/office/drawing/2014/main" id="{D2729F80-090B-327D-ABB4-4EC90D47C8D0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49D64D42-E8F2-46FD-97D0-080764A6C250}" type="slidenum">
              <a:t>‹#›</a:t>
            </a:fld>
            <a:endParaRPr lang="en-US"/>
          </a:p>
        </p:txBody>
      </p:sp>
      <p:cxnSp>
        <p:nvCxnSpPr>
          <p:cNvPr id="6" name="Google Shape;1869;p190">
            <a:extLst>
              <a:ext uri="{FF2B5EF4-FFF2-40B4-BE49-F238E27FC236}">
                <a16:creationId xmlns:a16="http://schemas.microsoft.com/office/drawing/2014/main" id="{1EF2388A-B98A-C230-CFCD-90E92D110179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870;p190">
            <a:extLst>
              <a:ext uri="{FF2B5EF4-FFF2-40B4-BE49-F238E27FC236}">
                <a16:creationId xmlns:a16="http://schemas.microsoft.com/office/drawing/2014/main" id="{EA627F59-E0C8-767B-A66B-475A1EC7D936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1871;p190">
            <a:extLst>
              <a:ext uri="{FF2B5EF4-FFF2-40B4-BE49-F238E27FC236}">
                <a16:creationId xmlns:a16="http://schemas.microsoft.com/office/drawing/2014/main" id="{1EC73F45-B013-76F4-F969-12BEDD43C40C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1872;p190">
              <a:extLst>
                <a:ext uri="{FF2B5EF4-FFF2-40B4-BE49-F238E27FC236}">
                  <a16:creationId xmlns:a16="http://schemas.microsoft.com/office/drawing/2014/main" id="{AD460954-7000-D664-DA8C-0387AD6EABC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1873;p190">
              <a:extLst>
                <a:ext uri="{FF2B5EF4-FFF2-40B4-BE49-F238E27FC236}">
                  <a16:creationId xmlns:a16="http://schemas.microsoft.com/office/drawing/2014/main" id="{EC78BFAC-359F-1E93-3CE5-C3DE9240FBA3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1874;p190">
                <a:extLst>
                  <a:ext uri="{FF2B5EF4-FFF2-40B4-BE49-F238E27FC236}">
                    <a16:creationId xmlns:a16="http://schemas.microsoft.com/office/drawing/2014/main" id="{4C0E1122-60C6-AE5A-3E55-2B75DBA3D0B0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1875;p190">
                <a:extLst>
                  <a:ext uri="{FF2B5EF4-FFF2-40B4-BE49-F238E27FC236}">
                    <a16:creationId xmlns:a16="http://schemas.microsoft.com/office/drawing/2014/main" id="{2B5DD0DF-6CB7-8E00-6ABB-86694B88BF75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1876;p190" descr="Open quotation mark with solid fill">
            <a:extLst>
              <a:ext uri="{FF2B5EF4-FFF2-40B4-BE49-F238E27FC236}">
                <a16:creationId xmlns:a16="http://schemas.microsoft.com/office/drawing/2014/main" id="{A723E449-B9EF-6958-A915-CA445ED0300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604413815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878;p191">
            <a:extLst>
              <a:ext uri="{FF2B5EF4-FFF2-40B4-BE49-F238E27FC236}">
                <a16:creationId xmlns:a16="http://schemas.microsoft.com/office/drawing/2014/main" id="{72D21DD3-77AB-7C44-C0A5-272EA4B10F25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879;p191">
              <a:extLst>
                <a:ext uri="{FF2B5EF4-FFF2-40B4-BE49-F238E27FC236}">
                  <a16:creationId xmlns:a16="http://schemas.microsoft.com/office/drawing/2014/main" id="{BF0D045F-6440-D96F-3681-3B1C252FF5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880;p191">
              <a:extLst>
                <a:ext uri="{FF2B5EF4-FFF2-40B4-BE49-F238E27FC236}">
                  <a16:creationId xmlns:a16="http://schemas.microsoft.com/office/drawing/2014/main" id="{FF1E1C8D-09B2-D5E2-C7FE-C0DD1960C45B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881;p191">
                <a:extLst>
                  <a:ext uri="{FF2B5EF4-FFF2-40B4-BE49-F238E27FC236}">
                    <a16:creationId xmlns:a16="http://schemas.microsoft.com/office/drawing/2014/main" id="{AE6CFC03-F012-5FEA-4770-6A8EDD288BB9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882;p191">
                <a:extLst>
                  <a:ext uri="{FF2B5EF4-FFF2-40B4-BE49-F238E27FC236}">
                    <a16:creationId xmlns:a16="http://schemas.microsoft.com/office/drawing/2014/main" id="{7102A81E-1789-C072-FEDE-AA386C26EEB8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883;p191">
            <a:extLst>
              <a:ext uri="{FF2B5EF4-FFF2-40B4-BE49-F238E27FC236}">
                <a16:creationId xmlns:a16="http://schemas.microsoft.com/office/drawing/2014/main" id="{678BB930-743D-C4A5-879D-0F7EAE09F7E1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884;p191">
            <a:extLst>
              <a:ext uri="{FF2B5EF4-FFF2-40B4-BE49-F238E27FC236}">
                <a16:creationId xmlns:a16="http://schemas.microsoft.com/office/drawing/2014/main" id="{A6868314-0675-380B-D85C-67FDA82809F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/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9" name="Google Shape;1885;p191">
            <a:extLst>
              <a:ext uri="{FF2B5EF4-FFF2-40B4-BE49-F238E27FC236}">
                <a16:creationId xmlns:a16="http://schemas.microsoft.com/office/drawing/2014/main" id="{0A0791F9-B50E-874A-BF4B-08DBE05BFC6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3A2C0976-793D-4C56-9132-5F8CB50D85D2}" type="slidenum">
              <a:t>‹#›</a:t>
            </a:fld>
            <a:endParaRPr lang="en-US"/>
          </a:p>
        </p:txBody>
      </p:sp>
      <p:cxnSp>
        <p:nvCxnSpPr>
          <p:cNvPr id="10" name="Google Shape;1886;p191">
            <a:extLst>
              <a:ext uri="{FF2B5EF4-FFF2-40B4-BE49-F238E27FC236}">
                <a16:creationId xmlns:a16="http://schemas.microsoft.com/office/drawing/2014/main" id="{2AA04848-B92C-60AA-A735-9BDAB9445191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1" name="Google Shape;1887;p191">
            <a:extLst>
              <a:ext uri="{FF2B5EF4-FFF2-40B4-BE49-F238E27FC236}">
                <a16:creationId xmlns:a16="http://schemas.microsoft.com/office/drawing/2014/main" id="{D994C3E0-CEA1-C0CD-AF19-882E3E41CD35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56087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43884374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889;p192">
            <a:extLst>
              <a:ext uri="{FF2B5EF4-FFF2-40B4-BE49-F238E27FC236}">
                <a16:creationId xmlns:a16="http://schemas.microsoft.com/office/drawing/2014/main" id="{03AA2C68-D04F-AB0F-696D-EEECE6B472F5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3" name="Google Shape;1890;p192">
            <a:extLst>
              <a:ext uri="{FF2B5EF4-FFF2-40B4-BE49-F238E27FC236}">
                <a16:creationId xmlns:a16="http://schemas.microsoft.com/office/drawing/2014/main" id="{E94D300B-B657-3FA0-B2A0-AA2E3B1DF0C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grpSp>
        <p:nvGrpSpPr>
          <p:cNvPr id="4" name="Google Shape;1891;p192">
            <a:extLst>
              <a:ext uri="{FF2B5EF4-FFF2-40B4-BE49-F238E27FC236}">
                <a16:creationId xmlns:a16="http://schemas.microsoft.com/office/drawing/2014/main" id="{B191F52F-D2BF-28FF-D1B7-E86E1765D6B8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5" name="Google Shape;1892;p192">
              <a:extLst>
                <a:ext uri="{FF2B5EF4-FFF2-40B4-BE49-F238E27FC236}">
                  <a16:creationId xmlns:a16="http://schemas.microsoft.com/office/drawing/2014/main" id="{1B7129D3-A234-F060-FEAD-90230AD439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6" name="Google Shape;1893;p192">
              <a:extLst>
                <a:ext uri="{FF2B5EF4-FFF2-40B4-BE49-F238E27FC236}">
                  <a16:creationId xmlns:a16="http://schemas.microsoft.com/office/drawing/2014/main" id="{EE3840E4-5E25-1357-3DD1-F86E9A9AFBF1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7" name="Google Shape;1894;p192">
                <a:extLst>
                  <a:ext uri="{FF2B5EF4-FFF2-40B4-BE49-F238E27FC236}">
                    <a16:creationId xmlns:a16="http://schemas.microsoft.com/office/drawing/2014/main" id="{8D9A5362-6007-83AD-765E-91EA99CD6ABE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8" name="Google Shape;1895;p192">
                <a:extLst>
                  <a:ext uri="{FF2B5EF4-FFF2-40B4-BE49-F238E27FC236}">
                    <a16:creationId xmlns:a16="http://schemas.microsoft.com/office/drawing/2014/main" id="{D1A75F3A-33AD-E003-F1AE-1C5C9E1986DA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9" name="Google Shape;1896;p192">
            <a:extLst>
              <a:ext uri="{FF2B5EF4-FFF2-40B4-BE49-F238E27FC236}">
                <a16:creationId xmlns:a16="http://schemas.microsoft.com/office/drawing/2014/main" id="{8BA56F70-0815-EB1B-C416-4118C42C842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825627"/>
            <a:ext cx="5410203" cy="4351336"/>
          </a:xfrm>
        </p:spPr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Google Shape;1897;p192">
            <a:extLst>
              <a:ext uri="{FF2B5EF4-FFF2-40B4-BE49-F238E27FC236}">
                <a16:creationId xmlns:a16="http://schemas.microsoft.com/office/drawing/2014/main" id="{022955AF-8ED3-B494-C72A-27010428F4E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8839193" y="6356351"/>
            <a:ext cx="2743200" cy="365129"/>
          </a:xfrm>
        </p:spPr>
        <p:txBody>
          <a:bodyPr/>
          <a:lstStyle>
            <a:lvl1pPr>
              <a:defRPr/>
            </a:lvl1pPr>
          </a:lstStyle>
          <a:p>
            <a:pPr lvl="0"/>
            <a:fld id="{5A3C2E23-AED1-41AC-BC24-825A890ACF3A}" type="slidenum">
              <a:t>‹#›</a:t>
            </a:fld>
            <a:endParaRPr lang="en-US"/>
          </a:p>
        </p:txBody>
      </p:sp>
      <p:cxnSp>
        <p:nvCxnSpPr>
          <p:cNvPr id="11" name="Google Shape;1898;p192">
            <a:extLst>
              <a:ext uri="{FF2B5EF4-FFF2-40B4-BE49-F238E27FC236}">
                <a16:creationId xmlns:a16="http://schemas.microsoft.com/office/drawing/2014/main" id="{AA6CAD97-143A-9DE7-A0A2-1C52D02FCAFE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2" name="Google Shape;1899;p192">
            <a:extLst>
              <a:ext uri="{FF2B5EF4-FFF2-40B4-BE49-F238E27FC236}">
                <a16:creationId xmlns:a16="http://schemas.microsoft.com/office/drawing/2014/main" id="{CFF6E539-FB30-0009-C8C7-B78303311683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078771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901;p193">
            <a:extLst>
              <a:ext uri="{FF2B5EF4-FFF2-40B4-BE49-F238E27FC236}">
                <a16:creationId xmlns:a16="http://schemas.microsoft.com/office/drawing/2014/main" id="{A1180E1E-94FA-3573-DDD6-9BFD8561D210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902;p193">
              <a:extLst>
                <a:ext uri="{FF2B5EF4-FFF2-40B4-BE49-F238E27FC236}">
                  <a16:creationId xmlns:a16="http://schemas.microsoft.com/office/drawing/2014/main" id="{3F691A8C-02DD-1015-2D96-C7D2D5F79E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903;p193">
              <a:extLst>
                <a:ext uri="{FF2B5EF4-FFF2-40B4-BE49-F238E27FC236}">
                  <a16:creationId xmlns:a16="http://schemas.microsoft.com/office/drawing/2014/main" id="{BE5AE25C-5381-1E89-5D13-9406D6A6F3B3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904;p193">
                <a:extLst>
                  <a:ext uri="{FF2B5EF4-FFF2-40B4-BE49-F238E27FC236}">
                    <a16:creationId xmlns:a16="http://schemas.microsoft.com/office/drawing/2014/main" id="{C6A86311-E5C0-5127-BA6A-89AF39284CA6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905;p193">
                <a:extLst>
                  <a:ext uri="{FF2B5EF4-FFF2-40B4-BE49-F238E27FC236}">
                    <a16:creationId xmlns:a16="http://schemas.microsoft.com/office/drawing/2014/main" id="{3CFFA9FA-D227-FC64-C4E5-FCB6C8AF8487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906;p193">
            <a:extLst>
              <a:ext uri="{FF2B5EF4-FFF2-40B4-BE49-F238E27FC236}">
                <a16:creationId xmlns:a16="http://schemas.microsoft.com/office/drawing/2014/main" id="{9C6D0CA6-C2C5-FE7A-5252-004EC1894D03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907;p193">
            <a:extLst>
              <a:ext uri="{FF2B5EF4-FFF2-40B4-BE49-F238E27FC236}">
                <a16:creationId xmlns:a16="http://schemas.microsoft.com/office/drawing/2014/main" id="{E341E181-C42F-85B2-30D8-9AF4A338AB3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1681160"/>
            <a:ext cx="538797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9" name="Google Shape;1908;p193">
            <a:extLst>
              <a:ext uri="{FF2B5EF4-FFF2-40B4-BE49-F238E27FC236}">
                <a16:creationId xmlns:a16="http://schemas.microsoft.com/office/drawing/2014/main" id="{7D4FF237-58B0-9820-65AF-A374F96B100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09603" y="2505071"/>
            <a:ext cx="5387973" cy="3684583"/>
          </a:xfrm>
          <a:solidFill>
            <a:srgbClr val="F3F6FB"/>
          </a:solidFill>
        </p:spPr>
        <p:txBody>
          <a:bodyPr lIns="182870" tIns="0" rIns="182870" bIns="0">
            <a:normAutofit/>
          </a:bodyPr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0" name="Google Shape;1909;p193">
            <a:extLst>
              <a:ext uri="{FF2B5EF4-FFF2-40B4-BE49-F238E27FC236}">
                <a16:creationId xmlns:a16="http://schemas.microsoft.com/office/drawing/2014/main" id="{EA47445D-9A0F-C6AE-AF50-F724B1BFEFF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1681160"/>
            <a:ext cx="5410203" cy="823910"/>
          </a:xfrm>
          <a:solidFill>
            <a:srgbClr val="F3F6FB"/>
          </a:solidFill>
        </p:spPr>
        <p:txBody>
          <a:bodyPr lIns="182870" tIns="0" rIns="182870" bIns="0" anchor="ctr"/>
          <a:lstStyle>
            <a:lvl1pPr indent="-228600">
              <a:buNone/>
              <a:defRPr u="sng"/>
            </a:lvl1pPr>
          </a:lstStyle>
          <a:p>
            <a:pPr lvl="0"/>
            <a:endParaRPr lang="en-US"/>
          </a:p>
        </p:txBody>
      </p:sp>
      <p:sp>
        <p:nvSpPr>
          <p:cNvPr id="11" name="Google Shape;1910;p193">
            <a:extLst>
              <a:ext uri="{FF2B5EF4-FFF2-40B4-BE49-F238E27FC236}">
                <a16:creationId xmlns:a16="http://schemas.microsoft.com/office/drawing/2014/main" id="{ECCFB6A2-947C-7023-B2AD-1D338B04163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172200" y="2505071"/>
            <a:ext cx="5410203" cy="3684583"/>
          </a:xfrm>
          <a:solidFill>
            <a:srgbClr val="F3F6FB"/>
          </a:solidFill>
        </p:spPr>
        <p:txBody>
          <a:bodyPr lIns="182870" tIns="0" rIns="182870" bIns="0"/>
          <a:lstStyle>
            <a:lvl1pPr indent="-355601">
              <a:buSzPts val="2000"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12" name="Google Shape;1911;p193">
            <a:extLst>
              <a:ext uri="{FF2B5EF4-FFF2-40B4-BE49-F238E27FC236}">
                <a16:creationId xmlns:a16="http://schemas.microsoft.com/office/drawing/2014/main" id="{1E97E5E2-3CE7-2EC8-3703-621BDC6D5EA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3267606D-F624-4163-A4D0-ABB0C35C399C}" type="slidenum">
              <a:t>‹#›</a:t>
            </a:fld>
            <a:endParaRPr lang="en-US"/>
          </a:p>
        </p:txBody>
      </p:sp>
      <p:cxnSp>
        <p:nvCxnSpPr>
          <p:cNvPr id="13" name="Google Shape;1912;p193">
            <a:extLst>
              <a:ext uri="{FF2B5EF4-FFF2-40B4-BE49-F238E27FC236}">
                <a16:creationId xmlns:a16="http://schemas.microsoft.com/office/drawing/2014/main" id="{CACB52B3-9ABD-0D26-FF12-64E56F17A27D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4" name="Google Shape;1913;p193">
            <a:extLst>
              <a:ext uri="{FF2B5EF4-FFF2-40B4-BE49-F238E27FC236}">
                <a16:creationId xmlns:a16="http://schemas.microsoft.com/office/drawing/2014/main" id="{46D0E040-C571-3DE1-EFBD-6AB4EC9491C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6847687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915;p194">
            <a:extLst>
              <a:ext uri="{FF2B5EF4-FFF2-40B4-BE49-F238E27FC236}">
                <a16:creationId xmlns:a16="http://schemas.microsoft.com/office/drawing/2014/main" id="{E7132D65-44AC-5257-CFA0-B3C408EFD904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916;p194">
              <a:extLst>
                <a:ext uri="{FF2B5EF4-FFF2-40B4-BE49-F238E27FC236}">
                  <a16:creationId xmlns:a16="http://schemas.microsoft.com/office/drawing/2014/main" id="{D0468E31-124A-2FCE-F2C2-2C8C430CA65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917;p194">
              <a:extLst>
                <a:ext uri="{FF2B5EF4-FFF2-40B4-BE49-F238E27FC236}">
                  <a16:creationId xmlns:a16="http://schemas.microsoft.com/office/drawing/2014/main" id="{8AB190DF-EB23-AC30-AB97-23ECFFB4C076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918;p194">
                <a:extLst>
                  <a:ext uri="{FF2B5EF4-FFF2-40B4-BE49-F238E27FC236}">
                    <a16:creationId xmlns:a16="http://schemas.microsoft.com/office/drawing/2014/main" id="{9EE127CF-93BD-E1A5-90E8-B6EF801AE6A1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919;p194">
                <a:extLst>
                  <a:ext uri="{FF2B5EF4-FFF2-40B4-BE49-F238E27FC236}">
                    <a16:creationId xmlns:a16="http://schemas.microsoft.com/office/drawing/2014/main" id="{94DEA6D2-1367-2041-C9DB-0263D5241411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920;p194">
            <a:extLst>
              <a:ext uri="{FF2B5EF4-FFF2-40B4-BE49-F238E27FC236}">
                <a16:creationId xmlns:a16="http://schemas.microsoft.com/office/drawing/2014/main" id="{4D50CA1B-8CBC-2A0A-98E1-424EF3FBD5C6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921;p194">
            <a:extLst>
              <a:ext uri="{FF2B5EF4-FFF2-40B4-BE49-F238E27FC236}">
                <a16:creationId xmlns:a16="http://schemas.microsoft.com/office/drawing/2014/main" id="{BC62B5CB-C4BF-68D1-2773-19EEF90CECE7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DF148E26-79B3-49FC-8B71-9A62DE9793F0}" type="slidenum">
              <a:t>‹#›</a:t>
            </a:fld>
            <a:endParaRPr lang="en-US"/>
          </a:p>
        </p:txBody>
      </p:sp>
      <p:cxnSp>
        <p:nvCxnSpPr>
          <p:cNvPr id="9" name="Google Shape;1922;p194">
            <a:extLst>
              <a:ext uri="{FF2B5EF4-FFF2-40B4-BE49-F238E27FC236}">
                <a16:creationId xmlns:a16="http://schemas.microsoft.com/office/drawing/2014/main" id="{B4C68B16-9984-4CEF-CF3B-ACBF78687284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0" name="Google Shape;1923;p194">
            <a:extLst>
              <a:ext uri="{FF2B5EF4-FFF2-40B4-BE49-F238E27FC236}">
                <a16:creationId xmlns:a16="http://schemas.microsoft.com/office/drawing/2014/main" id="{9579CB34-75FF-2C87-946C-586B8971F805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793095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d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925;p195">
            <a:extLst>
              <a:ext uri="{FF2B5EF4-FFF2-40B4-BE49-F238E27FC236}">
                <a16:creationId xmlns:a16="http://schemas.microsoft.com/office/drawing/2014/main" id="{E40D674D-D56F-EAF9-7FFD-4DC1E0207EF7}"/>
              </a:ext>
            </a:extLst>
          </p:cNvPr>
          <p:cNvGrpSpPr/>
          <p:nvPr/>
        </p:nvGrpSpPr>
        <p:grpSpPr>
          <a:xfrm>
            <a:off x="0" y="0"/>
            <a:ext cx="12191996" cy="2148830"/>
            <a:chOff x="0" y="0"/>
            <a:chExt cx="12191996" cy="2148830"/>
          </a:xfrm>
        </p:grpSpPr>
        <p:sp>
          <p:nvSpPr>
            <p:cNvPr id="3" name="Google Shape;1926;p195">
              <a:extLst>
                <a:ext uri="{FF2B5EF4-FFF2-40B4-BE49-F238E27FC236}">
                  <a16:creationId xmlns:a16="http://schemas.microsoft.com/office/drawing/2014/main" id="{7C10E71C-2CA5-6127-2037-0894BF1F3B7F}"/>
                </a:ext>
              </a:extLst>
            </p:cNvPr>
            <p:cNvSpPr/>
            <p:nvPr/>
          </p:nvSpPr>
          <p:spPr>
            <a:xfrm flipH="1">
              <a:off x="0" y="0"/>
              <a:ext cx="12191996" cy="214883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2148830"/>
                <a:gd name="f5" fmla="val 2318293"/>
                <a:gd name="f6" fmla="val 2110341"/>
                <a:gd name="f7" fmla="val 1952334"/>
                <a:gd name="f8" fmla="val 920"/>
                <a:gd name="f9" fmla="val 1343499"/>
                <a:gd name="f10" fmla="val 23864"/>
                <a:gd name="f11" fmla="val 752130"/>
                <a:gd name="f12" fmla="val 152982"/>
                <a:gd name="f13" fmla="val 184205"/>
                <a:gd name="f14" fmla="val 435928"/>
                <a:gd name="f15" fmla="val 536864"/>
                <a:gd name="f16" fmla="val 554713"/>
                <a:gd name="f17" fmla="val 201115"/>
                <a:gd name="f18" fmla="val 452796"/>
                <a:gd name="f19" fmla="val 776357"/>
                <a:gd name="f20" fmla="val 187336"/>
                <a:gd name="f21" fmla="val 1349828"/>
                <a:gd name="f22" fmla="val 76760"/>
                <a:gd name="f23" fmla="val 1947588"/>
                <a:gd name="f24" fmla="val 66249"/>
                <a:gd name="f25" fmla="val 2962940"/>
                <a:gd name="f26" fmla="val 48421"/>
                <a:gd name="f27" fmla="val 3890218"/>
                <a:gd name="f28" fmla="val 291317"/>
                <a:gd name="f29" fmla="val 4778140"/>
                <a:gd name="f30" fmla="val 604018"/>
                <a:gd name="f31" fmla="val 7231510"/>
                <a:gd name="f32" fmla="val 1468126"/>
                <a:gd name="f33" fmla="val 9178927"/>
                <a:gd name="f34" fmla="val 2492024"/>
                <a:gd name="f35" fmla="val 11996242"/>
                <a:gd name="f36" fmla="val 2036894"/>
                <a:gd name="f37" fmla="val 2002266"/>
                <a:gd name="f38" fmla="val 1415250"/>
                <a:gd name="f39" fmla="val 12022971"/>
                <a:gd name="f40" fmla="val 1470801"/>
                <a:gd name="f41" fmla="val 10719696"/>
                <a:gd name="f42" fmla="val 1863939"/>
                <a:gd name="f43" fmla="val 9271154"/>
                <a:gd name="f44" fmla="val 1783804"/>
                <a:gd name="f45" fmla="val 7970940"/>
                <a:gd name="f46" fmla="val 1436986"/>
                <a:gd name="f47" fmla="val 6890984"/>
                <a:gd name="f48" fmla="val 1148958"/>
                <a:gd name="f49" fmla="val 5866930"/>
                <a:gd name="f50" fmla="val 767309"/>
                <a:gd name="f51" fmla="val 4800356"/>
                <a:gd name="f52" fmla="val 456582"/>
                <a:gd name="f53" fmla="val 4068903"/>
                <a:gd name="f54" fmla="val 243471"/>
                <a:gd name="f55" fmla="val 3348204"/>
                <a:gd name="f56" fmla="val 74251"/>
                <a:gd name="f57" fmla="val 2646880"/>
                <a:gd name="f58" fmla="val 17560"/>
                <a:gd name="f59" fmla="*/ f0 1 12192000"/>
                <a:gd name="f60" fmla="*/ f1 1 2148830"/>
                <a:gd name="f61" fmla="+- f4 0 f2"/>
                <a:gd name="f62" fmla="+- f3 0 f2"/>
                <a:gd name="f63" fmla="*/ f62 1 12192000"/>
                <a:gd name="f64" fmla="*/ f61 1 2148830"/>
                <a:gd name="f65" fmla="*/ f2 1 f63"/>
                <a:gd name="f66" fmla="*/ f3 1 f63"/>
                <a:gd name="f67" fmla="*/ f2 1 f64"/>
                <a:gd name="f68" fmla="*/ f4 1 f64"/>
                <a:gd name="f69" fmla="*/ f65 f59 1"/>
                <a:gd name="f70" fmla="*/ f66 f59 1"/>
                <a:gd name="f71" fmla="*/ f68 f60 1"/>
                <a:gd name="f72" fmla="*/ f67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9" t="f72" r="f70" b="f71"/>
              <a:pathLst>
                <a:path w="12192000" h="2148830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4" name="Google Shape;1927;p195">
              <a:extLst>
                <a:ext uri="{FF2B5EF4-FFF2-40B4-BE49-F238E27FC236}">
                  <a16:creationId xmlns:a16="http://schemas.microsoft.com/office/drawing/2014/main" id="{7EC1EAC6-2E85-498E-1A96-0AC2932BF27D}"/>
                </a:ext>
              </a:extLst>
            </p:cNvPr>
            <p:cNvSpPr/>
            <p:nvPr/>
          </p:nvSpPr>
          <p:spPr>
            <a:xfrm flipH="1">
              <a:off x="0" y="0"/>
              <a:ext cx="12191996" cy="19921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2000"/>
                <a:gd name="f4" fmla="val 1992138"/>
                <a:gd name="f5" fmla="val 2724271"/>
                <a:gd name="f6" fmla="val 1788442"/>
                <a:gd name="f7" fmla="val 1635403"/>
                <a:gd name="f8" fmla="val 12925"/>
                <a:gd name="f9" fmla="val 1134241"/>
                <a:gd name="f10" fmla="val 70905"/>
                <a:gd name="f11" fmla="val 647221"/>
                <a:gd name="f12" fmla="val 207817"/>
                <a:gd name="f13" fmla="val 178220"/>
                <a:gd name="f14" fmla="val 451207"/>
                <a:gd name="f15" fmla="val 552718"/>
                <a:gd name="f16" fmla="val 570885"/>
                <a:gd name="f17" fmla="val 195368"/>
                <a:gd name="f18" fmla="val 467800"/>
                <a:gd name="f19" fmla="val 765758"/>
                <a:gd name="f20" fmla="val 193094"/>
                <a:gd name="f21" fmla="val 1336955"/>
                <a:gd name="f22" fmla="val 73179"/>
                <a:gd name="f23" fmla="val 1934073"/>
                <a:gd name="f24" fmla="val 52850"/>
                <a:gd name="f25" fmla="val 2948304"/>
                <a:gd name="f26" fmla="val 18310"/>
                <a:gd name="f27" fmla="val 3878878"/>
                <a:gd name="f28" fmla="val 245747"/>
                <a:gd name="f29" fmla="val 4771217"/>
                <a:gd name="f30" fmla="val 543645"/>
                <a:gd name="f31" fmla="val 7236913"/>
                <a:gd name="f32" fmla="val 1366709"/>
                <a:gd name="f33" fmla="val 9199689"/>
                <a:gd name="f34" fmla="val 2357774"/>
                <a:gd name="f35" fmla="val 12007222"/>
                <a:gd name="f36" fmla="val 1856729"/>
                <a:gd name="f37" fmla="val 1820900"/>
                <a:gd name="f38" fmla="val 897073"/>
                <a:gd name="f39" fmla="val 12062517"/>
                <a:gd name="f40" fmla="val 950128"/>
                <a:gd name="f41" fmla="val 10950292"/>
                <a:gd name="f42" fmla="val 1376478"/>
                <a:gd name="f43" fmla="val 9595706"/>
                <a:gd name="f44" fmla="val 1466451"/>
                <a:gd name="f45" fmla="val 8435105"/>
                <a:gd name="f46" fmla="val 1266613"/>
                <a:gd name="f47" fmla="val 6618389"/>
                <a:gd name="f48" fmla="val 953715"/>
                <a:gd name="f49" fmla="val 4735222"/>
                <a:gd name="f50" fmla="val 130088"/>
                <a:gd name="f51" fmla="val 2948502"/>
                <a:gd name="f52" fmla="val 20548"/>
                <a:gd name="f53" fmla="*/ f0 1 12192000"/>
                <a:gd name="f54" fmla="*/ f1 1 1992138"/>
                <a:gd name="f55" fmla="+- f4 0 f2"/>
                <a:gd name="f56" fmla="+- f3 0 f2"/>
                <a:gd name="f57" fmla="*/ f56 1 12192000"/>
                <a:gd name="f58" fmla="*/ f55 1 1992138"/>
                <a:gd name="f59" fmla="*/ f2 1 f57"/>
                <a:gd name="f60" fmla="*/ f3 1 f57"/>
                <a:gd name="f61" fmla="*/ f2 1 f58"/>
                <a:gd name="f62" fmla="*/ f4 1 f58"/>
                <a:gd name="f63" fmla="*/ f59 f53 1"/>
                <a:gd name="f64" fmla="*/ f60 f53 1"/>
                <a:gd name="f65" fmla="*/ f62 f54 1"/>
                <a:gd name="f66" fmla="*/ f61 f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63" t="f66" r="f64" b="f65"/>
              <a:pathLst>
                <a:path w="12192000" h="1992138">
                  <a:moveTo>
                    <a:pt x="f5" y="f2"/>
                  </a:moveTo>
                  <a:lnTo>
                    <a:pt x="f6" y="f2"/>
                  </a:lnTo>
                  <a:lnTo>
                    <a:pt x="f7" y="f8"/>
                  </a:lnTo>
                  <a:cubicBezTo>
                    <a:pt x="f9" y="f10"/>
                    <a:pt x="f11" y="f12"/>
                    <a:pt x="f13" y="f14"/>
                  </a:cubicBezTo>
                  <a:lnTo>
                    <a:pt x="f2" y="f15"/>
                  </a:lnTo>
                  <a:lnTo>
                    <a:pt x="f2" y="f16"/>
                  </a:lnTo>
                  <a:lnTo>
                    <a:pt x="f17" y="f18"/>
                  </a:ln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" y="f37"/>
                  </a:lnTo>
                  <a:lnTo>
                    <a:pt x="f3" y="f38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lose/>
                </a:path>
              </a:pathLst>
            </a:custGeom>
            <a:solidFill>
              <a:srgbClr val="00498F"/>
            </a:solidFill>
            <a:ln cap="flat">
              <a:noFill/>
              <a:prstDash val="solid"/>
            </a:ln>
          </p:spPr>
          <p:txBody>
            <a:bodyPr vert="horz" wrap="square" lIns="91421" tIns="45701" rIns="91421" bIns="4570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  <a:ea typeface="Calibri"/>
                <a:cs typeface="Calibri"/>
              </a:endParaRPr>
            </a:p>
          </p:txBody>
        </p:sp>
      </p:grpSp>
      <p:sp>
        <p:nvSpPr>
          <p:cNvPr id="5" name="Google Shape;1928;p195">
            <a:extLst>
              <a:ext uri="{FF2B5EF4-FFF2-40B4-BE49-F238E27FC236}">
                <a16:creationId xmlns:a16="http://schemas.microsoft.com/office/drawing/2014/main" id="{489E1857-A28C-DAA3-8887-E6BAE303214D}"/>
              </a:ext>
            </a:extLst>
          </p:cNvPr>
          <p:cNvSpPr/>
          <p:nvPr/>
        </p:nvSpPr>
        <p:spPr>
          <a:xfrm>
            <a:off x="902366" y="1517693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6" name="Google Shape;1929;p195">
            <a:extLst>
              <a:ext uri="{FF2B5EF4-FFF2-40B4-BE49-F238E27FC236}">
                <a16:creationId xmlns:a16="http://schemas.microsoft.com/office/drawing/2014/main" id="{5E3FDB0C-F887-FC97-3C77-F53125BAB49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219196" y="3429000"/>
            <a:ext cx="5582649" cy="1413561"/>
          </a:xfrm>
        </p:spPr>
        <p:txBody>
          <a:bodyPr/>
          <a:lstStyle>
            <a:lvl1pPr indent="-228600">
              <a:buNone/>
              <a:defRPr sz="2000"/>
            </a:lvl1pPr>
          </a:lstStyle>
          <a:p>
            <a:pPr lvl="0"/>
            <a:endParaRPr lang="en-US"/>
          </a:p>
        </p:txBody>
      </p:sp>
      <p:sp>
        <p:nvSpPr>
          <p:cNvPr id="7" name="Google Shape;1930;p195">
            <a:extLst>
              <a:ext uri="{FF2B5EF4-FFF2-40B4-BE49-F238E27FC236}">
                <a16:creationId xmlns:a16="http://schemas.microsoft.com/office/drawing/2014/main" id="{DCD696E3-0F16-7F15-4ECE-D7383365837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19196" y="1887486"/>
            <a:ext cx="5582649" cy="1078260"/>
          </a:xfrm>
        </p:spPr>
        <p:txBody>
          <a:bodyPr/>
          <a:lstStyle>
            <a:lvl1pPr>
              <a:defRPr sz="6000"/>
            </a:lvl1pPr>
          </a:lstStyle>
          <a:p>
            <a:pPr lvl="0"/>
            <a:endParaRPr lang="en-US"/>
          </a:p>
        </p:txBody>
      </p:sp>
      <p:pic>
        <p:nvPicPr>
          <p:cNvPr id="8" name="Google Shape;1931;p195">
            <a:extLst>
              <a:ext uri="{FF2B5EF4-FFF2-40B4-BE49-F238E27FC236}">
                <a16:creationId xmlns:a16="http://schemas.microsoft.com/office/drawing/2014/main" id="{5CD4DFE6-C3E0-EE6E-70F3-D472520D40D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902366" y="228371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19586775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934;p196">
            <a:extLst>
              <a:ext uri="{FF2B5EF4-FFF2-40B4-BE49-F238E27FC236}">
                <a16:creationId xmlns:a16="http://schemas.microsoft.com/office/drawing/2014/main" id="{618F83CA-820E-D217-077E-ED240AF8A99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FE8E8482-F4AB-4CAB-9C74-F6DC602FD9AD}" type="slidenum">
              <a:t>‹#›</a:t>
            </a:fld>
            <a:endParaRPr lang="en-US"/>
          </a:p>
        </p:txBody>
      </p:sp>
      <p:cxnSp>
        <p:nvCxnSpPr>
          <p:cNvPr id="3" name="Google Shape;1935;p196">
            <a:extLst>
              <a:ext uri="{FF2B5EF4-FFF2-40B4-BE49-F238E27FC236}">
                <a16:creationId xmlns:a16="http://schemas.microsoft.com/office/drawing/2014/main" id="{D8B4CB08-4D35-7B82-2DCB-3612F1DBF3D5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4" name="Google Shape;1936;p196">
            <a:extLst>
              <a:ext uri="{FF2B5EF4-FFF2-40B4-BE49-F238E27FC236}">
                <a16:creationId xmlns:a16="http://schemas.microsoft.com/office/drawing/2014/main" id="{25654DB9-015E-63E1-AA20-105D5F8B5531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5" name="Google Shape;1937;p196">
            <a:extLst>
              <a:ext uri="{FF2B5EF4-FFF2-40B4-BE49-F238E27FC236}">
                <a16:creationId xmlns:a16="http://schemas.microsoft.com/office/drawing/2014/main" id="{FE09EA4D-E91A-C636-F14D-4474081E2378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6" name="Google Shape;1938;p196">
              <a:extLst>
                <a:ext uri="{FF2B5EF4-FFF2-40B4-BE49-F238E27FC236}">
                  <a16:creationId xmlns:a16="http://schemas.microsoft.com/office/drawing/2014/main" id="{FB7BFACE-C5FF-1E32-C7DA-2D63A8436BC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7" name="Google Shape;1939;p196">
              <a:extLst>
                <a:ext uri="{FF2B5EF4-FFF2-40B4-BE49-F238E27FC236}">
                  <a16:creationId xmlns:a16="http://schemas.microsoft.com/office/drawing/2014/main" id="{C52ED0FD-BE01-228B-CD00-4F5E9138B705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8" name="Google Shape;1940;p196">
                <a:extLst>
                  <a:ext uri="{FF2B5EF4-FFF2-40B4-BE49-F238E27FC236}">
                    <a16:creationId xmlns:a16="http://schemas.microsoft.com/office/drawing/2014/main" id="{1B5190DA-0925-7EAE-46F8-836BF5B6AE71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9" name="Google Shape;1941;p196">
                <a:extLst>
                  <a:ext uri="{FF2B5EF4-FFF2-40B4-BE49-F238E27FC236}">
                    <a16:creationId xmlns:a16="http://schemas.microsoft.com/office/drawing/2014/main" id="{E48E5266-B514-76C9-A0B3-C21C9971CBE2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06299684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943;p197">
            <a:extLst>
              <a:ext uri="{FF2B5EF4-FFF2-40B4-BE49-F238E27FC236}">
                <a16:creationId xmlns:a16="http://schemas.microsoft.com/office/drawing/2014/main" id="{BE4A1702-21F3-7B15-FCE8-96A645201D86}"/>
              </a:ext>
            </a:extLst>
          </p:cNvPr>
          <p:cNvSpPr/>
          <p:nvPr/>
        </p:nvSpPr>
        <p:spPr>
          <a:xfrm>
            <a:off x="0" y="0"/>
            <a:ext cx="12191996" cy="6858000"/>
          </a:xfrm>
          <a:custGeom>
            <a:avLst/>
            <a:gdLst>
              <a:gd name="f0" fmla="val w"/>
              <a:gd name="f1" fmla="val h"/>
              <a:gd name="f2" fmla="val 0"/>
              <a:gd name="f3" fmla="val 12192000"/>
              <a:gd name="f4" fmla="val 6858000"/>
              <a:gd name="f5" fmla="*/ f0 1 12192000"/>
              <a:gd name="f6" fmla="*/ f1 1 6858000"/>
              <a:gd name="f7" fmla="+- f4 0 f2"/>
              <a:gd name="f8" fmla="+- f3 0 f2"/>
              <a:gd name="f9" fmla="*/ f8 1 12192000"/>
              <a:gd name="f10" fmla="*/ f7 1 6858000"/>
              <a:gd name="f11" fmla="*/ f2 1 f9"/>
              <a:gd name="f12" fmla="*/ f3 1 f9"/>
              <a:gd name="f13" fmla="*/ f2 1 f10"/>
              <a:gd name="f14" fmla="*/ f4 1 f10"/>
              <a:gd name="f15" fmla="*/ f11 f5 1"/>
              <a:gd name="f16" fmla="*/ f12 f5 1"/>
              <a:gd name="f17" fmla="*/ f14 f6 1"/>
              <a:gd name="f18" fmla="*/ f13 f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5" t="f18" r="f16" b="f17"/>
            <a:pathLst>
              <a:path w="12192000" h="6858000">
                <a:moveTo>
                  <a:pt x="f3" y="f2"/>
                </a:moveTo>
                <a:lnTo>
                  <a:pt x="f2" y="f2"/>
                </a:lnTo>
                <a:lnTo>
                  <a:pt x="f2" y="f4"/>
                </a:lnTo>
                <a:lnTo>
                  <a:pt x="f3" y="f4"/>
                </a:lnTo>
                <a:lnTo>
                  <a:pt x="f3" y="f2"/>
                </a:lnTo>
                <a:close/>
              </a:path>
            </a:pathLst>
          </a:custGeom>
          <a:solidFill>
            <a:srgbClr val="F3F6FA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444C55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944;p197">
            <a:extLst>
              <a:ext uri="{FF2B5EF4-FFF2-40B4-BE49-F238E27FC236}">
                <a16:creationId xmlns:a16="http://schemas.microsoft.com/office/drawing/2014/main" id="{66D5B0CD-2CD8-428E-AEE1-6077F76A5AEA}"/>
              </a:ext>
            </a:extLst>
          </p:cNvPr>
          <p:cNvSpPr/>
          <p:nvPr/>
        </p:nvSpPr>
        <p:spPr>
          <a:xfrm>
            <a:off x="0" y="5100852"/>
            <a:ext cx="7111361" cy="1757677"/>
          </a:xfrm>
          <a:custGeom>
            <a:avLst/>
            <a:gdLst>
              <a:gd name="f0" fmla="val w"/>
              <a:gd name="f1" fmla="val h"/>
              <a:gd name="f2" fmla="val 0"/>
              <a:gd name="f3" fmla="val 7111365"/>
              <a:gd name="f4" fmla="val 1757679"/>
              <a:gd name="f5" fmla="val 612238"/>
              <a:gd name="f6" fmla="val 72"/>
              <a:gd name="f7" fmla="val 558414"/>
              <a:gd name="f8" fmla="val 504455"/>
              <a:gd name="f9" fmla="val 346"/>
              <a:gd name="f10" fmla="val 450360"/>
              <a:gd name="f11" fmla="val 1116"/>
              <a:gd name="f12" fmla="val 396127"/>
              <a:gd name="f13" fmla="val 2315"/>
              <a:gd name="f14" fmla="val 341757"/>
              <a:gd name="f15" fmla="val 3949"/>
              <a:gd name="f16" fmla="val 292962"/>
              <a:gd name="f17" fmla="val 5809"/>
              <a:gd name="f18" fmla="val 244267"/>
              <a:gd name="f19" fmla="val 8061"/>
              <a:gd name="f20" fmla="val 195669"/>
              <a:gd name="f21" fmla="val 10711"/>
              <a:gd name="f22" fmla="val 147165"/>
              <a:gd name="f23" fmla="val 13764"/>
              <a:gd name="f24" fmla="val 98753"/>
              <a:gd name="f25" fmla="val 17223"/>
              <a:gd name="f26" fmla="val 50431"/>
              <a:gd name="f27" fmla="val 21096"/>
              <a:gd name="f28" fmla="val 25666"/>
              <a:gd name="f29" fmla="val 1757146"/>
              <a:gd name="f30" fmla="val 7110983"/>
              <a:gd name="f31" fmla="val 6700405"/>
              <a:gd name="f32" fmla="val 1636344"/>
              <a:gd name="f33" fmla="val 6607186"/>
              <a:gd name="f34" fmla="val 1607300"/>
              <a:gd name="f35" fmla="val 6467358"/>
              <a:gd name="f36" fmla="val 1562910"/>
              <a:gd name="f37" fmla="val 6327483"/>
              <a:gd name="f38" fmla="val 1517588"/>
              <a:gd name="f39" fmla="val 6187509"/>
              <a:gd name="f40" fmla="val 1471399"/>
              <a:gd name="f41" fmla="val 6000630"/>
              <a:gd name="f42" fmla="val 1408578"/>
              <a:gd name="f43" fmla="val 5766459"/>
              <a:gd name="f44" fmla="val 1328280"/>
              <a:gd name="f45" fmla="val 5484294"/>
              <a:gd name="f46" fmla="val 1229723"/>
              <a:gd name="f47" fmla="val 4285873"/>
              <a:gd name="f48" fmla="val 804446"/>
              <a:gd name="f49" fmla="val 3990553"/>
              <a:gd name="f50" fmla="val 701631"/>
              <a:gd name="f51" fmla="val 3741532"/>
              <a:gd name="f52" fmla="val 616526"/>
              <a:gd name="f53" fmla="val 3543643"/>
              <a:gd name="f54" fmla="val 550199"/>
              <a:gd name="f55" fmla="val 3449272"/>
              <a:gd name="f56" fmla="val 519263"/>
              <a:gd name="f57" fmla="val 3354639"/>
              <a:gd name="f58" fmla="val 488840"/>
              <a:gd name="f59" fmla="val 3259736"/>
              <a:gd name="f60" fmla="val 458969"/>
              <a:gd name="f61" fmla="val 3164554"/>
              <a:gd name="f62" fmla="val 429687"/>
              <a:gd name="f63" fmla="val 3069083"/>
              <a:gd name="f64" fmla="val 401033"/>
              <a:gd name="f65" fmla="val 2973315"/>
              <a:gd name="f66" fmla="val 373045"/>
              <a:gd name="f67" fmla="val 2877241"/>
              <a:gd name="f68" fmla="val 345760"/>
              <a:gd name="f69" fmla="val 2780851"/>
              <a:gd name="f70" fmla="val 319217"/>
              <a:gd name="f71" fmla="val 2684137"/>
              <a:gd name="f72" fmla="val 293454"/>
              <a:gd name="f73" fmla="val 2587089"/>
              <a:gd name="f74" fmla="val 268509"/>
              <a:gd name="f75" fmla="val 2489699"/>
              <a:gd name="f76" fmla="val 244419"/>
              <a:gd name="f77" fmla="val 2391957"/>
              <a:gd name="f78" fmla="val 221224"/>
              <a:gd name="f79" fmla="val 2293855"/>
              <a:gd name="f80" fmla="val 198961"/>
              <a:gd name="f81" fmla="val 2244665"/>
              <a:gd name="f82" fmla="val 188191"/>
              <a:gd name="f83" fmla="val 2195383"/>
              <a:gd name="f84" fmla="val 177668"/>
              <a:gd name="f85" fmla="val 2146005"/>
              <a:gd name="f86" fmla="val 167398"/>
              <a:gd name="f87" fmla="val 2096532"/>
              <a:gd name="f88" fmla="val 157384"/>
              <a:gd name="f89" fmla="val 2046962"/>
              <a:gd name="f90" fmla="val 147632"/>
              <a:gd name="f91" fmla="val 1997294"/>
              <a:gd name="f92" fmla="val 138146"/>
              <a:gd name="f93" fmla="val 1947526"/>
              <a:gd name="f94" fmla="val 128931"/>
              <a:gd name="f95" fmla="val 1897659"/>
              <a:gd name="f96" fmla="val 119992"/>
              <a:gd name="f97" fmla="val 1847690"/>
              <a:gd name="f98" fmla="val 111333"/>
              <a:gd name="f99" fmla="val 1797618"/>
              <a:gd name="f100" fmla="val 102960"/>
              <a:gd name="f101" fmla="val 1747443"/>
              <a:gd name="f102" fmla="val 94877"/>
              <a:gd name="f103" fmla="val 1697163"/>
              <a:gd name="f104" fmla="val 87089"/>
              <a:gd name="f105" fmla="val 1646777"/>
              <a:gd name="f106" fmla="val 79601"/>
              <a:gd name="f107" fmla="val 1596283"/>
              <a:gd name="f108" fmla="val 72417"/>
              <a:gd name="f109" fmla="val 1545682"/>
              <a:gd name="f110" fmla="val 65542"/>
              <a:gd name="f111" fmla="val 1494971"/>
              <a:gd name="f112" fmla="val 58981"/>
              <a:gd name="f113" fmla="val 1444150"/>
              <a:gd name="f114" fmla="val 52739"/>
              <a:gd name="f115" fmla="val 1393217"/>
              <a:gd name="f116" fmla="val 46821"/>
              <a:gd name="f117" fmla="val 1342172"/>
              <a:gd name="f118" fmla="val 41230"/>
              <a:gd name="f119" fmla="val 1291013"/>
              <a:gd name="f120" fmla="val 35972"/>
              <a:gd name="f121" fmla="val 1239738"/>
              <a:gd name="f122" fmla="val 31052"/>
              <a:gd name="f123" fmla="val 1188348"/>
              <a:gd name="f124" fmla="val 26475"/>
              <a:gd name="f125" fmla="val 1136840"/>
              <a:gd name="f126" fmla="val 22245"/>
              <a:gd name="f127" fmla="val 1085214"/>
              <a:gd name="f128" fmla="val 18367"/>
              <a:gd name="f129" fmla="val 1033469"/>
              <a:gd name="f130" fmla="val 14845"/>
              <a:gd name="f131" fmla="val 981602"/>
              <a:gd name="f132" fmla="val 11685"/>
              <a:gd name="f133" fmla="val 929614"/>
              <a:gd name="f134" fmla="val 8891"/>
              <a:gd name="f135" fmla="val 877504"/>
              <a:gd name="f136" fmla="val 6469"/>
              <a:gd name="f137" fmla="val 825269"/>
              <a:gd name="f138" fmla="val 4422"/>
              <a:gd name="f139" fmla="val 772909"/>
              <a:gd name="f140" fmla="val 2755"/>
              <a:gd name="f141" fmla="val 719484"/>
              <a:gd name="f142" fmla="val 1455"/>
              <a:gd name="f143" fmla="val 665927"/>
              <a:gd name="f144" fmla="val 559"/>
              <a:gd name="f145" fmla="*/ f0 1 7111365"/>
              <a:gd name="f146" fmla="*/ f1 1 1757679"/>
              <a:gd name="f147" fmla="+- f4 0 f2"/>
              <a:gd name="f148" fmla="+- f3 0 f2"/>
              <a:gd name="f149" fmla="*/ f148 1 7111365"/>
              <a:gd name="f150" fmla="*/ f147 1 1757679"/>
              <a:gd name="f151" fmla="*/ f2 1 f149"/>
              <a:gd name="f152" fmla="*/ f3 1 f149"/>
              <a:gd name="f153" fmla="*/ f2 1 f150"/>
              <a:gd name="f154" fmla="*/ f4 1 f150"/>
              <a:gd name="f155" fmla="*/ f151 f145 1"/>
              <a:gd name="f156" fmla="*/ f152 f145 1"/>
              <a:gd name="f157" fmla="*/ f154 f146 1"/>
              <a:gd name="f158" fmla="*/ f153 f14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55" t="f158" r="f156" b="f157"/>
            <a:pathLst>
              <a:path w="7111365" h="1757679">
                <a:moveTo>
                  <a:pt x="f5" y="f6"/>
                </a:moveTo>
                <a:lnTo>
                  <a:pt x="f7" y="f2"/>
                </a:lnTo>
                <a:lnTo>
                  <a:pt x="f8" y="f9"/>
                </a:lnTo>
                <a:lnTo>
                  <a:pt x="f10" y="f11"/>
                </a:lnTo>
                <a:lnTo>
                  <a:pt x="f12" y="f13"/>
                </a:lnTo>
                <a:lnTo>
                  <a:pt x="f14" y="f15"/>
                </a:lnTo>
                <a:lnTo>
                  <a:pt x="f16" y="f17"/>
                </a:lnTo>
                <a:lnTo>
                  <a:pt x="f18" y="f19"/>
                </a:lnTo>
                <a:lnTo>
                  <a:pt x="f20" y="f21"/>
                </a:lnTo>
                <a:lnTo>
                  <a:pt x="f22" y="f23"/>
                </a:lnTo>
                <a:lnTo>
                  <a:pt x="f24" y="f25"/>
                </a:lnTo>
                <a:lnTo>
                  <a:pt x="f26" y="f27"/>
                </a:lnTo>
                <a:lnTo>
                  <a:pt x="f2" y="f28"/>
                </a:lnTo>
                <a:lnTo>
                  <a:pt x="f2" y="f29"/>
                </a:lnTo>
                <a:lnTo>
                  <a:pt x="f30" y="f29"/>
                </a:lnTo>
                <a:lnTo>
                  <a:pt x="f31" y="f32"/>
                </a:lnTo>
                <a:lnTo>
                  <a:pt x="f33" y="f34"/>
                </a:lnTo>
                <a:lnTo>
                  <a:pt x="f35" y="f36"/>
                </a:lnTo>
                <a:lnTo>
                  <a:pt x="f37" y="f38"/>
                </a:lnTo>
                <a:lnTo>
                  <a:pt x="f39" y="f40"/>
                </a:lnTo>
                <a:lnTo>
                  <a:pt x="f41" y="f42"/>
                </a:lnTo>
                <a:lnTo>
                  <a:pt x="f43" y="f44"/>
                </a:lnTo>
                <a:lnTo>
                  <a:pt x="f45" y="f46"/>
                </a:lnTo>
                <a:lnTo>
                  <a:pt x="f47" y="f48"/>
                </a:lnTo>
                <a:lnTo>
                  <a:pt x="f49" y="f50"/>
                </a:lnTo>
                <a:lnTo>
                  <a:pt x="f51" y="f52"/>
                </a:lnTo>
                <a:lnTo>
                  <a:pt x="f53" y="f54"/>
                </a:lnTo>
                <a:lnTo>
                  <a:pt x="f55" y="f56"/>
                </a:lnTo>
                <a:lnTo>
                  <a:pt x="f57" y="f58"/>
                </a:lnTo>
                <a:lnTo>
                  <a:pt x="f59" y="f60"/>
                </a:lnTo>
                <a:lnTo>
                  <a:pt x="f61" y="f62"/>
                </a:lnTo>
                <a:lnTo>
                  <a:pt x="f63" y="f64"/>
                </a:lnTo>
                <a:lnTo>
                  <a:pt x="f65" y="f66"/>
                </a:lnTo>
                <a:lnTo>
                  <a:pt x="f67" y="f68"/>
                </a:lnTo>
                <a:lnTo>
                  <a:pt x="f69" y="f70"/>
                </a:lnTo>
                <a:lnTo>
                  <a:pt x="f71" y="f72"/>
                </a:lnTo>
                <a:lnTo>
                  <a:pt x="f73" y="f74"/>
                </a:lnTo>
                <a:lnTo>
                  <a:pt x="f75" y="f76"/>
                </a:lnTo>
                <a:lnTo>
                  <a:pt x="f77" y="f78"/>
                </a:lnTo>
                <a:lnTo>
                  <a:pt x="f79" y="f80"/>
                </a:lnTo>
                <a:lnTo>
                  <a:pt x="f81" y="f82"/>
                </a:lnTo>
                <a:lnTo>
                  <a:pt x="f83" y="f84"/>
                </a:lnTo>
                <a:lnTo>
                  <a:pt x="f85" y="f86"/>
                </a:lnTo>
                <a:lnTo>
                  <a:pt x="f87" y="f88"/>
                </a:lnTo>
                <a:lnTo>
                  <a:pt x="f89" y="f90"/>
                </a:lnTo>
                <a:lnTo>
                  <a:pt x="f91" y="f92"/>
                </a:lnTo>
                <a:lnTo>
                  <a:pt x="f93" y="f94"/>
                </a:lnTo>
                <a:lnTo>
                  <a:pt x="f95" y="f96"/>
                </a:lnTo>
                <a:lnTo>
                  <a:pt x="f97" y="f98"/>
                </a:lnTo>
                <a:lnTo>
                  <a:pt x="f99" y="f100"/>
                </a:lnTo>
                <a:lnTo>
                  <a:pt x="f101" y="f102"/>
                </a:lnTo>
                <a:lnTo>
                  <a:pt x="f103" y="f104"/>
                </a:lnTo>
                <a:lnTo>
                  <a:pt x="f105" y="f106"/>
                </a:lnTo>
                <a:lnTo>
                  <a:pt x="f107" y="f108"/>
                </a:lnTo>
                <a:lnTo>
                  <a:pt x="f109" y="f110"/>
                </a:lnTo>
                <a:lnTo>
                  <a:pt x="f111" y="f112"/>
                </a:lnTo>
                <a:lnTo>
                  <a:pt x="f113" y="f114"/>
                </a:lnTo>
                <a:lnTo>
                  <a:pt x="f115" y="f116"/>
                </a:lnTo>
                <a:lnTo>
                  <a:pt x="f117" y="f118"/>
                </a:lnTo>
                <a:lnTo>
                  <a:pt x="f119" y="f120"/>
                </a:lnTo>
                <a:lnTo>
                  <a:pt x="f121" y="f122"/>
                </a:lnTo>
                <a:lnTo>
                  <a:pt x="f123" y="f124"/>
                </a:lnTo>
                <a:lnTo>
                  <a:pt x="f125" y="f126"/>
                </a:lnTo>
                <a:lnTo>
                  <a:pt x="f127" y="f128"/>
                </a:lnTo>
                <a:lnTo>
                  <a:pt x="f129" y="f130"/>
                </a:lnTo>
                <a:lnTo>
                  <a:pt x="f131" y="f132"/>
                </a:lnTo>
                <a:lnTo>
                  <a:pt x="f133" y="f134"/>
                </a:lnTo>
                <a:lnTo>
                  <a:pt x="f135" y="f136"/>
                </a:lnTo>
                <a:lnTo>
                  <a:pt x="f137" y="f138"/>
                </a:lnTo>
                <a:lnTo>
                  <a:pt x="f139" y="f140"/>
                </a:lnTo>
                <a:lnTo>
                  <a:pt x="f141" y="f142"/>
                </a:lnTo>
                <a:lnTo>
                  <a:pt x="f143" y="f144"/>
                </a:lnTo>
                <a:lnTo>
                  <a:pt x="f5" y="f6"/>
                </a:lnTo>
                <a:close/>
              </a:path>
            </a:pathLst>
          </a:custGeom>
          <a:solidFill>
            <a:srgbClr val="FFFFFF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444C55"/>
              </a:solidFill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4" name="Google Shape;1945;p197">
            <a:extLst>
              <a:ext uri="{FF2B5EF4-FFF2-40B4-BE49-F238E27FC236}">
                <a16:creationId xmlns:a16="http://schemas.microsoft.com/office/drawing/2014/main" id="{5DED0A05-97B0-2710-77F1-6B61FF50242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/>
          <a:stretch>
            <a:fillRect/>
          </a:stretch>
        </p:blipFill>
        <p:spPr>
          <a:xfrm>
            <a:off x="0" y="5041901"/>
            <a:ext cx="12191996" cy="181609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5" name="Google Shape;1946;p197">
            <a:extLst>
              <a:ext uri="{FF2B5EF4-FFF2-40B4-BE49-F238E27FC236}">
                <a16:creationId xmlns:a16="http://schemas.microsoft.com/office/drawing/2014/main" id="{84680C05-C98B-326F-0DD9-72AECB4234E1}"/>
              </a:ext>
            </a:extLst>
          </p:cNvPr>
          <p:cNvSpPr/>
          <p:nvPr/>
        </p:nvSpPr>
        <p:spPr>
          <a:xfrm>
            <a:off x="0" y="5020056"/>
            <a:ext cx="12191996" cy="1838328"/>
          </a:xfrm>
          <a:custGeom>
            <a:avLst/>
            <a:gdLst>
              <a:gd name="f0" fmla="val w"/>
              <a:gd name="f1" fmla="val h"/>
              <a:gd name="f2" fmla="val 0"/>
              <a:gd name="f3" fmla="val 12192000"/>
              <a:gd name="f4" fmla="val 1838325"/>
              <a:gd name="f5" fmla="val 682693"/>
              <a:gd name="f6" fmla="val 631977"/>
              <a:gd name="f7" fmla="val 191"/>
              <a:gd name="f8" fmla="val 584149"/>
              <a:gd name="f9" fmla="val 737"/>
              <a:gd name="f10" fmla="val 536385"/>
              <a:gd name="f11" fmla="val 1641"/>
              <a:gd name="f12" fmla="val 488688"/>
              <a:gd name="f13" fmla="val 2908"/>
              <a:gd name="f14" fmla="val 441056"/>
              <a:gd name="f15" fmla="val 4541"/>
              <a:gd name="f16" fmla="val 393493"/>
              <a:gd name="f17" fmla="val 6547"/>
              <a:gd name="f18" fmla="val 345998"/>
              <a:gd name="f19" fmla="val 8929"/>
              <a:gd name="f20" fmla="val 38164"/>
              <a:gd name="f21" fmla="val 105627"/>
              <a:gd name="f22" fmla="val 50435"/>
              <a:gd name="f23" fmla="val 101057"/>
              <a:gd name="f24" fmla="val 98761"/>
              <a:gd name="f25" fmla="val 97184"/>
              <a:gd name="f26" fmla="val 147175"/>
              <a:gd name="f27" fmla="val 93724"/>
              <a:gd name="f28" fmla="val 195680"/>
              <a:gd name="f29" fmla="val 90672"/>
              <a:gd name="f30" fmla="val 244280"/>
              <a:gd name="f31" fmla="val 88022"/>
              <a:gd name="f32" fmla="val 292975"/>
              <a:gd name="f33" fmla="val 85770"/>
              <a:gd name="f34" fmla="val 341769"/>
              <a:gd name="f35" fmla="val 83910"/>
              <a:gd name="f36" fmla="val 394500"/>
              <a:gd name="f37" fmla="val 82318"/>
              <a:gd name="f38" fmla="val 447099"/>
              <a:gd name="f39" fmla="val 81134"/>
              <a:gd name="f40" fmla="val 499569"/>
              <a:gd name="f41" fmla="val 80355"/>
              <a:gd name="f42" fmla="val 551910"/>
              <a:gd name="f43" fmla="val 79975"/>
              <a:gd name="f44" fmla="val 604123"/>
              <a:gd name="f45" fmla="val 79990"/>
              <a:gd name="f46" fmla="val 656210"/>
              <a:gd name="f47" fmla="val 80395"/>
              <a:gd name="f48" fmla="val 708172"/>
              <a:gd name="f49" fmla="val 81187"/>
              <a:gd name="f50" fmla="val 760009"/>
              <a:gd name="f51" fmla="val 82360"/>
              <a:gd name="f52" fmla="val 811723"/>
              <a:gd name="f53" fmla="val 83909"/>
              <a:gd name="f54" fmla="val 863315"/>
              <a:gd name="f55" fmla="val 85830"/>
              <a:gd name="f56" fmla="val 914785"/>
              <a:gd name="f57" fmla="val 88119"/>
              <a:gd name="f58" fmla="val 966136"/>
              <a:gd name="f59" fmla="val 90771"/>
              <a:gd name="f60" fmla="val 1017368"/>
              <a:gd name="f61" fmla="val 93782"/>
              <a:gd name="f62" fmla="val 1068481"/>
              <a:gd name="f63" fmla="val 97146"/>
              <a:gd name="f64" fmla="val 1119478"/>
              <a:gd name="f65" fmla="val 100859"/>
              <a:gd name="f66" fmla="val 1170360"/>
              <a:gd name="f67" fmla="val 104917"/>
              <a:gd name="f68" fmla="val 1221127"/>
              <a:gd name="f69" fmla="val 109315"/>
              <a:gd name="f70" fmla="val 1271780"/>
              <a:gd name="f71" fmla="val 114049"/>
              <a:gd name="f72" fmla="val 1322321"/>
              <a:gd name="f73" fmla="val 119113"/>
              <a:gd name="f74" fmla="val 1372750"/>
              <a:gd name="f75" fmla="val 124504"/>
              <a:gd name="f76" fmla="val 1423070"/>
              <a:gd name="f77" fmla="val 130217"/>
              <a:gd name="f78" fmla="val 1473280"/>
              <a:gd name="f79" fmla="val 136247"/>
              <a:gd name="f80" fmla="val 1523382"/>
              <a:gd name="f81" fmla="val 142589"/>
              <a:gd name="f82" fmla="val 1573377"/>
              <a:gd name="f83" fmla="val 149239"/>
              <a:gd name="f84" fmla="val 1623266"/>
              <a:gd name="f85" fmla="val 156193"/>
              <a:gd name="f86" fmla="val 1673051"/>
              <a:gd name="f87" fmla="val 163446"/>
              <a:gd name="f88" fmla="val 1722731"/>
              <a:gd name="f89" fmla="val 170993"/>
              <a:gd name="f90" fmla="val 1772309"/>
              <a:gd name="f91" fmla="val 178830"/>
              <a:gd name="f92" fmla="val 1821786"/>
              <a:gd name="f93" fmla="val 186951"/>
              <a:gd name="f94" fmla="val 1871162"/>
              <a:gd name="f95" fmla="val 195354"/>
              <a:gd name="f96" fmla="val 1920438"/>
              <a:gd name="f97" fmla="val 204032"/>
              <a:gd name="f98" fmla="val 1969617"/>
              <a:gd name="f99" fmla="val 212982"/>
              <a:gd name="f100" fmla="val 2018698"/>
              <a:gd name="f101" fmla="val 222199"/>
              <a:gd name="f102" fmla="val 2067683"/>
              <a:gd name="f103" fmla="val 231677"/>
              <a:gd name="f104" fmla="val 2116573"/>
              <a:gd name="f105" fmla="val 241414"/>
              <a:gd name="f106" fmla="val 2165369"/>
              <a:gd name="f107" fmla="val 251404"/>
              <a:gd name="f108" fmla="val 2214072"/>
              <a:gd name="f109" fmla="val 261642"/>
              <a:gd name="f110" fmla="val 2262683"/>
              <a:gd name="f111" fmla="val 272124"/>
              <a:gd name="f112" fmla="val 2359634"/>
              <a:gd name="f113" fmla="val 293801"/>
              <a:gd name="f114" fmla="val 2456232"/>
              <a:gd name="f115" fmla="val 316400"/>
              <a:gd name="f116" fmla="val 2552484"/>
              <a:gd name="f117" fmla="val 339883"/>
              <a:gd name="f118" fmla="val 2648399"/>
              <a:gd name="f119" fmla="val 364213"/>
              <a:gd name="f120" fmla="val 2743986"/>
              <a:gd name="f121" fmla="val 389354"/>
              <a:gd name="f122" fmla="val 2839253"/>
              <a:gd name="f123" fmla="val 415270"/>
              <a:gd name="f124" fmla="val 2934210"/>
              <a:gd name="f125" fmla="val 441923"/>
              <a:gd name="f126" fmla="val 3028865"/>
              <a:gd name="f127" fmla="val 469277"/>
              <a:gd name="f128" fmla="val 3123226"/>
              <a:gd name="f129" fmla="val 497296"/>
              <a:gd name="f130" fmla="val 3217303"/>
              <a:gd name="f131" fmla="val 525943"/>
              <a:gd name="f132" fmla="val 3311104"/>
              <a:gd name="f133" fmla="val 555181"/>
              <a:gd name="f134" fmla="val 3404637"/>
              <a:gd name="f135" fmla="val 584973"/>
              <a:gd name="f136" fmla="val 3497912"/>
              <a:gd name="f137" fmla="val 615284"/>
              <a:gd name="f138" fmla="val 3590937"/>
              <a:gd name="f139" fmla="val 646075"/>
              <a:gd name="f140" fmla="val 3791774"/>
              <a:gd name="f141" fmla="val 713748"/>
              <a:gd name="f142" fmla="val 4040254"/>
              <a:gd name="f143" fmla="val 799025"/>
              <a:gd name="f144" fmla="val 4334988"/>
              <a:gd name="f145" fmla="val 901968"/>
              <a:gd name="f146" fmla="val 5625866"/>
              <a:gd name="f147" fmla="val 1359840"/>
              <a:gd name="f148" fmla="val 5907371"/>
              <a:gd name="f149" fmla="val 1457295"/>
              <a:gd name="f150" fmla="val 6094441"/>
              <a:gd name="f151" fmla="val 1520802"/>
              <a:gd name="f152" fmla="val 6281177"/>
              <a:gd name="f153" fmla="val 1582959"/>
              <a:gd name="f154" fmla="val 6421085"/>
              <a:gd name="f155" fmla="val 1628599"/>
              <a:gd name="f156" fmla="val 6560929"/>
              <a:gd name="f157" fmla="val 1673327"/>
              <a:gd name="f158" fmla="val 6700761"/>
              <a:gd name="f159" fmla="val 1717079"/>
              <a:gd name="f160" fmla="val 7111365"/>
              <a:gd name="f161" fmla="val 1837945"/>
              <a:gd name="f162" fmla="val 1008838"/>
              <a:gd name="f163" fmla="val 12147976"/>
              <a:gd name="f164" fmla="val 1027873"/>
              <a:gd name="f165" fmla="val 12103695"/>
              <a:gd name="f166" fmla="val 1046580"/>
              <a:gd name="f167" fmla="val 12059162"/>
              <a:gd name="f168" fmla="val 1064960"/>
              <a:gd name="f169" fmla="val 12014382"/>
              <a:gd name="f170" fmla="val 1083015"/>
              <a:gd name="f171" fmla="val 11969360"/>
              <a:gd name="f172" fmla="val 1100744"/>
              <a:gd name="f173" fmla="val 11924100"/>
              <a:gd name="f174" fmla="val 1118147"/>
              <a:gd name="f175" fmla="val 11878609"/>
              <a:gd name="f176" fmla="val 1135227"/>
              <a:gd name="f177" fmla="val 11832891"/>
              <a:gd name="f178" fmla="val 1151982"/>
              <a:gd name="f179" fmla="val 11786951"/>
              <a:gd name="f180" fmla="val 1168414"/>
              <a:gd name="f181" fmla="val 11740793"/>
              <a:gd name="f182" fmla="val 1184523"/>
              <a:gd name="f183" fmla="val 11694424"/>
              <a:gd name="f184" fmla="val 1200309"/>
              <a:gd name="f185" fmla="val 11647847"/>
              <a:gd name="f186" fmla="val 1215774"/>
              <a:gd name="f187" fmla="val 11601068"/>
              <a:gd name="f188" fmla="val 1230917"/>
              <a:gd name="f189" fmla="val 11554093"/>
              <a:gd name="f190" fmla="val 1245740"/>
              <a:gd name="f191" fmla="val 11506925"/>
              <a:gd name="f192" fmla="val 1260242"/>
              <a:gd name="f193" fmla="val 11459569"/>
              <a:gd name="f194" fmla="val 1274425"/>
              <a:gd name="f195" fmla="val 11412032"/>
              <a:gd name="f196" fmla="val 1288288"/>
              <a:gd name="f197" fmla="val 11364318"/>
              <a:gd name="f198" fmla="val 1301833"/>
              <a:gd name="f199" fmla="val 11316431"/>
              <a:gd name="f200" fmla="val 1315060"/>
              <a:gd name="f201" fmla="val 11268377"/>
              <a:gd name="f202" fmla="val 1327969"/>
              <a:gd name="f203" fmla="val 11220161"/>
              <a:gd name="f204" fmla="val 1340561"/>
              <a:gd name="f205" fmla="val 11171788"/>
              <a:gd name="f206" fmla="val 1352836"/>
              <a:gd name="f207" fmla="val 11123263"/>
              <a:gd name="f208" fmla="val 1364796"/>
              <a:gd name="f209" fmla="val 11074590"/>
              <a:gd name="f210" fmla="val 1376440"/>
              <a:gd name="f211" fmla="val 11025776"/>
              <a:gd name="f212" fmla="val 1387769"/>
              <a:gd name="f213" fmla="val 10976824"/>
              <a:gd name="f214" fmla="val 1398783"/>
              <a:gd name="f215" fmla="val 10927740"/>
              <a:gd name="f216" fmla="val 1409484"/>
              <a:gd name="f217" fmla="val 10878528"/>
              <a:gd name="f218" fmla="val 1419872"/>
              <a:gd name="f219" fmla="val 10829194"/>
              <a:gd name="f220" fmla="val 1429946"/>
              <a:gd name="f221" fmla="val 10779744"/>
              <a:gd name="f222" fmla="val 1439709"/>
              <a:gd name="f223" fmla="val 10730180"/>
              <a:gd name="f224" fmla="val 1449159"/>
              <a:gd name="f225" fmla="val 10680510"/>
              <a:gd name="f226" fmla="val 1458299"/>
              <a:gd name="f227" fmla="val 10630737"/>
              <a:gd name="f228" fmla="val 1467128"/>
              <a:gd name="f229" fmla="val 10580867"/>
              <a:gd name="f230" fmla="val 1475646"/>
              <a:gd name="f231" fmla="val 10530905"/>
              <a:gd name="f232" fmla="val 1483856"/>
              <a:gd name="f233" fmla="val 10480855"/>
              <a:gd name="f234" fmla="val 1491756"/>
              <a:gd name="f235" fmla="val 10430723"/>
              <a:gd name="f236" fmla="val 1499347"/>
              <a:gd name="f237" fmla="val 10380514"/>
              <a:gd name="f238" fmla="val 1506631"/>
              <a:gd name="f239" fmla="val 10330232"/>
              <a:gd name="f240" fmla="val 1513607"/>
              <a:gd name="f241" fmla="val 10279883"/>
              <a:gd name="f242" fmla="val 1520276"/>
              <a:gd name="f243" fmla="val 10229472"/>
              <a:gd name="f244" fmla="val 1526638"/>
              <a:gd name="f245" fmla="val 10179004"/>
              <a:gd name="f246" fmla="val 1532695"/>
              <a:gd name="f247" fmla="val 10128483"/>
              <a:gd name="f248" fmla="val 1538447"/>
              <a:gd name="f249" fmla="val 10077914"/>
              <a:gd name="f250" fmla="val 1543893"/>
              <a:gd name="f251" fmla="val 10027304"/>
              <a:gd name="f252" fmla="val 1549036"/>
              <a:gd name="f253" fmla="val 9976655"/>
              <a:gd name="f254" fmla="val 1553875"/>
              <a:gd name="f255" fmla="val 9925975"/>
              <a:gd name="f256" fmla="val 1558410"/>
              <a:gd name="f257" fmla="val 9875267"/>
              <a:gd name="f258" fmla="val 1562643"/>
              <a:gd name="f259" fmla="val 9824537"/>
              <a:gd name="f260" fmla="val 1566574"/>
              <a:gd name="f261" fmla="val 9773789"/>
              <a:gd name="f262" fmla="val 1570203"/>
              <a:gd name="f263" fmla="val 9723029"/>
              <a:gd name="f264" fmla="val 1573531"/>
              <a:gd name="f265" fmla="val 9672261"/>
              <a:gd name="f266" fmla="val 1576558"/>
              <a:gd name="f267" fmla="val 9621491"/>
              <a:gd name="f268" fmla="val 1579285"/>
              <a:gd name="f269" fmla="val 9570724"/>
              <a:gd name="f270" fmla="val 1581713"/>
              <a:gd name="f271" fmla="val 9519964"/>
              <a:gd name="f272" fmla="val 1583842"/>
              <a:gd name="f273" fmla="val 9469216"/>
              <a:gd name="f274" fmla="val 1585673"/>
              <a:gd name="f275" fmla="val 9418487"/>
              <a:gd name="f276" fmla="val 1587206"/>
              <a:gd name="f277" fmla="val 9367779"/>
              <a:gd name="f278" fmla="val 1588441"/>
              <a:gd name="f279" fmla="val 9317099"/>
              <a:gd name="f280" fmla="val 1589380"/>
              <a:gd name="f281" fmla="val 9266452"/>
              <a:gd name="f282" fmla="val 1590022"/>
              <a:gd name="f283" fmla="val 9215842"/>
              <a:gd name="f284" fmla="val 1590369"/>
              <a:gd name="f285" fmla="val 9165275"/>
              <a:gd name="f286" fmla="val 1590420"/>
              <a:gd name="f287" fmla="val 9114755"/>
              <a:gd name="f288" fmla="val 1590177"/>
              <a:gd name="f289" fmla="val 9064287"/>
              <a:gd name="f290" fmla="val 1589639"/>
              <a:gd name="f291" fmla="val 9013877"/>
              <a:gd name="f292" fmla="val 1588808"/>
              <a:gd name="f293" fmla="val 8963530"/>
              <a:gd name="f294" fmla="val 1587684"/>
              <a:gd name="f295" fmla="val 8913250"/>
              <a:gd name="f296" fmla="val 1586267"/>
              <a:gd name="f297" fmla="val 8863042"/>
              <a:gd name="f298" fmla="val 1584559"/>
              <a:gd name="f299" fmla="val 8812912"/>
              <a:gd name="f300" fmla="val 1582559"/>
              <a:gd name="f301" fmla="val 8762864"/>
              <a:gd name="f302" fmla="val 1580267"/>
              <a:gd name="f303" fmla="val 8712904"/>
              <a:gd name="f304" fmla="val 1577686"/>
              <a:gd name="f305" fmla="val 8663036"/>
              <a:gd name="f306" fmla="val 1574814"/>
              <a:gd name="f307" fmla="val 8613265"/>
              <a:gd name="f308" fmla="val 1571654"/>
              <a:gd name="f309" fmla="val 8563597"/>
              <a:gd name="f310" fmla="val 1568204"/>
              <a:gd name="f311" fmla="val 8514036"/>
              <a:gd name="f312" fmla="val 1564466"/>
              <a:gd name="f313" fmla="val 8464588"/>
              <a:gd name="f314" fmla="val 1560440"/>
              <a:gd name="f315" fmla="val 8415256"/>
              <a:gd name="f316" fmla="val 1556128"/>
              <a:gd name="f317" fmla="val 8366048"/>
              <a:gd name="f318" fmla="val 1551528"/>
              <a:gd name="f319" fmla="val 8316966"/>
              <a:gd name="f320" fmla="val 1546642"/>
              <a:gd name="f321" fmla="val 8268017"/>
              <a:gd name="f322" fmla="val 1541471"/>
              <a:gd name="f323" fmla="val 8219205"/>
              <a:gd name="f324" fmla="val 1536015"/>
              <a:gd name="f325" fmla="val 8170536"/>
              <a:gd name="f326" fmla="val 1530274"/>
              <a:gd name="f327" fmla="val 8122014"/>
              <a:gd name="f328" fmla="val 1524249"/>
              <a:gd name="f329" fmla="val 8073644"/>
              <a:gd name="f330" fmla="val 1517940"/>
              <a:gd name="f331" fmla="val 8025431"/>
              <a:gd name="f332" fmla="val 1511349"/>
              <a:gd name="f333" fmla="val 7977381"/>
              <a:gd name="f334" fmla="val 1504475"/>
              <a:gd name="f335" fmla="val 7929498"/>
              <a:gd name="f336" fmla="val 1497319"/>
              <a:gd name="f337" fmla="val 7881788"/>
              <a:gd name="f338" fmla="val 1489882"/>
              <a:gd name="f339" fmla="val 7834254"/>
              <a:gd name="f340" fmla="val 1482164"/>
              <a:gd name="f341" fmla="val 7786903"/>
              <a:gd name="f342" fmla="val 1474166"/>
              <a:gd name="f343" fmla="val 7738126"/>
              <a:gd name="f344" fmla="val 1465660"/>
              <a:gd name="f345" fmla="val 7640491"/>
              <a:gd name="f346" fmla="val 1448021"/>
              <a:gd name="f347" fmla="val 7542751"/>
              <a:gd name="f348" fmla="val 1429573"/>
              <a:gd name="f349" fmla="val 7444910"/>
              <a:gd name="f350" fmla="val 1410348"/>
              <a:gd name="f351" fmla="val 7346973"/>
              <a:gd name="f352" fmla="val 1390379"/>
              <a:gd name="f353" fmla="val 7248943"/>
              <a:gd name="f354" fmla="val 1369697"/>
              <a:gd name="f355" fmla="val 7150826"/>
              <a:gd name="f356" fmla="val 1348335"/>
              <a:gd name="f357" fmla="val 7052624"/>
              <a:gd name="f358" fmla="val 1326325"/>
              <a:gd name="f359" fmla="val 6954344"/>
              <a:gd name="f360" fmla="val 1303699"/>
              <a:gd name="f361" fmla="val 6855988"/>
              <a:gd name="f362" fmla="val 1280488"/>
              <a:gd name="f363" fmla="val 6757561"/>
              <a:gd name="f364" fmla="val 1256726"/>
              <a:gd name="f365" fmla="val 6609797"/>
              <a:gd name="f366" fmla="val 1220118"/>
              <a:gd name="f367" fmla="val 6461898"/>
              <a:gd name="f368" fmla="val 1182449"/>
              <a:gd name="f369" fmla="val 6313878"/>
              <a:gd name="f370" fmla="val 1143828"/>
              <a:gd name="f371" fmla="val 6116354"/>
              <a:gd name="f372" fmla="val 1091037"/>
              <a:gd name="f373" fmla="val 5918674"/>
              <a:gd name="f374" fmla="val 1037003"/>
              <a:gd name="f375" fmla="val 5671408"/>
              <a:gd name="f376" fmla="val 968101"/>
              <a:gd name="f377" fmla="val 4632326"/>
              <a:gd name="f378" fmla="val 673191"/>
              <a:gd name="f379" fmla="val 4335739"/>
              <a:gd name="f380" fmla="val 590761"/>
              <a:gd name="f381" fmla="val 4138197"/>
              <a:gd name="f382" fmla="val 537088"/>
              <a:gd name="f383" fmla="val 3940841"/>
              <a:gd name="f384" fmla="val 484740"/>
              <a:gd name="f385" fmla="val 3792966"/>
              <a:gd name="f386" fmla="val 446503"/>
              <a:gd name="f387" fmla="val 3645230"/>
              <a:gd name="f388" fmla="val 409263"/>
              <a:gd name="f389" fmla="val 3497647"/>
              <a:gd name="f390" fmla="val 373130"/>
              <a:gd name="f391" fmla="val 3399350"/>
              <a:gd name="f392" fmla="val 349710"/>
              <a:gd name="f393" fmla="val 3301131"/>
              <a:gd name="f394" fmla="val 326862"/>
              <a:gd name="f395" fmla="val 3202995"/>
              <a:gd name="f396" fmla="val 304617"/>
              <a:gd name="f397" fmla="val 3104947"/>
              <a:gd name="f398" fmla="val 283009"/>
              <a:gd name="f399" fmla="val 3006989"/>
              <a:gd name="f400" fmla="val 262069"/>
              <a:gd name="f401" fmla="val 2909128"/>
              <a:gd name="f402" fmla="val 241830"/>
              <a:gd name="f403" fmla="val 2811366"/>
              <a:gd name="f404" fmla="val 222323"/>
              <a:gd name="f405" fmla="val 2713708"/>
              <a:gd name="f406" fmla="val 203581"/>
              <a:gd name="f407" fmla="val 2616159"/>
              <a:gd name="f408" fmla="val 185635"/>
              <a:gd name="f409" fmla="val 2518722"/>
              <a:gd name="f410" fmla="val 168518"/>
              <a:gd name="f411" fmla="val 2421402"/>
              <a:gd name="f412" fmla="val 152263"/>
              <a:gd name="f413" fmla="val 2324204"/>
              <a:gd name="f414" fmla="val 136900"/>
              <a:gd name="f415" fmla="val 2227131"/>
              <a:gd name="f416" fmla="val 122463"/>
              <a:gd name="f417" fmla="val 2130188"/>
              <a:gd name="f418" fmla="val 108983"/>
              <a:gd name="f419" fmla="val 2033378"/>
              <a:gd name="f420" fmla="val 96492"/>
              <a:gd name="f421" fmla="val 1936708"/>
              <a:gd name="f422" fmla="val 85023"/>
              <a:gd name="f423" fmla="val 1888425"/>
              <a:gd name="f424" fmla="val 79682"/>
              <a:gd name="f425" fmla="val 1840179"/>
              <a:gd name="f426" fmla="val 74608"/>
              <a:gd name="f427" fmla="val 1791970"/>
              <a:gd name="f428" fmla="val 69805"/>
              <a:gd name="f429" fmla="val 1743798"/>
              <a:gd name="f430" fmla="val 65278"/>
              <a:gd name="f431" fmla="val 1695663"/>
              <a:gd name="f432" fmla="val 61030"/>
              <a:gd name="f433" fmla="val 1647567"/>
              <a:gd name="f434" fmla="val 57066"/>
              <a:gd name="f435" fmla="val 1599510"/>
              <a:gd name="f436" fmla="val 53390"/>
              <a:gd name="f437" fmla="val 1551492"/>
              <a:gd name="f438" fmla="val 50004"/>
              <a:gd name="f439" fmla="val 1503514"/>
              <a:gd name="f440" fmla="val 46915"/>
              <a:gd name="f441" fmla="val 1451727"/>
              <a:gd name="f442" fmla="val 41426"/>
              <a:gd name="f443" fmla="val 1400000"/>
              <a:gd name="f444" fmla="val 36255"/>
              <a:gd name="f445" fmla="val 1348336"/>
              <a:gd name="f446" fmla="val 31407"/>
              <a:gd name="f447" fmla="val 1296735"/>
              <a:gd name="f448" fmla="val 26886"/>
              <a:gd name="f449" fmla="val 1245197"/>
              <a:gd name="f450" fmla="val 22697"/>
              <a:gd name="f451" fmla="val 1193723"/>
              <a:gd name="f452" fmla="val 18846"/>
              <a:gd name="f453" fmla="val 1142315"/>
              <a:gd name="f454" fmla="val 15337"/>
              <a:gd name="f455" fmla="val 1090973"/>
              <a:gd name="f456" fmla="val 12176"/>
              <a:gd name="f457" fmla="val 1039697"/>
              <a:gd name="f458" fmla="val 9368"/>
              <a:gd name="f459" fmla="val 988488"/>
              <a:gd name="f460" fmla="val 6917"/>
              <a:gd name="f461" fmla="val 937348"/>
              <a:gd name="f462" fmla="val 4828"/>
              <a:gd name="f463" fmla="val 886276"/>
              <a:gd name="f464" fmla="val 3107"/>
              <a:gd name="f465" fmla="val 835274"/>
              <a:gd name="f466" fmla="val 1759"/>
              <a:gd name="f467" fmla="val 784343"/>
              <a:gd name="f468" fmla="val 788"/>
              <a:gd name="f469" fmla="val 733482"/>
              <a:gd name="f470" fmla="val 200"/>
              <a:gd name="f471" fmla="*/ f0 1 12192000"/>
              <a:gd name="f472" fmla="*/ f1 1 1838325"/>
              <a:gd name="f473" fmla="+- f4 0 f2"/>
              <a:gd name="f474" fmla="+- f3 0 f2"/>
              <a:gd name="f475" fmla="*/ f474 1 12192000"/>
              <a:gd name="f476" fmla="*/ f473 1 1838325"/>
              <a:gd name="f477" fmla="*/ f2 1 f475"/>
              <a:gd name="f478" fmla="*/ f3 1 f475"/>
              <a:gd name="f479" fmla="*/ f2 1 f476"/>
              <a:gd name="f480" fmla="*/ f4 1 f476"/>
              <a:gd name="f481" fmla="*/ f477 f471 1"/>
              <a:gd name="f482" fmla="*/ f478 f471 1"/>
              <a:gd name="f483" fmla="*/ f480 f472 1"/>
              <a:gd name="f484" fmla="*/ f479 f472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481" t="f484" r="f482" b="f483"/>
            <a:pathLst>
              <a:path w="12192000" h="1838325">
                <a:moveTo>
                  <a:pt x="f5" y="f2"/>
                </a:moveTo>
                <a:lnTo>
                  <a:pt x="f6" y="f7"/>
                </a:lnTo>
                <a:lnTo>
                  <a:pt x="f8" y="f9"/>
                </a:lnTo>
                <a:lnTo>
                  <a:pt x="f10" y="f11"/>
                </a:lnTo>
                <a:lnTo>
                  <a:pt x="f12" y="f13"/>
                </a:lnTo>
                <a:lnTo>
                  <a:pt x="f14" y="f15"/>
                </a:lnTo>
                <a:lnTo>
                  <a:pt x="f16" y="f17"/>
                </a:lnTo>
                <a:lnTo>
                  <a:pt x="f18" y="f19"/>
                </a:lnTo>
                <a:lnTo>
                  <a:pt x="f2" y="f20"/>
                </a:lnTo>
                <a:lnTo>
                  <a:pt x="f2" y="f21"/>
                </a:lnTo>
                <a:lnTo>
                  <a:pt x="f22" y="f23"/>
                </a:lnTo>
                <a:lnTo>
                  <a:pt x="f24" y="f25"/>
                </a:lnTo>
                <a:lnTo>
                  <a:pt x="f26" y="f27"/>
                </a:lnTo>
                <a:lnTo>
                  <a:pt x="f28" y="f29"/>
                </a:lnTo>
                <a:lnTo>
                  <a:pt x="f30" y="f31"/>
                </a:lnTo>
                <a:lnTo>
                  <a:pt x="f32" y="f33"/>
                </a:lnTo>
                <a:lnTo>
                  <a:pt x="f34" y="f35"/>
                </a:lnTo>
                <a:lnTo>
                  <a:pt x="f36" y="f37"/>
                </a:lnTo>
                <a:lnTo>
                  <a:pt x="f38" y="f39"/>
                </a:lnTo>
                <a:lnTo>
                  <a:pt x="f40" y="f41"/>
                </a:lnTo>
                <a:lnTo>
                  <a:pt x="f42" y="f43"/>
                </a:lnTo>
                <a:lnTo>
                  <a:pt x="f44" y="f45"/>
                </a:lnTo>
                <a:lnTo>
                  <a:pt x="f46" y="f47"/>
                </a:lnTo>
                <a:lnTo>
                  <a:pt x="f48" y="f49"/>
                </a:lnTo>
                <a:lnTo>
                  <a:pt x="f50" y="f51"/>
                </a:lnTo>
                <a:lnTo>
                  <a:pt x="f52" y="f53"/>
                </a:lnTo>
                <a:lnTo>
                  <a:pt x="f54" y="f55"/>
                </a:lnTo>
                <a:lnTo>
                  <a:pt x="f56" y="f57"/>
                </a:lnTo>
                <a:lnTo>
                  <a:pt x="f58" y="f59"/>
                </a:lnTo>
                <a:lnTo>
                  <a:pt x="f60" y="f61"/>
                </a:lnTo>
                <a:lnTo>
                  <a:pt x="f62" y="f63"/>
                </a:lnTo>
                <a:lnTo>
                  <a:pt x="f64" y="f65"/>
                </a:lnTo>
                <a:lnTo>
                  <a:pt x="f66" y="f67"/>
                </a:lnTo>
                <a:lnTo>
                  <a:pt x="f68" y="f69"/>
                </a:lnTo>
                <a:lnTo>
                  <a:pt x="f70" y="f71"/>
                </a:lnTo>
                <a:lnTo>
                  <a:pt x="f72" y="f73"/>
                </a:lnTo>
                <a:lnTo>
                  <a:pt x="f74" y="f75"/>
                </a:lnTo>
                <a:lnTo>
                  <a:pt x="f76" y="f77"/>
                </a:lnTo>
                <a:lnTo>
                  <a:pt x="f78" y="f79"/>
                </a:lnTo>
                <a:lnTo>
                  <a:pt x="f80" y="f81"/>
                </a:lnTo>
                <a:lnTo>
                  <a:pt x="f82" y="f83"/>
                </a:lnTo>
                <a:lnTo>
                  <a:pt x="f84" y="f85"/>
                </a:lnTo>
                <a:lnTo>
                  <a:pt x="f86" y="f87"/>
                </a:lnTo>
                <a:lnTo>
                  <a:pt x="f88" y="f89"/>
                </a:lnTo>
                <a:lnTo>
                  <a:pt x="f90" y="f91"/>
                </a:lnTo>
                <a:lnTo>
                  <a:pt x="f92" y="f93"/>
                </a:lnTo>
                <a:lnTo>
                  <a:pt x="f94" y="f95"/>
                </a:lnTo>
                <a:lnTo>
                  <a:pt x="f96" y="f97"/>
                </a:lnTo>
                <a:lnTo>
                  <a:pt x="f98" y="f99"/>
                </a:lnTo>
                <a:lnTo>
                  <a:pt x="f100" y="f101"/>
                </a:lnTo>
                <a:lnTo>
                  <a:pt x="f102" y="f103"/>
                </a:lnTo>
                <a:lnTo>
                  <a:pt x="f104" y="f105"/>
                </a:lnTo>
                <a:lnTo>
                  <a:pt x="f106" y="f107"/>
                </a:lnTo>
                <a:lnTo>
                  <a:pt x="f108" y="f109"/>
                </a:lnTo>
                <a:lnTo>
                  <a:pt x="f110" y="f111"/>
                </a:lnTo>
                <a:lnTo>
                  <a:pt x="f112" y="f113"/>
                </a:lnTo>
                <a:lnTo>
                  <a:pt x="f114" y="f115"/>
                </a:lnTo>
                <a:lnTo>
                  <a:pt x="f116" y="f117"/>
                </a:lnTo>
                <a:lnTo>
                  <a:pt x="f118" y="f119"/>
                </a:lnTo>
                <a:lnTo>
                  <a:pt x="f120" y="f121"/>
                </a:lnTo>
                <a:lnTo>
                  <a:pt x="f122" y="f123"/>
                </a:lnTo>
                <a:lnTo>
                  <a:pt x="f124" y="f125"/>
                </a:lnTo>
                <a:lnTo>
                  <a:pt x="f126" y="f127"/>
                </a:lnTo>
                <a:lnTo>
                  <a:pt x="f128" y="f129"/>
                </a:lnTo>
                <a:lnTo>
                  <a:pt x="f130" y="f131"/>
                </a:lnTo>
                <a:lnTo>
                  <a:pt x="f132" y="f133"/>
                </a:lnTo>
                <a:lnTo>
                  <a:pt x="f134" y="f135"/>
                </a:lnTo>
                <a:lnTo>
                  <a:pt x="f136" y="f137"/>
                </a:lnTo>
                <a:lnTo>
                  <a:pt x="f138" y="f139"/>
                </a:lnTo>
                <a:lnTo>
                  <a:pt x="f140" y="f141"/>
                </a:lnTo>
                <a:lnTo>
                  <a:pt x="f142" y="f143"/>
                </a:lnTo>
                <a:lnTo>
                  <a:pt x="f144" y="f145"/>
                </a:lnTo>
                <a:lnTo>
                  <a:pt x="f146" y="f147"/>
                </a:lnTo>
                <a:lnTo>
                  <a:pt x="f148" y="f149"/>
                </a:lnTo>
                <a:lnTo>
                  <a:pt x="f150" y="f151"/>
                </a:lnTo>
                <a:lnTo>
                  <a:pt x="f152" y="f153"/>
                </a:lnTo>
                <a:lnTo>
                  <a:pt x="f154" y="f155"/>
                </a:lnTo>
                <a:lnTo>
                  <a:pt x="f156" y="f157"/>
                </a:lnTo>
                <a:lnTo>
                  <a:pt x="f158" y="f159"/>
                </a:lnTo>
                <a:lnTo>
                  <a:pt x="f160" y="f161"/>
                </a:lnTo>
                <a:lnTo>
                  <a:pt x="f3" y="f161"/>
                </a:lnTo>
                <a:lnTo>
                  <a:pt x="f3" y="f162"/>
                </a:lnTo>
                <a:lnTo>
                  <a:pt x="f163" y="f164"/>
                </a:lnTo>
                <a:lnTo>
                  <a:pt x="f165" y="f166"/>
                </a:lnTo>
                <a:lnTo>
                  <a:pt x="f167" y="f168"/>
                </a:lnTo>
                <a:lnTo>
                  <a:pt x="f169" y="f170"/>
                </a:lnTo>
                <a:lnTo>
                  <a:pt x="f171" y="f172"/>
                </a:lnTo>
                <a:lnTo>
                  <a:pt x="f173" y="f174"/>
                </a:lnTo>
                <a:lnTo>
                  <a:pt x="f175" y="f176"/>
                </a:lnTo>
                <a:lnTo>
                  <a:pt x="f177" y="f178"/>
                </a:lnTo>
                <a:lnTo>
                  <a:pt x="f179" y="f180"/>
                </a:lnTo>
                <a:lnTo>
                  <a:pt x="f181" y="f182"/>
                </a:lnTo>
                <a:lnTo>
                  <a:pt x="f183" y="f184"/>
                </a:lnTo>
                <a:lnTo>
                  <a:pt x="f185" y="f186"/>
                </a:lnTo>
                <a:lnTo>
                  <a:pt x="f187" y="f188"/>
                </a:lnTo>
                <a:lnTo>
                  <a:pt x="f189" y="f190"/>
                </a:lnTo>
                <a:lnTo>
                  <a:pt x="f191" y="f192"/>
                </a:lnTo>
                <a:lnTo>
                  <a:pt x="f193" y="f194"/>
                </a:lnTo>
                <a:lnTo>
                  <a:pt x="f195" y="f196"/>
                </a:lnTo>
                <a:lnTo>
                  <a:pt x="f197" y="f198"/>
                </a:lnTo>
                <a:lnTo>
                  <a:pt x="f199" y="f200"/>
                </a:lnTo>
                <a:lnTo>
                  <a:pt x="f201" y="f202"/>
                </a:lnTo>
                <a:lnTo>
                  <a:pt x="f203" y="f204"/>
                </a:lnTo>
                <a:lnTo>
                  <a:pt x="f205" y="f206"/>
                </a:lnTo>
                <a:lnTo>
                  <a:pt x="f207" y="f208"/>
                </a:lnTo>
                <a:lnTo>
                  <a:pt x="f209" y="f210"/>
                </a:lnTo>
                <a:lnTo>
                  <a:pt x="f211" y="f212"/>
                </a:lnTo>
                <a:lnTo>
                  <a:pt x="f213" y="f214"/>
                </a:lnTo>
                <a:lnTo>
                  <a:pt x="f215" y="f216"/>
                </a:lnTo>
                <a:lnTo>
                  <a:pt x="f217" y="f218"/>
                </a:lnTo>
                <a:lnTo>
                  <a:pt x="f219" y="f220"/>
                </a:lnTo>
                <a:lnTo>
                  <a:pt x="f221" y="f222"/>
                </a:lnTo>
                <a:lnTo>
                  <a:pt x="f223" y="f224"/>
                </a:lnTo>
                <a:lnTo>
                  <a:pt x="f225" y="f226"/>
                </a:lnTo>
                <a:lnTo>
                  <a:pt x="f227" y="f228"/>
                </a:lnTo>
                <a:lnTo>
                  <a:pt x="f229" y="f230"/>
                </a:lnTo>
                <a:lnTo>
                  <a:pt x="f231" y="f232"/>
                </a:lnTo>
                <a:lnTo>
                  <a:pt x="f233" y="f234"/>
                </a:lnTo>
                <a:lnTo>
                  <a:pt x="f235" y="f236"/>
                </a:lnTo>
                <a:lnTo>
                  <a:pt x="f237" y="f238"/>
                </a:lnTo>
                <a:lnTo>
                  <a:pt x="f239" y="f240"/>
                </a:lnTo>
                <a:lnTo>
                  <a:pt x="f241" y="f242"/>
                </a:lnTo>
                <a:lnTo>
                  <a:pt x="f243" y="f244"/>
                </a:lnTo>
                <a:lnTo>
                  <a:pt x="f245" y="f246"/>
                </a:lnTo>
                <a:lnTo>
                  <a:pt x="f247" y="f248"/>
                </a:lnTo>
                <a:lnTo>
                  <a:pt x="f249" y="f250"/>
                </a:lnTo>
                <a:lnTo>
                  <a:pt x="f251" y="f252"/>
                </a:lnTo>
                <a:lnTo>
                  <a:pt x="f253" y="f254"/>
                </a:lnTo>
                <a:lnTo>
                  <a:pt x="f255" y="f256"/>
                </a:lnTo>
                <a:lnTo>
                  <a:pt x="f257" y="f258"/>
                </a:lnTo>
                <a:lnTo>
                  <a:pt x="f259" y="f260"/>
                </a:lnTo>
                <a:lnTo>
                  <a:pt x="f261" y="f262"/>
                </a:lnTo>
                <a:lnTo>
                  <a:pt x="f263" y="f264"/>
                </a:lnTo>
                <a:lnTo>
                  <a:pt x="f265" y="f266"/>
                </a:lnTo>
                <a:lnTo>
                  <a:pt x="f267" y="f268"/>
                </a:lnTo>
                <a:lnTo>
                  <a:pt x="f269" y="f270"/>
                </a:lnTo>
                <a:lnTo>
                  <a:pt x="f271" y="f272"/>
                </a:lnTo>
                <a:lnTo>
                  <a:pt x="f273" y="f274"/>
                </a:lnTo>
                <a:lnTo>
                  <a:pt x="f275" y="f276"/>
                </a:lnTo>
                <a:lnTo>
                  <a:pt x="f277" y="f278"/>
                </a:lnTo>
                <a:lnTo>
                  <a:pt x="f279" y="f280"/>
                </a:lnTo>
                <a:lnTo>
                  <a:pt x="f281" y="f282"/>
                </a:lnTo>
                <a:lnTo>
                  <a:pt x="f283" y="f284"/>
                </a:lnTo>
                <a:lnTo>
                  <a:pt x="f285" y="f286"/>
                </a:lnTo>
                <a:lnTo>
                  <a:pt x="f287" y="f288"/>
                </a:lnTo>
                <a:lnTo>
                  <a:pt x="f289" y="f290"/>
                </a:lnTo>
                <a:lnTo>
                  <a:pt x="f291" y="f292"/>
                </a:lnTo>
                <a:lnTo>
                  <a:pt x="f293" y="f294"/>
                </a:lnTo>
                <a:lnTo>
                  <a:pt x="f295" y="f296"/>
                </a:lnTo>
                <a:lnTo>
                  <a:pt x="f297" y="f298"/>
                </a:lnTo>
                <a:lnTo>
                  <a:pt x="f299" y="f300"/>
                </a:lnTo>
                <a:lnTo>
                  <a:pt x="f301" y="f302"/>
                </a:lnTo>
                <a:lnTo>
                  <a:pt x="f303" y="f304"/>
                </a:lnTo>
                <a:lnTo>
                  <a:pt x="f305" y="f306"/>
                </a:lnTo>
                <a:lnTo>
                  <a:pt x="f307" y="f308"/>
                </a:lnTo>
                <a:lnTo>
                  <a:pt x="f309" y="f310"/>
                </a:lnTo>
                <a:lnTo>
                  <a:pt x="f311" y="f312"/>
                </a:lnTo>
                <a:lnTo>
                  <a:pt x="f313" y="f314"/>
                </a:lnTo>
                <a:lnTo>
                  <a:pt x="f315" y="f316"/>
                </a:lnTo>
                <a:lnTo>
                  <a:pt x="f317" y="f318"/>
                </a:lnTo>
                <a:lnTo>
                  <a:pt x="f319" y="f320"/>
                </a:lnTo>
                <a:lnTo>
                  <a:pt x="f321" y="f322"/>
                </a:lnTo>
                <a:lnTo>
                  <a:pt x="f323" y="f324"/>
                </a:lnTo>
                <a:lnTo>
                  <a:pt x="f325" y="f326"/>
                </a:lnTo>
                <a:lnTo>
                  <a:pt x="f327" y="f328"/>
                </a:lnTo>
                <a:lnTo>
                  <a:pt x="f329" y="f330"/>
                </a:lnTo>
                <a:lnTo>
                  <a:pt x="f331" y="f332"/>
                </a:lnTo>
                <a:lnTo>
                  <a:pt x="f333" y="f334"/>
                </a:lnTo>
                <a:lnTo>
                  <a:pt x="f335" y="f336"/>
                </a:lnTo>
                <a:lnTo>
                  <a:pt x="f337" y="f338"/>
                </a:lnTo>
                <a:lnTo>
                  <a:pt x="f339" y="f340"/>
                </a:lnTo>
                <a:lnTo>
                  <a:pt x="f341" y="f342"/>
                </a:lnTo>
                <a:lnTo>
                  <a:pt x="f343" y="f344"/>
                </a:lnTo>
                <a:lnTo>
                  <a:pt x="f345" y="f346"/>
                </a:lnTo>
                <a:lnTo>
                  <a:pt x="f347" y="f348"/>
                </a:lnTo>
                <a:lnTo>
                  <a:pt x="f349" y="f350"/>
                </a:lnTo>
                <a:lnTo>
                  <a:pt x="f351" y="f352"/>
                </a:lnTo>
                <a:lnTo>
                  <a:pt x="f353" y="f354"/>
                </a:lnTo>
                <a:lnTo>
                  <a:pt x="f355" y="f356"/>
                </a:lnTo>
                <a:lnTo>
                  <a:pt x="f357" y="f358"/>
                </a:lnTo>
                <a:lnTo>
                  <a:pt x="f359" y="f360"/>
                </a:lnTo>
                <a:lnTo>
                  <a:pt x="f361" y="f362"/>
                </a:lnTo>
                <a:lnTo>
                  <a:pt x="f363" y="f364"/>
                </a:lnTo>
                <a:lnTo>
                  <a:pt x="f365" y="f366"/>
                </a:lnTo>
                <a:lnTo>
                  <a:pt x="f367" y="f368"/>
                </a:lnTo>
                <a:lnTo>
                  <a:pt x="f369" y="f370"/>
                </a:lnTo>
                <a:lnTo>
                  <a:pt x="f371" y="f372"/>
                </a:lnTo>
                <a:lnTo>
                  <a:pt x="f373" y="f374"/>
                </a:lnTo>
                <a:lnTo>
                  <a:pt x="f375" y="f376"/>
                </a:lnTo>
                <a:lnTo>
                  <a:pt x="f377" y="f378"/>
                </a:lnTo>
                <a:lnTo>
                  <a:pt x="f379" y="f380"/>
                </a:lnTo>
                <a:lnTo>
                  <a:pt x="f381" y="f382"/>
                </a:lnTo>
                <a:lnTo>
                  <a:pt x="f383" y="f384"/>
                </a:lnTo>
                <a:lnTo>
                  <a:pt x="f385" y="f386"/>
                </a:lnTo>
                <a:lnTo>
                  <a:pt x="f387" y="f388"/>
                </a:lnTo>
                <a:lnTo>
                  <a:pt x="f389" y="f390"/>
                </a:lnTo>
                <a:lnTo>
                  <a:pt x="f391" y="f392"/>
                </a:lnTo>
                <a:lnTo>
                  <a:pt x="f393" y="f394"/>
                </a:lnTo>
                <a:lnTo>
                  <a:pt x="f395" y="f396"/>
                </a:lnTo>
                <a:lnTo>
                  <a:pt x="f397" y="f398"/>
                </a:lnTo>
                <a:lnTo>
                  <a:pt x="f399" y="f400"/>
                </a:lnTo>
                <a:lnTo>
                  <a:pt x="f401" y="f402"/>
                </a:lnTo>
                <a:lnTo>
                  <a:pt x="f403" y="f404"/>
                </a:lnTo>
                <a:lnTo>
                  <a:pt x="f405" y="f406"/>
                </a:lnTo>
                <a:lnTo>
                  <a:pt x="f407" y="f408"/>
                </a:lnTo>
                <a:lnTo>
                  <a:pt x="f409" y="f410"/>
                </a:lnTo>
                <a:lnTo>
                  <a:pt x="f411" y="f412"/>
                </a:lnTo>
                <a:lnTo>
                  <a:pt x="f413" y="f414"/>
                </a:lnTo>
                <a:lnTo>
                  <a:pt x="f415" y="f416"/>
                </a:lnTo>
                <a:lnTo>
                  <a:pt x="f417" y="f418"/>
                </a:lnTo>
                <a:lnTo>
                  <a:pt x="f419" y="f420"/>
                </a:lnTo>
                <a:lnTo>
                  <a:pt x="f421" y="f422"/>
                </a:lnTo>
                <a:lnTo>
                  <a:pt x="f423" y="f424"/>
                </a:lnTo>
                <a:lnTo>
                  <a:pt x="f425" y="f426"/>
                </a:lnTo>
                <a:lnTo>
                  <a:pt x="f427" y="f428"/>
                </a:lnTo>
                <a:lnTo>
                  <a:pt x="f429" y="f430"/>
                </a:lnTo>
                <a:lnTo>
                  <a:pt x="f431" y="f432"/>
                </a:lnTo>
                <a:lnTo>
                  <a:pt x="f433" y="f434"/>
                </a:lnTo>
                <a:lnTo>
                  <a:pt x="f435" y="f436"/>
                </a:lnTo>
                <a:lnTo>
                  <a:pt x="f437" y="f438"/>
                </a:lnTo>
                <a:lnTo>
                  <a:pt x="f439" y="f440"/>
                </a:lnTo>
                <a:lnTo>
                  <a:pt x="f441" y="f442"/>
                </a:lnTo>
                <a:lnTo>
                  <a:pt x="f443" y="f444"/>
                </a:lnTo>
                <a:lnTo>
                  <a:pt x="f445" y="f446"/>
                </a:lnTo>
                <a:lnTo>
                  <a:pt x="f447" y="f448"/>
                </a:lnTo>
                <a:lnTo>
                  <a:pt x="f449" y="f450"/>
                </a:lnTo>
                <a:lnTo>
                  <a:pt x="f451" y="f452"/>
                </a:lnTo>
                <a:lnTo>
                  <a:pt x="f453" y="f454"/>
                </a:lnTo>
                <a:lnTo>
                  <a:pt x="f455" y="f456"/>
                </a:lnTo>
                <a:lnTo>
                  <a:pt x="f457" y="f458"/>
                </a:lnTo>
                <a:lnTo>
                  <a:pt x="f459" y="f460"/>
                </a:lnTo>
                <a:lnTo>
                  <a:pt x="f461" y="f462"/>
                </a:lnTo>
                <a:lnTo>
                  <a:pt x="f463" y="f464"/>
                </a:lnTo>
                <a:lnTo>
                  <a:pt x="f465" y="f466"/>
                </a:lnTo>
                <a:lnTo>
                  <a:pt x="f467" y="f468"/>
                </a:lnTo>
                <a:lnTo>
                  <a:pt x="f469" y="f470"/>
                </a:lnTo>
                <a:lnTo>
                  <a:pt x="f5" y="f2"/>
                </a:lnTo>
                <a:close/>
              </a:path>
            </a:pathLst>
          </a:custGeom>
          <a:solidFill>
            <a:srgbClr val="1C488A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444C55"/>
              </a:solidFill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6" name="Google Shape;1947;p197">
            <a:extLst>
              <a:ext uri="{FF2B5EF4-FFF2-40B4-BE49-F238E27FC236}">
                <a16:creationId xmlns:a16="http://schemas.microsoft.com/office/drawing/2014/main" id="{AFE351B8-1B65-98FE-6BF3-E5ABDE8219CA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313959" y="5564124"/>
            <a:ext cx="2025386" cy="91135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" name="Google Shape;1948;p197">
            <a:extLst>
              <a:ext uri="{FF2B5EF4-FFF2-40B4-BE49-F238E27FC236}">
                <a16:creationId xmlns:a16="http://schemas.microsoft.com/office/drawing/2014/main" id="{3D723E75-2E2E-7482-D3D1-FF69003FDD19}"/>
              </a:ext>
            </a:extLst>
          </p:cNvPr>
          <p:cNvSpPr/>
          <p:nvPr/>
        </p:nvSpPr>
        <p:spPr>
          <a:xfrm>
            <a:off x="1520190" y="2812538"/>
            <a:ext cx="2286000" cy="0"/>
          </a:xfrm>
          <a:custGeom>
            <a:avLst/>
            <a:gdLst>
              <a:gd name="f0" fmla="val w"/>
              <a:gd name="f1" fmla="val h"/>
              <a:gd name="f2" fmla="val 0"/>
              <a:gd name="f3" fmla="val 2286000"/>
              <a:gd name="f4" fmla="val 120000"/>
              <a:gd name="f5" fmla="*/ f0 1 2286000"/>
              <a:gd name="f6" fmla="*/ f1 1 120000"/>
              <a:gd name="f7" fmla="+- f4 0 f2"/>
              <a:gd name="f8" fmla="+- f3 0 f2"/>
              <a:gd name="f9" fmla="*/ f8 1 2286000"/>
              <a:gd name="f10" fmla="*/ f7 1 120000"/>
              <a:gd name="f11" fmla="*/ f2 1 f9"/>
              <a:gd name="f12" fmla="*/ f3 1 f9"/>
              <a:gd name="f13" fmla="*/ f2 1 f10"/>
              <a:gd name="f14" fmla="*/ f4 1 f10"/>
              <a:gd name="f15" fmla="*/ f11 f5 1"/>
              <a:gd name="f16" fmla="*/ f12 f5 1"/>
              <a:gd name="f17" fmla="*/ f14 f6 1"/>
              <a:gd name="f18" fmla="*/ f13 f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5" t="f18" r="f16" b="f17"/>
            <a:pathLst>
              <a:path w="2286000" h="120000">
                <a:moveTo>
                  <a:pt x="f2" y="f2"/>
                </a:moveTo>
                <a:lnTo>
                  <a:pt x="f3" y="f2"/>
                </a:lnTo>
              </a:path>
            </a:pathLst>
          </a:custGeom>
          <a:noFill/>
          <a:ln w="32004" cap="flat">
            <a:solidFill>
              <a:srgbClr val="F58366"/>
            </a:solidFill>
            <a:prstDash val="solid"/>
            <a:round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444C55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8" name="Google Shape;1949;p197">
            <a:extLst>
              <a:ext uri="{FF2B5EF4-FFF2-40B4-BE49-F238E27FC236}">
                <a16:creationId xmlns:a16="http://schemas.microsoft.com/office/drawing/2014/main" id="{F4FF37E7-8218-30C9-F3C7-127A1B679DC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71693" y="493922"/>
            <a:ext cx="11248619" cy="574042"/>
          </a:xfrm>
        </p:spPr>
        <p:txBody>
          <a:bodyPr lIns="0" tIns="0" rIns="0" bIns="0">
            <a:spAutoFit/>
          </a:bodyPr>
          <a:lstStyle>
            <a:lvl1pPr>
              <a:defRPr b="0">
                <a:solidFill>
                  <a:srgbClr val="444C55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9" name="Google Shape;1950;p197">
            <a:extLst>
              <a:ext uri="{FF2B5EF4-FFF2-40B4-BE49-F238E27FC236}">
                <a16:creationId xmlns:a16="http://schemas.microsoft.com/office/drawing/2014/main" id="{036CF589-2276-D9FC-DD3A-ED62F962E9F0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828800" y="3840480"/>
            <a:ext cx="8534396" cy="1714500"/>
          </a:xfrm>
        </p:spPr>
        <p:txBody>
          <a:bodyPr lIns="0" tIns="0" rIns="0" bIns="0">
            <a:spAutoFit/>
          </a:bodyPr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10" name="Google Shape;1951;p197">
            <a:extLst>
              <a:ext uri="{FF2B5EF4-FFF2-40B4-BE49-F238E27FC236}">
                <a16:creationId xmlns:a16="http://schemas.microsoft.com/office/drawing/2014/main" id="{08D18F70-77DE-16F1-527B-BA8B07AAAB17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11" name="Google Shape;1952;p197">
            <a:extLst>
              <a:ext uri="{FF2B5EF4-FFF2-40B4-BE49-F238E27FC236}">
                <a16:creationId xmlns:a16="http://schemas.microsoft.com/office/drawing/2014/main" id="{F9F26863-A129-BB57-D443-DC19262C2A4C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800" b="0" i="0" u="none" strike="noStrike" kern="1200" cap="none" spc="0" baseline="0">
                <a:solidFill>
                  <a:srgbClr val="919497"/>
                </a:solidFill>
                <a:uFillTx/>
                <a:latin typeface="Calibri"/>
                <a:ea typeface="Calibri"/>
                <a:cs typeface="Calibri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Google Shape;1953;p197">
            <a:extLst>
              <a:ext uri="{FF2B5EF4-FFF2-40B4-BE49-F238E27FC236}">
                <a16:creationId xmlns:a16="http://schemas.microsoft.com/office/drawing/2014/main" id="{F34D84D5-0A02-696E-26B1-FE5F56A4C3C3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 lIns="0" tIns="0" rIns="0" bIns="0"/>
          <a:lstStyle>
            <a:lvl1pPr marL="38103">
              <a:lnSpc>
                <a:spcPct val="118750"/>
              </a:lnSpc>
              <a:defRPr>
                <a:solidFill>
                  <a:srgbClr val="929599"/>
                </a:solidFill>
                <a:latin typeface="Arial"/>
                <a:ea typeface="Arial"/>
                <a:cs typeface="Arial"/>
              </a:defRPr>
            </a:lvl1pPr>
          </a:lstStyle>
          <a:p>
            <a:pPr lvl="0"/>
            <a:fld id="{2753AFD3-2B7A-4152-8979-CD787B4645F1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088623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Quot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955;p198">
            <a:extLst>
              <a:ext uri="{FF2B5EF4-FFF2-40B4-BE49-F238E27FC236}">
                <a16:creationId xmlns:a16="http://schemas.microsoft.com/office/drawing/2014/main" id="{A1CDA626-D6D5-20F4-DEA6-36C83A2E1CC5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956;p198">
            <a:extLst>
              <a:ext uri="{FF2B5EF4-FFF2-40B4-BE49-F238E27FC236}">
                <a16:creationId xmlns:a16="http://schemas.microsoft.com/office/drawing/2014/main" id="{300B17D0-F9EF-9418-AFA6-DEBEEADEDF4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957;p198">
            <a:extLst>
              <a:ext uri="{FF2B5EF4-FFF2-40B4-BE49-F238E27FC236}">
                <a16:creationId xmlns:a16="http://schemas.microsoft.com/office/drawing/2014/main" id="{C204D5AD-440C-BE07-A7C8-95F22D51DCA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958;p198">
            <a:extLst>
              <a:ext uri="{FF2B5EF4-FFF2-40B4-BE49-F238E27FC236}">
                <a16:creationId xmlns:a16="http://schemas.microsoft.com/office/drawing/2014/main" id="{8F7FFF28-49F4-DDAB-1E28-E0FAB7DCF3D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EB212142-1FAD-4FD5-BAC6-9AFC129956FE}" type="slidenum">
              <a:t>‹#›</a:t>
            </a:fld>
            <a:endParaRPr lang="en-US"/>
          </a:p>
        </p:txBody>
      </p:sp>
      <p:cxnSp>
        <p:nvCxnSpPr>
          <p:cNvPr id="6" name="Google Shape;1959;p198">
            <a:extLst>
              <a:ext uri="{FF2B5EF4-FFF2-40B4-BE49-F238E27FC236}">
                <a16:creationId xmlns:a16="http://schemas.microsoft.com/office/drawing/2014/main" id="{0169788C-4063-4D39-E606-176F9E38240F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960;p198">
            <a:extLst>
              <a:ext uri="{FF2B5EF4-FFF2-40B4-BE49-F238E27FC236}">
                <a16:creationId xmlns:a16="http://schemas.microsoft.com/office/drawing/2014/main" id="{2A028C96-62A1-E6A4-CB9F-4A96C0FA1304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1961;p198">
            <a:extLst>
              <a:ext uri="{FF2B5EF4-FFF2-40B4-BE49-F238E27FC236}">
                <a16:creationId xmlns:a16="http://schemas.microsoft.com/office/drawing/2014/main" id="{B4B885BC-7B2F-13EC-41C9-7674DF5C61F0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1962;p198">
              <a:extLst>
                <a:ext uri="{FF2B5EF4-FFF2-40B4-BE49-F238E27FC236}">
                  <a16:creationId xmlns:a16="http://schemas.microsoft.com/office/drawing/2014/main" id="{7748B41D-0207-4929-4E42-4574E8E7E87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1963;p198">
              <a:extLst>
                <a:ext uri="{FF2B5EF4-FFF2-40B4-BE49-F238E27FC236}">
                  <a16:creationId xmlns:a16="http://schemas.microsoft.com/office/drawing/2014/main" id="{4463D920-5691-2330-027C-F3A1D7F6D683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1964;p198">
                <a:extLst>
                  <a:ext uri="{FF2B5EF4-FFF2-40B4-BE49-F238E27FC236}">
                    <a16:creationId xmlns:a16="http://schemas.microsoft.com/office/drawing/2014/main" id="{71CB9085-1F48-1AB0-D367-5B5EEDDD62D5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1965;p198">
                <a:extLst>
                  <a:ext uri="{FF2B5EF4-FFF2-40B4-BE49-F238E27FC236}">
                    <a16:creationId xmlns:a16="http://schemas.microsoft.com/office/drawing/2014/main" id="{DE26C7CC-F21C-0F75-2185-CE238DAB2E57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1966;p198" descr="Open quotation mark with solid fill">
            <a:extLst>
              <a:ext uri="{FF2B5EF4-FFF2-40B4-BE49-F238E27FC236}">
                <a16:creationId xmlns:a16="http://schemas.microsoft.com/office/drawing/2014/main" id="{861261E4-FF5B-42E8-3161-DC900B209B3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542580561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Quot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955;p198">
            <a:extLst>
              <a:ext uri="{FF2B5EF4-FFF2-40B4-BE49-F238E27FC236}">
                <a16:creationId xmlns:a16="http://schemas.microsoft.com/office/drawing/2014/main" id="{1B166689-499A-67FC-40F4-21AAE7C1A3F0}"/>
              </a:ext>
            </a:extLst>
          </p:cNvPr>
          <p:cNvSpPr/>
          <p:nvPr/>
        </p:nvSpPr>
        <p:spPr>
          <a:xfrm>
            <a:off x="1427360" y="1387867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21" tIns="45701" rIns="91421" bIns="45701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Google Shape;1956;p198">
            <a:extLst>
              <a:ext uri="{FF2B5EF4-FFF2-40B4-BE49-F238E27FC236}">
                <a16:creationId xmlns:a16="http://schemas.microsoft.com/office/drawing/2014/main" id="{CAF5583B-4E70-E17D-B450-6475AD2CF2D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01" tIns="274301" rIns="274301" bIns="274301"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Google Shape;1957;p198">
            <a:extLst>
              <a:ext uri="{FF2B5EF4-FFF2-40B4-BE49-F238E27FC236}">
                <a16:creationId xmlns:a16="http://schemas.microsoft.com/office/drawing/2014/main" id="{1FCE46FC-3320-1ABD-7C65-F88711D5939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427360" y="5007455"/>
            <a:ext cx="10155042" cy="825191"/>
          </a:xfrm>
        </p:spPr>
        <p:txBody>
          <a:bodyPr/>
          <a:lstStyle>
            <a:lvl1pPr indent="-22860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Google Shape;1958;p198">
            <a:extLst>
              <a:ext uri="{FF2B5EF4-FFF2-40B4-BE49-F238E27FC236}">
                <a16:creationId xmlns:a16="http://schemas.microsoft.com/office/drawing/2014/main" id="{748B24DF-836A-1DF3-5CD1-FF3EF2A4015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DA60AACC-3965-4E84-BB7B-B53EEBB230E4}" type="slidenum">
              <a:t>‹#›</a:t>
            </a:fld>
            <a:endParaRPr lang="en-US"/>
          </a:p>
        </p:txBody>
      </p:sp>
      <p:cxnSp>
        <p:nvCxnSpPr>
          <p:cNvPr id="6" name="Google Shape;1959;p198">
            <a:extLst>
              <a:ext uri="{FF2B5EF4-FFF2-40B4-BE49-F238E27FC236}">
                <a16:creationId xmlns:a16="http://schemas.microsoft.com/office/drawing/2014/main" id="{4897FAC7-C4D9-FAEF-286B-C774E1390EB9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7" name="Google Shape;1960;p198">
            <a:extLst>
              <a:ext uri="{FF2B5EF4-FFF2-40B4-BE49-F238E27FC236}">
                <a16:creationId xmlns:a16="http://schemas.microsoft.com/office/drawing/2014/main" id="{C510FBEC-008D-0BA9-2912-A2FC559F46F0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8" name="Google Shape;1961;p198">
            <a:extLst>
              <a:ext uri="{FF2B5EF4-FFF2-40B4-BE49-F238E27FC236}">
                <a16:creationId xmlns:a16="http://schemas.microsoft.com/office/drawing/2014/main" id="{BD47A7E3-7964-5F3F-32D5-728A3E6F981D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Google Shape;1962;p198">
              <a:extLst>
                <a:ext uri="{FF2B5EF4-FFF2-40B4-BE49-F238E27FC236}">
                  <a16:creationId xmlns:a16="http://schemas.microsoft.com/office/drawing/2014/main" id="{5BF21805-9FDA-1C16-6E73-3B7C30C4669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oogle Shape;1963;p198">
              <a:extLst>
                <a:ext uri="{FF2B5EF4-FFF2-40B4-BE49-F238E27FC236}">
                  <a16:creationId xmlns:a16="http://schemas.microsoft.com/office/drawing/2014/main" id="{4CE8828D-C209-8836-49D8-BA794473337B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Google Shape;1964;p198">
                <a:extLst>
                  <a:ext uri="{FF2B5EF4-FFF2-40B4-BE49-F238E27FC236}">
                    <a16:creationId xmlns:a16="http://schemas.microsoft.com/office/drawing/2014/main" id="{A843FCD0-AC5D-BDD3-F16F-19D5C7B1F27D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12" name="Google Shape;1965;p198">
                <a:extLst>
                  <a:ext uri="{FF2B5EF4-FFF2-40B4-BE49-F238E27FC236}">
                    <a16:creationId xmlns:a16="http://schemas.microsoft.com/office/drawing/2014/main" id="{1EDD734C-7BBD-00A5-1D28-A80E8135B9BF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pic>
        <p:nvPicPr>
          <p:cNvPr id="13" name="Google Shape;1966;p198" descr="Open quotation mark with solid fill">
            <a:extLst>
              <a:ext uri="{FF2B5EF4-FFF2-40B4-BE49-F238E27FC236}">
                <a16:creationId xmlns:a16="http://schemas.microsoft.com/office/drawing/2014/main" id="{2CBC3E1D-9316-8B5B-4188-738F003A3A4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>
          <a:xfrm>
            <a:off x="111511" y="136529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788736945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TITLE_AND_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49;p9">
            <a:extLst>
              <a:ext uri="{FF2B5EF4-FFF2-40B4-BE49-F238E27FC236}">
                <a16:creationId xmlns:a16="http://schemas.microsoft.com/office/drawing/2014/main" id="{09C372C7-B19D-EFEE-7699-2B09C85AA82A}"/>
              </a:ext>
            </a:extLst>
          </p:cNvPr>
          <p:cNvSpPr/>
          <p:nvPr/>
        </p:nvSpPr>
        <p:spPr>
          <a:xfrm flipH="1">
            <a:off x="-17263" y="2735665"/>
            <a:ext cx="12226780" cy="4153424"/>
          </a:xfrm>
          <a:custGeom>
            <a:avLst/>
            <a:gdLst>
              <a:gd name="f0" fmla="val w"/>
              <a:gd name="f1" fmla="val h"/>
              <a:gd name="f2" fmla="val 0"/>
              <a:gd name="f3" fmla="val 285317"/>
              <a:gd name="f4" fmla="val 115437"/>
              <a:gd name="f5" fmla="val 1114"/>
              <a:gd name="f6" fmla="val 1"/>
              <a:gd name="f7" fmla="val 743"/>
              <a:gd name="f8" fmla="val 371"/>
              <a:gd name="f9" fmla="val 4"/>
              <a:gd name="f10" fmla="val 10"/>
              <a:gd name="f11" fmla="val 285316"/>
              <a:gd name="f12" fmla="val 16649"/>
              <a:gd name="f13" fmla="val 275981"/>
              <a:gd name="f14" fmla="val 17517"/>
              <a:gd name="f15" fmla="val 266737"/>
              <a:gd name="f16" fmla="val 22219"/>
              <a:gd name="f17" fmla="val 260505"/>
              <a:gd name="f18" fmla="val 29363"/>
              <a:gd name="f19" fmla="val 255233"/>
              <a:gd name="f20" fmla="val 35366"/>
              <a:gd name="f21" fmla="val 250873"/>
              <a:gd name="f22" fmla="val 43355"/>
              <a:gd name="f23" fmla="val 243067"/>
              <a:gd name="f24" fmla="val 45021"/>
              <a:gd name="f25" fmla="val 241949"/>
              <a:gd name="f26" fmla="val 45253"/>
              <a:gd name="f27" fmla="val 240817"/>
              <a:gd name="f28" fmla="val 45339"/>
              <a:gd name="f29" fmla="val 239680"/>
              <a:gd name="f30" fmla="val 237914"/>
              <a:gd name="f31" fmla="val 236134"/>
              <a:gd name="f32" fmla="val 45133"/>
              <a:gd name="f33" fmla="val 234370"/>
              <a:gd name="f34" fmla="val 44952"/>
              <a:gd name="f35" fmla="val 231734"/>
              <a:gd name="f36" fmla="val 44685"/>
              <a:gd name="f37" fmla="val 229019"/>
              <a:gd name="f38" fmla="val 44498"/>
              <a:gd name="f39" fmla="val 226316"/>
              <a:gd name="f40" fmla="val 219329"/>
              <a:gd name="f41" fmla="val 212416"/>
              <a:gd name="f42" fmla="val 45750"/>
              <a:gd name="f43" fmla="val 207117"/>
              <a:gd name="f44" fmla="val 50111"/>
              <a:gd name="f45" fmla="val 200087"/>
              <a:gd name="f46" fmla="val 55886"/>
              <a:gd name="f47" fmla="val 197850"/>
              <a:gd name="f48" fmla="val 65495"/>
              <a:gd name="f49" fmla="val 194997"/>
              <a:gd name="f50" fmla="val 74169"/>
              <a:gd name="f51" fmla="val 192166"/>
              <a:gd name="f52" fmla="val 82842"/>
              <a:gd name="f53" fmla="val 187168"/>
              <a:gd name="f54" fmla="val 92178"/>
              <a:gd name="f55" fmla="val 178288"/>
              <a:gd name="f56" fmla="val 94255"/>
              <a:gd name="f57" fmla="val 177041"/>
              <a:gd name="f58" fmla="val 94543"/>
              <a:gd name="f59" fmla="val 175796"/>
              <a:gd name="f60" fmla="val 94669"/>
              <a:gd name="f61" fmla="val 174551"/>
              <a:gd name="f62" fmla="val 165708"/>
              <a:gd name="f63" fmla="val 156917"/>
              <a:gd name="f64" fmla="val 88301"/>
              <a:gd name="f65" fmla="val 148045"/>
              <a:gd name="f66" fmla="val 146875"/>
              <a:gd name="f67" fmla="val 145703"/>
              <a:gd name="f68" fmla="val 88412"/>
              <a:gd name="f69" fmla="val 144530"/>
              <a:gd name="f70" fmla="val 88663"/>
              <a:gd name="f71" fmla="val 141060"/>
              <a:gd name="f72" fmla="val 89393"/>
              <a:gd name="f73" fmla="val 137956"/>
              <a:gd name="f74" fmla="val 91333"/>
              <a:gd name="f75" fmla="val 134646"/>
              <a:gd name="f76" fmla="val 92612"/>
              <a:gd name="f77" fmla="val 131720"/>
              <a:gd name="f78" fmla="val 93737"/>
              <a:gd name="f79" fmla="val 128631"/>
              <a:gd name="f80" fmla="val 94264"/>
              <a:gd name="f81" fmla="val 125532"/>
              <a:gd name="f82" fmla="val 113985"/>
              <a:gd name="f83" fmla="val 102305"/>
              <a:gd name="f84" fmla="val 86940"/>
              <a:gd name="f85" fmla="val 98400"/>
              <a:gd name="f86" fmla="val 75926"/>
              <a:gd name="f87" fmla="val 97190"/>
              <a:gd name="f88" fmla="val 72525"/>
              <a:gd name="f89" fmla="val 96642"/>
              <a:gd name="f90" fmla="val 68873"/>
              <a:gd name="f91" fmla="val 94930"/>
              <a:gd name="f92" fmla="val 65678"/>
              <a:gd name="f93" fmla="val 90993"/>
              <a:gd name="f94" fmla="val 58324"/>
              <a:gd name="f95" fmla="val 81998"/>
              <a:gd name="f96" fmla="val 55419"/>
              <a:gd name="f97" fmla="val 73534"/>
              <a:gd name="f98" fmla="val 72724"/>
              <a:gd name="f99" fmla="val 71919"/>
              <a:gd name="f100" fmla="val 55446"/>
              <a:gd name="f101" fmla="val 71124"/>
              <a:gd name="f102" fmla="val 55498"/>
              <a:gd name="f103" fmla="val 62016"/>
              <a:gd name="f104" fmla="val 56114"/>
              <a:gd name="f105" fmla="val 53160"/>
              <a:gd name="f106" fmla="val 59195"/>
              <a:gd name="f107" fmla="val 44030"/>
              <a:gd name="f108" fmla="val 59264"/>
              <a:gd name="f109" fmla="val 43906"/>
              <a:gd name="f110" fmla="val 59265"/>
              <a:gd name="f111" fmla="val 43782"/>
              <a:gd name="f112" fmla="val 59266"/>
              <a:gd name="f113" fmla="val 43658"/>
              <a:gd name="f114" fmla="val 41834"/>
              <a:gd name="f115" fmla="val 39970"/>
              <a:gd name="f116" fmla="val 59093"/>
              <a:gd name="f117" fmla="val 38347"/>
              <a:gd name="f118" fmla="val 58260"/>
              <a:gd name="f119" fmla="val 34261"/>
              <a:gd name="f120" fmla="val 56205"/>
              <a:gd name="f121" fmla="val 33120"/>
              <a:gd name="f122" fmla="val 50727"/>
              <a:gd name="f123" fmla="val 33964"/>
              <a:gd name="f124" fmla="val 46208"/>
              <a:gd name="f125" fmla="val 34809"/>
              <a:gd name="f126" fmla="val 41688"/>
              <a:gd name="f127" fmla="val 37091"/>
              <a:gd name="f128" fmla="val 37557"/>
              <a:gd name="f129" fmla="val 37958"/>
              <a:gd name="f130" fmla="val 33038"/>
              <a:gd name="f131" fmla="val 40241"/>
              <a:gd name="f132" fmla="val 21169"/>
              <a:gd name="f133" fmla="val 31864"/>
              <a:gd name="f134" fmla="val 9117"/>
              <a:gd name="f135" fmla="val 20908"/>
              <a:gd name="f136" fmla="val 3981"/>
              <a:gd name="f137" fmla="val 14632"/>
              <a:gd name="f138" fmla="val 1016"/>
              <a:gd name="f139" fmla="val 7904"/>
              <a:gd name="f140" fmla="*/ f0 1 285317"/>
              <a:gd name="f141" fmla="*/ f1 1 115437"/>
              <a:gd name="f142" fmla="+- f4 0 f2"/>
              <a:gd name="f143" fmla="+- f3 0 f2"/>
              <a:gd name="f144" fmla="*/ f143 1 285317"/>
              <a:gd name="f145" fmla="*/ f142 1 115437"/>
              <a:gd name="f146" fmla="*/ f2 1 f144"/>
              <a:gd name="f147" fmla="*/ f3 1 f144"/>
              <a:gd name="f148" fmla="*/ f2 1 f145"/>
              <a:gd name="f149" fmla="*/ f4 1 f145"/>
              <a:gd name="f150" fmla="*/ f146 f140 1"/>
              <a:gd name="f151" fmla="*/ f147 f140 1"/>
              <a:gd name="f152" fmla="*/ f149 f141 1"/>
              <a:gd name="f153" fmla="*/ f148 f141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50" t="f153" r="f151" b="f152"/>
            <a:pathLst>
              <a:path w="285317" h="115437">
                <a:moveTo>
                  <a:pt x="f5" y="f6"/>
                </a:moveTo>
                <a:cubicBezTo>
                  <a:pt x="f7" y="f6"/>
                  <a:pt x="f8" y="f9"/>
                  <a:pt x="f2" y="f10"/>
                </a:cubicBezTo>
                <a:lnTo>
                  <a:pt x="f2" y="f4"/>
                </a:lnTo>
                <a:lnTo>
                  <a:pt x="f11" y="f4"/>
                </a:lnTo>
                <a:lnTo>
                  <a:pt x="f11" y="f12"/>
                </a:lnTo>
                <a:cubicBezTo>
                  <a:pt x="f13" y="f14"/>
                  <a:pt x="f15" y="f16"/>
                  <a:pt x="f17" y="f18"/>
                </a:cubicBezTo>
                <a:cubicBezTo>
                  <a:pt x="f19" y="f20"/>
                  <a:pt x="f21" y="f22"/>
                  <a:pt x="f23" y="f24"/>
                </a:cubicBezTo>
                <a:cubicBezTo>
                  <a:pt x="f25" y="f26"/>
                  <a:pt x="f27" y="f28"/>
                  <a:pt x="f29" y="f28"/>
                </a:cubicBezTo>
                <a:cubicBezTo>
                  <a:pt x="f30" y="f28"/>
                  <a:pt x="f31" y="f32"/>
                  <a:pt x="f33" y="f34"/>
                </a:cubicBezTo>
                <a:cubicBezTo>
                  <a:pt x="f35" y="f36"/>
                  <a:pt x="f37" y="f38"/>
                  <a:pt x="f39" y="f38"/>
                </a:cubicBezTo>
                <a:cubicBezTo>
                  <a:pt x="f40" y="f38"/>
                  <a:pt x="f41" y="f42"/>
                  <a:pt x="f43" y="f44"/>
                </a:cubicBezTo>
                <a:cubicBezTo>
                  <a:pt x="f45" y="f46"/>
                  <a:pt x="f47" y="f48"/>
                  <a:pt x="f49" y="f50"/>
                </a:cubicBezTo>
                <a:cubicBezTo>
                  <a:pt x="f51" y="f52"/>
                  <a:pt x="f53" y="f54"/>
                  <a:pt x="f55" y="f56"/>
                </a:cubicBezTo>
                <a:cubicBezTo>
                  <a:pt x="f57" y="f58"/>
                  <a:pt x="f59" y="f60"/>
                  <a:pt x="f61" y="f60"/>
                </a:cubicBezTo>
                <a:cubicBezTo>
                  <a:pt x="f62" y="f60"/>
                  <a:pt x="f63" y="f64"/>
                  <a:pt x="f65" y="f64"/>
                </a:cubicBezTo>
                <a:cubicBezTo>
                  <a:pt x="f66" y="f64"/>
                  <a:pt x="f67" y="f68"/>
                  <a:pt x="f69" y="f70"/>
                </a:cubicBezTo>
                <a:cubicBezTo>
                  <a:pt x="f71" y="f72"/>
                  <a:pt x="f73" y="f74"/>
                  <a:pt x="f75" y="f76"/>
                </a:cubicBezTo>
                <a:cubicBezTo>
                  <a:pt x="f77" y="f78"/>
                  <a:pt x="f79" y="f80"/>
                  <a:pt x="f81" y="f80"/>
                </a:cubicBezTo>
                <a:cubicBezTo>
                  <a:pt x="f82" y="f80"/>
                  <a:pt x="f83" y="f84"/>
                  <a:pt x="f85" y="f86"/>
                </a:cubicBezTo>
                <a:cubicBezTo>
                  <a:pt x="f87" y="f88"/>
                  <a:pt x="f89" y="f90"/>
                  <a:pt x="f91" y="f92"/>
                </a:cubicBezTo>
                <a:cubicBezTo>
                  <a:pt x="f93" y="f94"/>
                  <a:pt x="f95" y="f96"/>
                  <a:pt x="f97" y="f96"/>
                </a:cubicBezTo>
                <a:cubicBezTo>
                  <a:pt x="f98" y="f96"/>
                  <a:pt x="f99" y="f100"/>
                  <a:pt x="f101" y="f102"/>
                </a:cubicBezTo>
                <a:cubicBezTo>
                  <a:pt x="f103" y="f104"/>
                  <a:pt x="f105" y="f106"/>
                  <a:pt x="f107" y="f108"/>
                </a:cubicBezTo>
                <a:cubicBezTo>
                  <a:pt x="f109" y="f110"/>
                  <a:pt x="f111" y="f112"/>
                  <a:pt x="f113" y="f112"/>
                </a:cubicBezTo>
                <a:cubicBezTo>
                  <a:pt x="f114" y="f112"/>
                  <a:pt x="f115" y="f116"/>
                  <a:pt x="f117" y="f118"/>
                </a:cubicBezTo>
                <a:cubicBezTo>
                  <a:pt x="f119" y="f120"/>
                  <a:pt x="f121" y="f122"/>
                  <a:pt x="f123" y="f124"/>
                </a:cubicBezTo>
                <a:cubicBezTo>
                  <a:pt x="f125" y="f126"/>
                  <a:pt x="f127" y="f128"/>
                  <a:pt x="f129" y="f130"/>
                </a:cubicBezTo>
                <a:cubicBezTo>
                  <a:pt x="f131" y="f132"/>
                  <a:pt x="f133" y="f134"/>
                  <a:pt x="f135" y="f136"/>
                </a:cubicBezTo>
                <a:cubicBezTo>
                  <a:pt x="f137" y="f138"/>
                  <a:pt x="f139" y="f6"/>
                  <a:pt x="f5" y="f6"/>
                </a:cubicBezTo>
                <a:close/>
              </a:path>
            </a:pathLst>
          </a:custGeom>
          <a:solidFill>
            <a:srgbClr val="FFFFFF">
              <a:alpha val="40240"/>
            </a:srgbClr>
          </a:solidFill>
          <a:ln cap="flat">
            <a:noFill/>
            <a:prstDash val="solid"/>
          </a:ln>
        </p:spPr>
        <p:txBody>
          <a:bodyPr vert="horz" wrap="square" lIns="121898" tIns="121898" rIns="121898" bIns="121898" anchor="ctr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67" b="0" i="0" u="none" strike="noStrike" kern="1200" cap="none" spc="0" baseline="0">
              <a:solidFill>
                <a:srgbClr val="444C55"/>
              </a:solidFill>
              <a:uFillTx/>
              <a:latin typeface="Arial"/>
            </a:endParaRPr>
          </a:p>
        </p:txBody>
      </p:sp>
      <p:sp>
        <p:nvSpPr>
          <p:cNvPr id="3" name="Google Shape;150;p9">
            <a:extLst>
              <a:ext uri="{FF2B5EF4-FFF2-40B4-BE49-F238E27FC236}">
                <a16:creationId xmlns:a16="http://schemas.microsoft.com/office/drawing/2014/main" id="{696A3EA8-88BC-5A4F-EA1C-4947047F92F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40029" y="1086197"/>
            <a:ext cx="7112002" cy="1122398"/>
          </a:xfrm>
        </p:spPr>
        <p:txBody>
          <a:bodyPr tIns="91421" bIns="91421" anchor="b" anchorCtr="1"/>
          <a:lstStyle>
            <a:lvl1pPr algn="ctr">
              <a:defRPr sz="6000"/>
            </a:lvl1pPr>
          </a:lstStyle>
          <a:p>
            <a:pPr lvl="0"/>
            <a:endParaRPr lang="en-US"/>
          </a:p>
        </p:txBody>
      </p:sp>
      <p:sp>
        <p:nvSpPr>
          <p:cNvPr id="4" name="Google Shape;151;p9">
            <a:extLst>
              <a:ext uri="{FF2B5EF4-FFF2-40B4-BE49-F238E27FC236}">
                <a16:creationId xmlns:a16="http://schemas.microsoft.com/office/drawing/2014/main" id="{196ACA55-0FA5-3E56-C734-9F186F58C4E8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2893865" y="2208596"/>
            <a:ext cx="6404402" cy="1786399"/>
          </a:xfrm>
        </p:spPr>
        <p:txBody>
          <a:bodyPr tIns="91421" bIns="91421" anchorCtr="1"/>
          <a:lstStyle>
            <a:lvl1pPr algn="ctr">
              <a:spcBef>
                <a:spcPts val="0"/>
              </a:spcBef>
              <a:buNone/>
              <a:defRPr sz="2133"/>
            </a:lvl1pPr>
          </a:lstStyle>
          <a:p>
            <a:pPr lvl="0"/>
            <a:endParaRPr lang="en-US"/>
          </a:p>
        </p:txBody>
      </p:sp>
      <p:sp>
        <p:nvSpPr>
          <p:cNvPr id="5" name="Google Shape;152;p9">
            <a:extLst>
              <a:ext uri="{FF2B5EF4-FFF2-40B4-BE49-F238E27FC236}">
                <a16:creationId xmlns:a16="http://schemas.microsoft.com/office/drawing/2014/main" id="{E6E6A210-2606-E01D-30BF-2CA82275C1D5}"/>
              </a:ext>
            </a:extLst>
          </p:cNvPr>
          <p:cNvSpPr/>
          <p:nvPr/>
        </p:nvSpPr>
        <p:spPr>
          <a:xfrm flipH="1">
            <a:off x="279687" y="2690402"/>
            <a:ext cx="273524" cy="273524"/>
          </a:xfrm>
          <a:custGeom>
            <a:avLst/>
            <a:gdLst>
              <a:gd name="f0" fmla="val w"/>
              <a:gd name="f1" fmla="val h"/>
              <a:gd name="f2" fmla="val 0"/>
              <a:gd name="f3" fmla="val 7602"/>
              <a:gd name="f4" fmla="val 2648"/>
              <a:gd name="f5" fmla="val 1"/>
              <a:gd name="f6" fmla="val 2420"/>
              <a:gd name="f7" fmla="val 2237"/>
              <a:gd name="f8" fmla="val 183"/>
              <a:gd name="f9" fmla="val 434"/>
              <a:gd name="f10" fmla="val 1804"/>
              <a:gd name="f11" fmla="val 2032"/>
              <a:gd name="f12" fmla="val 2215"/>
              <a:gd name="f13" fmla="val 206"/>
              <a:gd name="f14" fmla="val 4954"/>
              <a:gd name="f15" fmla="val 5182"/>
              <a:gd name="f16" fmla="val 5387"/>
              <a:gd name="f17" fmla="val 5570"/>
              <a:gd name="f18" fmla="val 5798"/>
              <a:gd name="f19" fmla="val 7168"/>
              <a:gd name="f20" fmla="val 7419"/>
              <a:gd name="f21" fmla="val 7601"/>
              <a:gd name="f22" fmla="val 4976"/>
              <a:gd name="f23" fmla="val 5205"/>
              <a:gd name="f24" fmla="val 7190"/>
              <a:gd name="f25" fmla="*/ f0 1 7602"/>
              <a:gd name="f26" fmla="*/ f1 1 7602"/>
              <a:gd name="f27" fmla="+- f3 0 f2"/>
              <a:gd name="f28" fmla="*/ f27 1 7602"/>
              <a:gd name="f29" fmla="*/ f2 1 f28"/>
              <a:gd name="f30" fmla="*/ f3 1 f28"/>
              <a:gd name="f31" fmla="*/ f29 f25 1"/>
              <a:gd name="f32" fmla="*/ f30 f25 1"/>
              <a:gd name="f33" fmla="*/ f30 f26 1"/>
              <a:gd name="f34" fmla="*/ f29 f2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1" t="f34" r="f32" b="f33"/>
            <a:pathLst>
              <a:path w="7602" h="7602">
                <a:moveTo>
                  <a:pt x="f4" y="f5"/>
                </a:moveTo>
                <a:cubicBezTo>
                  <a:pt x="f6" y="f5"/>
                  <a:pt x="f7" y="f8"/>
                  <a:pt x="f7" y="f9"/>
                </a:cubicBezTo>
                <a:lnTo>
                  <a:pt x="f7" y="f10"/>
                </a:lnTo>
                <a:cubicBezTo>
                  <a:pt x="f7" y="f11"/>
                  <a:pt x="f11" y="f12"/>
                  <a:pt x="f10" y="f12"/>
                </a:cubicBezTo>
                <a:lnTo>
                  <a:pt x="f9" y="f12"/>
                </a:lnTo>
                <a:cubicBezTo>
                  <a:pt x="f13" y="f12"/>
                  <a:pt x="f2" y="f6"/>
                  <a:pt x="f2" y="f4"/>
                </a:cubicBezTo>
                <a:lnTo>
                  <a:pt x="f2" y="f14"/>
                </a:lnTo>
                <a:cubicBezTo>
                  <a:pt x="f2" y="f15"/>
                  <a:pt x="f13" y="f16"/>
                  <a:pt x="f9" y="f16"/>
                </a:cubicBezTo>
                <a:lnTo>
                  <a:pt x="f10" y="f16"/>
                </a:lnTo>
                <a:cubicBezTo>
                  <a:pt x="f11" y="f16"/>
                  <a:pt x="f7" y="f17"/>
                  <a:pt x="f7" y="f18"/>
                </a:cubicBezTo>
                <a:lnTo>
                  <a:pt x="f7" y="f19"/>
                </a:lnTo>
                <a:cubicBezTo>
                  <a:pt x="f7" y="f20"/>
                  <a:pt x="f6" y="f21"/>
                  <a:pt x="f4" y="f21"/>
                </a:cubicBezTo>
                <a:lnTo>
                  <a:pt x="f22" y="f21"/>
                </a:lnTo>
                <a:cubicBezTo>
                  <a:pt x="f23" y="f21"/>
                  <a:pt x="f16" y="f20"/>
                  <a:pt x="f16" y="f19"/>
                </a:cubicBezTo>
                <a:lnTo>
                  <a:pt x="f16" y="f18"/>
                </a:lnTo>
                <a:cubicBezTo>
                  <a:pt x="f16" y="f17"/>
                  <a:pt x="f17" y="f16"/>
                  <a:pt x="f18" y="f16"/>
                </a:cubicBezTo>
                <a:lnTo>
                  <a:pt x="f24" y="f16"/>
                </a:lnTo>
                <a:cubicBezTo>
                  <a:pt x="f20" y="f16"/>
                  <a:pt x="f21" y="f15"/>
                  <a:pt x="f21" y="f14"/>
                </a:cubicBezTo>
                <a:lnTo>
                  <a:pt x="f21" y="f4"/>
                </a:lnTo>
                <a:cubicBezTo>
                  <a:pt x="f21" y="f6"/>
                  <a:pt x="f20" y="f12"/>
                  <a:pt x="f24" y="f12"/>
                </a:cubicBezTo>
                <a:lnTo>
                  <a:pt x="f18" y="f12"/>
                </a:lnTo>
                <a:cubicBezTo>
                  <a:pt x="f17" y="f12"/>
                  <a:pt x="f16" y="f11"/>
                  <a:pt x="f16" y="f10"/>
                </a:cubicBezTo>
                <a:lnTo>
                  <a:pt x="f16" y="f9"/>
                </a:lnTo>
                <a:cubicBezTo>
                  <a:pt x="f16" y="f8"/>
                  <a:pt x="f23" y="f5"/>
                  <a:pt x="f22" y="f5"/>
                </a:cubicBezTo>
                <a:close/>
              </a:path>
            </a:pathLst>
          </a:custGeom>
          <a:solidFill>
            <a:srgbClr val="FFFFFF"/>
          </a:solidFill>
          <a:ln cap="flat">
            <a:noFill/>
            <a:prstDash val="solid"/>
          </a:ln>
        </p:spPr>
        <p:txBody>
          <a:bodyPr vert="horz" wrap="square" lIns="121898" tIns="121898" rIns="121898" bIns="121898" anchor="ctr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67" b="0" i="0" u="none" strike="noStrike" kern="1200" cap="none" spc="0" baseline="0">
              <a:solidFill>
                <a:srgbClr val="444C55"/>
              </a:solidFill>
              <a:uFillTx/>
              <a:latin typeface="Arial"/>
            </a:endParaRPr>
          </a:p>
        </p:txBody>
      </p:sp>
      <p:sp>
        <p:nvSpPr>
          <p:cNvPr id="6" name="Google Shape;153;p9">
            <a:extLst>
              <a:ext uri="{FF2B5EF4-FFF2-40B4-BE49-F238E27FC236}">
                <a16:creationId xmlns:a16="http://schemas.microsoft.com/office/drawing/2014/main" id="{24D81A92-87E7-414F-6F35-C73C39555B0E}"/>
              </a:ext>
            </a:extLst>
          </p:cNvPr>
          <p:cNvSpPr/>
          <p:nvPr/>
        </p:nvSpPr>
        <p:spPr>
          <a:xfrm flipH="1">
            <a:off x="11819095" y="3465521"/>
            <a:ext cx="598739" cy="2244687"/>
          </a:xfrm>
          <a:custGeom>
            <a:avLst/>
            <a:gdLst>
              <a:gd name="f0" fmla="val w"/>
              <a:gd name="f1" fmla="val h"/>
              <a:gd name="f2" fmla="val 0"/>
              <a:gd name="f3" fmla="val 16641"/>
              <a:gd name="f4" fmla="val 62387"/>
              <a:gd name="f5" fmla="val 5438"/>
              <a:gd name="f6" fmla="val 1"/>
              <a:gd name="f7" fmla="val 5170"/>
              <a:gd name="f8" fmla="val 4901"/>
              <a:gd name="f9" fmla="val 24"/>
              <a:gd name="f10" fmla="val 4634"/>
              <a:gd name="f11" fmla="val 73"/>
              <a:gd name="f12" fmla="val 2831"/>
              <a:gd name="f13" fmla="val 415"/>
              <a:gd name="f14" fmla="val 1393"/>
              <a:gd name="f15" fmla="val 1853"/>
              <a:gd name="f16" fmla="val 708"/>
              <a:gd name="f17" fmla="val 3543"/>
              <a:gd name="f18" fmla="val 5232"/>
              <a:gd name="f19" fmla="val 7103"/>
              <a:gd name="f20" fmla="val 274"/>
              <a:gd name="f21" fmla="val 8906"/>
              <a:gd name="f22" fmla="val 959"/>
              <a:gd name="f23" fmla="val 13152"/>
              <a:gd name="f24" fmla="val 3173"/>
              <a:gd name="f25" fmla="val 16964"/>
              <a:gd name="f26" fmla="val 4839"/>
              <a:gd name="f27" fmla="val 20913"/>
              <a:gd name="f28" fmla="val 6483"/>
              <a:gd name="f29" fmla="val 24884"/>
              <a:gd name="f30" fmla="val 7579"/>
              <a:gd name="f31" fmla="val 29472"/>
              <a:gd name="f32" fmla="val 5912"/>
              <a:gd name="f33" fmla="val 33421"/>
              <a:gd name="f34" fmla="val 5136"/>
              <a:gd name="f35" fmla="val 35224"/>
              <a:gd name="f36" fmla="val 3858"/>
              <a:gd name="f37" fmla="val 36776"/>
              <a:gd name="f38" fmla="val 3196"/>
              <a:gd name="f39" fmla="val 38602"/>
              <a:gd name="f40" fmla="val 2078"/>
              <a:gd name="f41" fmla="val 41752"/>
              <a:gd name="f42" fmla="val 2945"/>
              <a:gd name="f43" fmla="val 45267"/>
              <a:gd name="f44" fmla="val 3972"/>
              <a:gd name="f45" fmla="val 48440"/>
              <a:gd name="f46" fmla="val 4520"/>
              <a:gd name="f47" fmla="val 50083"/>
              <a:gd name="f48" fmla="val 5091"/>
              <a:gd name="f49" fmla="val 51727"/>
              <a:gd name="f50" fmla="val 5227"/>
              <a:gd name="f51" fmla="val 53461"/>
              <a:gd name="f52" fmla="val 5433"/>
              <a:gd name="f53" fmla="val 56566"/>
              <a:gd name="f54" fmla="val 4109"/>
              <a:gd name="f55" fmla="val 59556"/>
              <a:gd name="f56" fmla="val 62386"/>
              <a:gd name="f57" fmla="val 7738"/>
              <a:gd name="f58" fmla="val 57889"/>
              <a:gd name="f59" fmla="val 9975"/>
              <a:gd name="f60" fmla="val 51110"/>
              <a:gd name="f61" fmla="val 9359"/>
              <a:gd name="f62" fmla="val 44560"/>
              <a:gd name="f63" fmla="val 9199"/>
              <a:gd name="f64" fmla="val 42802"/>
              <a:gd name="f65" fmla="val 8834"/>
              <a:gd name="f66" fmla="val 40999"/>
              <a:gd name="f67" fmla="val 9222"/>
              <a:gd name="f68" fmla="val 39264"/>
              <a:gd name="f69" fmla="val 9633"/>
              <a:gd name="f70" fmla="val 37392"/>
              <a:gd name="f71" fmla="val 10843"/>
              <a:gd name="f72" fmla="val 35817"/>
              <a:gd name="f73" fmla="val 11824"/>
              <a:gd name="f74" fmla="val 34174"/>
              <a:gd name="f75" fmla="val 16640"/>
              <a:gd name="f76" fmla="val 26117"/>
              <a:gd name="f77" fmla="val 15887"/>
              <a:gd name="f78" fmla="val 15777"/>
              <a:gd name="f79" fmla="val 12577"/>
              <a:gd name="f80" fmla="val 7012"/>
              <a:gd name="f81" fmla="val 11915"/>
              <a:gd name="f82" fmla="val 5209"/>
              <a:gd name="f83" fmla="val 11116"/>
              <a:gd name="f84" fmla="val 3406"/>
              <a:gd name="f85" fmla="val 9793"/>
              <a:gd name="f86" fmla="val 2036"/>
              <a:gd name="f87" fmla="val 8658"/>
              <a:gd name="f88" fmla="val 842"/>
              <a:gd name="f89" fmla="val 7053"/>
              <a:gd name="f90" fmla="*/ f0 1 16641"/>
              <a:gd name="f91" fmla="*/ f1 1 62387"/>
              <a:gd name="f92" fmla="+- f4 0 f2"/>
              <a:gd name="f93" fmla="+- f3 0 f2"/>
              <a:gd name="f94" fmla="*/ f93 1 16641"/>
              <a:gd name="f95" fmla="*/ f92 1 62387"/>
              <a:gd name="f96" fmla="*/ f2 1 f94"/>
              <a:gd name="f97" fmla="*/ f3 1 f94"/>
              <a:gd name="f98" fmla="*/ f2 1 f95"/>
              <a:gd name="f99" fmla="*/ f4 1 f95"/>
              <a:gd name="f100" fmla="*/ f96 f90 1"/>
              <a:gd name="f101" fmla="*/ f97 f90 1"/>
              <a:gd name="f102" fmla="*/ f99 f91 1"/>
              <a:gd name="f103" fmla="*/ f98 f91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00" t="f103" r="f101" b="f102"/>
            <a:pathLst>
              <a:path w="16641" h="62387">
                <a:moveTo>
                  <a:pt x="f5" y="f6"/>
                </a:moveTo>
                <a:cubicBezTo>
                  <a:pt x="f7" y="f6"/>
                  <a:pt x="f8" y="f9"/>
                  <a:pt x="f10" y="f11"/>
                </a:cubicBezTo>
                <a:cubicBezTo>
                  <a:pt x="f12" y="f13"/>
                  <a:pt x="f14" y="f15"/>
                  <a:pt x="f16" y="f17"/>
                </a:cubicBezTo>
                <a:cubicBezTo>
                  <a:pt x="f2" y="f18"/>
                  <a:pt x="f2" y="f19"/>
                  <a:pt x="f20" y="f21"/>
                </a:cubicBezTo>
                <a:cubicBezTo>
                  <a:pt x="f22" y="f23"/>
                  <a:pt x="f24" y="f25"/>
                  <a:pt x="f26" y="f27"/>
                </a:cubicBezTo>
                <a:cubicBezTo>
                  <a:pt x="f28" y="f29"/>
                  <a:pt x="f30" y="f31"/>
                  <a:pt x="f32" y="f33"/>
                </a:cubicBezTo>
                <a:cubicBezTo>
                  <a:pt x="f34" y="f35"/>
                  <a:pt x="f36" y="f37"/>
                  <a:pt x="f38" y="f39"/>
                </a:cubicBezTo>
                <a:cubicBezTo>
                  <a:pt x="f40" y="f41"/>
                  <a:pt x="f42" y="f43"/>
                  <a:pt x="f44" y="f45"/>
                </a:cubicBezTo>
                <a:cubicBezTo>
                  <a:pt x="f46" y="f47"/>
                  <a:pt x="f48" y="f49"/>
                  <a:pt x="f50" y="f51"/>
                </a:cubicBezTo>
                <a:cubicBezTo>
                  <a:pt x="f52" y="f53"/>
                  <a:pt x="f54" y="f55"/>
                  <a:pt x="f12" y="f56"/>
                </a:cubicBezTo>
                <a:cubicBezTo>
                  <a:pt x="f57" y="f58"/>
                  <a:pt x="f59" y="f60"/>
                  <a:pt x="f61" y="f62"/>
                </a:cubicBezTo>
                <a:cubicBezTo>
                  <a:pt x="f63" y="f64"/>
                  <a:pt x="f65" y="f66"/>
                  <a:pt x="f67" y="f68"/>
                </a:cubicBezTo>
                <a:cubicBezTo>
                  <a:pt x="f69" y="f70"/>
                  <a:pt x="f71" y="f72"/>
                  <a:pt x="f73" y="f74"/>
                </a:cubicBezTo>
                <a:cubicBezTo>
                  <a:pt x="f75" y="f76"/>
                  <a:pt x="f77" y="f78"/>
                  <a:pt x="f79" y="f80"/>
                </a:cubicBezTo>
                <a:cubicBezTo>
                  <a:pt x="f81" y="f82"/>
                  <a:pt x="f83" y="f84"/>
                  <a:pt x="f85" y="f86"/>
                </a:cubicBezTo>
                <a:cubicBezTo>
                  <a:pt x="f87" y="f88"/>
                  <a:pt x="f89" y="f6"/>
                  <a:pt x="f5" y="f6"/>
                </a:cubicBezTo>
                <a:close/>
              </a:path>
            </a:pathLst>
          </a:custGeom>
          <a:solidFill>
            <a:srgbClr val="A3B745"/>
          </a:solidFill>
          <a:ln cap="flat">
            <a:noFill/>
            <a:prstDash val="solid"/>
          </a:ln>
        </p:spPr>
        <p:txBody>
          <a:bodyPr vert="horz" wrap="square" lIns="121898" tIns="121898" rIns="121898" bIns="121898" anchor="ctr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67" b="0" i="0" u="none" strike="noStrike" kern="1200" cap="none" spc="0" baseline="0">
              <a:solidFill>
                <a:srgbClr val="444C55"/>
              </a:solidFill>
              <a:uFillTx/>
              <a:latin typeface="Arial"/>
            </a:endParaRPr>
          </a:p>
        </p:txBody>
      </p:sp>
      <p:grpSp>
        <p:nvGrpSpPr>
          <p:cNvPr id="7" name="Google Shape;154;p9">
            <a:extLst>
              <a:ext uri="{FF2B5EF4-FFF2-40B4-BE49-F238E27FC236}">
                <a16:creationId xmlns:a16="http://schemas.microsoft.com/office/drawing/2014/main" id="{0CD20C15-BC3F-18B5-1376-CC6D76612940}"/>
              </a:ext>
            </a:extLst>
          </p:cNvPr>
          <p:cNvGrpSpPr/>
          <p:nvPr/>
        </p:nvGrpSpPr>
        <p:grpSpPr>
          <a:xfrm>
            <a:off x="11305842" y="2311749"/>
            <a:ext cx="1166042" cy="1974756"/>
            <a:chOff x="11305842" y="2311749"/>
            <a:chExt cx="1166042" cy="1974756"/>
          </a:xfrm>
        </p:grpSpPr>
        <p:sp>
          <p:nvSpPr>
            <p:cNvPr id="8" name="Google Shape;155;p9">
              <a:extLst>
                <a:ext uri="{FF2B5EF4-FFF2-40B4-BE49-F238E27FC236}">
                  <a16:creationId xmlns:a16="http://schemas.microsoft.com/office/drawing/2014/main" id="{7D3AFEB0-6723-1EA0-9B3A-7185A3BAD70E}"/>
                </a:ext>
              </a:extLst>
            </p:cNvPr>
            <p:cNvSpPr/>
            <p:nvPr/>
          </p:nvSpPr>
          <p:spPr>
            <a:xfrm flipH="1">
              <a:off x="11594079" y="2311749"/>
              <a:ext cx="691533" cy="6741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220"/>
                <a:gd name="f4" fmla="val 18736"/>
                <a:gd name="f5" fmla="val 9145"/>
                <a:gd name="f6" fmla="val 9095"/>
                <a:gd name="f7" fmla="val 9044"/>
                <a:gd name="f8" fmla="val 1"/>
                <a:gd name="f9" fmla="val 8994"/>
                <a:gd name="f10" fmla="val 2"/>
                <a:gd name="f11" fmla="val 7190"/>
                <a:gd name="f12" fmla="val 48"/>
                <a:gd name="f13" fmla="val 5410"/>
                <a:gd name="f14" fmla="val 824"/>
                <a:gd name="f15" fmla="val 4132"/>
                <a:gd name="f16" fmla="val 2079"/>
                <a:gd name="f17" fmla="val 3675"/>
                <a:gd name="f18" fmla="val 2536"/>
                <a:gd name="f19" fmla="val 3264"/>
                <a:gd name="f20" fmla="val 3084"/>
                <a:gd name="f21" fmla="val 3127"/>
                <a:gd name="f22" fmla="val 3723"/>
                <a:gd name="f23" fmla="val 2945"/>
                <a:gd name="f24" fmla="val 4476"/>
                <a:gd name="f25" fmla="val 3173"/>
                <a:gd name="f26" fmla="val 5275"/>
                <a:gd name="f27" fmla="val 3493"/>
                <a:gd name="f28" fmla="val 6005"/>
                <a:gd name="f29" fmla="val 4155"/>
                <a:gd name="f30" fmla="val 7466"/>
                <a:gd name="f31" fmla="val 5182"/>
                <a:gd name="f32" fmla="val 8744"/>
                <a:gd name="f33" fmla="val 5866"/>
                <a:gd name="f34" fmla="val 10182"/>
                <a:gd name="f35" fmla="val 4908"/>
                <a:gd name="f36" fmla="val 9406"/>
                <a:gd name="f37" fmla="val 3926"/>
                <a:gd name="f38" fmla="val 8630"/>
                <a:gd name="f39" fmla="val 7854"/>
                <a:gd name="f40" fmla="val 2717"/>
                <a:gd name="f41" fmla="val 7671"/>
                <a:gd name="f42" fmla="val 2466"/>
                <a:gd name="f43" fmla="val 7489"/>
                <a:gd name="f44" fmla="val 2192"/>
                <a:gd name="f45" fmla="val 7420"/>
                <a:gd name="f46" fmla="val 2152"/>
                <a:gd name="f47" fmla="val 7416"/>
                <a:gd name="f48" fmla="val 2112"/>
                <a:gd name="f49" fmla="val 7413"/>
                <a:gd name="f50" fmla="val 2072"/>
                <a:gd name="f51" fmla="val 1725"/>
                <a:gd name="f52" fmla="val 1390"/>
                <a:gd name="f53" fmla="val 7586"/>
                <a:gd name="f54" fmla="val 1164"/>
                <a:gd name="f55" fmla="val 7831"/>
                <a:gd name="f56" fmla="val 913"/>
                <a:gd name="f57" fmla="val 8105"/>
                <a:gd name="f58" fmla="val 776"/>
                <a:gd name="f59" fmla="val 8470"/>
                <a:gd name="f60" fmla="val 662"/>
                <a:gd name="f61" fmla="val 8835"/>
                <a:gd name="f62" fmla="val 11323"/>
                <a:gd name="f63" fmla="val 1210"/>
                <a:gd name="f64" fmla="val 14062"/>
                <a:gd name="f65" fmla="val 3150"/>
                <a:gd name="f66" fmla="val 15752"/>
                <a:gd name="f67" fmla="val 5090"/>
                <a:gd name="f68" fmla="val 17441"/>
                <a:gd name="f69" fmla="val 7647"/>
                <a:gd name="f70" fmla="val 18239"/>
                <a:gd name="f71" fmla="val 10180"/>
                <a:gd name="f72" fmla="val 18673"/>
                <a:gd name="f73" fmla="val 10426"/>
                <a:gd name="f74" fmla="val 18715"/>
                <a:gd name="f75" fmla="val 10675"/>
                <a:gd name="f76" fmla="val 18735"/>
                <a:gd name="f77" fmla="val 10925"/>
                <a:gd name="f78" fmla="val 12446"/>
                <a:gd name="f79" fmla="val 14020"/>
                <a:gd name="f80" fmla="val 17997"/>
                <a:gd name="f81" fmla="val 15156"/>
                <a:gd name="f82" fmla="val 16938"/>
                <a:gd name="f83" fmla="val 16320"/>
                <a:gd name="f84" fmla="val 15866"/>
                <a:gd name="f85" fmla="val 16868"/>
                <a:gd name="f86" fmla="val 14291"/>
                <a:gd name="f87" fmla="val 17507"/>
                <a:gd name="f88" fmla="val 12853"/>
                <a:gd name="f89" fmla="val 18101"/>
                <a:gd name="f90" fmla="val 11483"/>
                <a:gd name="f91" fmla="val 18831"/>
                <a:gd name="f92" fmla="val 10159"/>
                <a:gd name="f93" fmla="val 19014"/>
                <a:gd name="f94" fmla="val 8676"/>
                <a:gd name="f95" fmla="val 19219"/>
                <a:gd name="f96" fmla="val 6987"/>
                <a:gd name="f97" fmla="val 18671"/>
                <a:gd name="f98" fmla="val 18078"/>
                <a:gd name="f99" fmla="val 3677"/>
                <a:gd name="f100" fmla="val 17850"/>
                <a:gd name="f101" fmla="val 3015"/>
                <a:gd name="f102" fmla="val 17599"/>
                <a:gd name="f103" fmla="val 2376"/>
                <a:gd name="f104" fmla="val 17142"/>
                <a:gd name="f105" fmla="val 1874"/>
                <a:gd name="f106" fmla="val 16771"/>
                <a:gd name="f107" fmla="val 1485"/>
                <a:gd name="f108" fmla="val 16249"/>
                <a:gd name="f109" fmla="val 1205"/>
                <a:gd name="f110" fmla="val 15735"/>
                <a:gd name="f111" fmla="val 15586"/>
                <a:gd name="f112" fmla="val 15437"/>
                <a:gd name="f113" fmla="val 1229"/>
                <a:gd name="f114" fmla="val 15293"/>
                <a:gd name="f115" fmla="val 1280"/>
                <a:gd name="f116" fmla="val 14700"/>
                <a:gd name="f117" fmla="val 1509"/>
                <a:gd name="f118" fmla="val 14335"/>
                <a:gd name="f119" fmla="val 2102"/>
                <a:gd name="f120" fmla="val 14084"/>
                <a:gd name="f121" fmla="val 2695"/>
                <a:gd name="f122" fmla="val 13513"/>
                <a:gd name="f123" fmla="val 3997"/>
                <a:gd name="f124" fmla="val 13285"/>
                <a:gd name="f125" fmla="val 5412"/>
                <a:gd name="f126" fmla="val 13079"/>
                <a:gd name="f127" fmla="val 6804"/>
                <a:gd name="f128" fmla="val 13148"/>
                <a:gd name="f129" fmla="val 5571"/>
                <a:gd name="f130" fmla="val 13034"/>
                <a:gd name="f131" fmla="val 4339"/>
                <a:gd name="f132" fmla="val 12760"/>
                <a:gd name="f133" fmla="val 3129"/>
                <a:gd name="f134" fmla="val 12577"/>
                <a:gd name="f135" fmla="val 2262"/>
                <a:gd name="f136" fmla="val 12280"/>
                <a:gd name="f137" fmla="val 1372"/>
                <a:gd name="f138" fmla="val 11618"/>
                <a:gd name="f139" fmla="val 778"/>
                <a:gd name="f140" fmla="val 10949"/>
                <a:gd name="f141" fmla="val 195"/>
                <a:gd name="f142" fmla="val 10034"/>
                <a:gd name="f143" fmla="*/ f0 1 19220"/>
                <a:gd name="f144" fmla="*/ f1 1 18736"/>
                <a:gd name="f145" fmla="+- f4 0 f2"/>
                <a:gd name="f146" fmla="+- f3 0 f2"/>
                <a:gd name="f147" fmla="*/ f146 1 19220"/>
                <a:gd name="f148" fmla="*/ f145 1 18736"/>
                <a:gd name="f149" fmla="*/ f2 1 f147"/>
                <a:gd name="f150" fmla="*/ f3 1 f147"/>
                <a:gd name="f151" fmla="*/ f2 1 f148"/>
                <a:gd name="f152" fmla="*/ f4 1 f148"/>
                <a:gd name="f153" fmla="*/ f149 f143 1"/>
                <a:gd name="f154" fmla="*/ f150 f143 1"/>
                <a:gd name="f155" fmla="*/ f152 f144 1"/>
                <a:gd name="f156" fmla="*/ f151 f14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53" t="f156" r="f154" b="f155"/>
              <a:pathLst>
                <a:path w="19220" h="18736">
                  <a:moveTo>
                    <a:pt x="f5" y="f2"/>
                  </a:moveTo>
                  <a:cubicBezTo>
                    <a:pt x="f6" y="f2"/>
                    <a:pt x="f7" y="f8"/>
                    <a:pt x="f9" y="f10"/>
                  </a:cubicBezTo>
                  <a:cubicBezTo>
                    <a:pt x="f11" y="f12"/>
                    <a:pt x="f13" y="f14"/>
                    <a:pt x="f15" y="f16"/>
                  </a:cubicBezTo>
                  <a:cubicBezTo>
                    <a:pt x="f17" y="f18"/>
                    <a:pt x="f19" y="f20"/>
                    <a:pt x="f21" y="f22"/>
                  </a:cubicBezTo>
                  <a:cubicBezTo>
                    <a:pt x="f23" y="f24"/>
                    <a:pt x="f25" y="f26"/>
                    <a:pt x="f27" y="f28"/>
                  </a:cubicBez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23" y="f39"/>
                  </a:cubicBezTo>
                  <a:cubicBezTo>
                    <a:pt x="f40" y="f41"/>
                    <a:pt x="f42" y="f43"/>
                    <a:pt x="f44" y="f45"/>
                  </a:cubicBezTo>
                  <a:cubicBezTo>
                    <a:pt x="f46" y="f47"/>
                    <a:pt x="f48" y="f49"/>
                    <a:pt x="f50" y="f49"/>
                  </a:cubicBezTo>
                  <a:cubicBezTo>
                    <a:pt x="f51" y="f49"/>
                    <a:pt x="f52" y="f53"/>
                    <a:pt x="f54" y="f55"/>
                  </a:cubicBezTo>
                  <a:cubicBezTo>
                    <a:pt x="f56" y="f57"/>
                    <a:pt x="f58" y="f59"/>
                    <a:pt x="f60" y="f61"/>
                  </a:cubicBezTo>
                  <a:cubicBezTo>
                    <a:pt x="f2" y="f62"/>
                    <a:pt x="f63" y="f64"/>
                    <a:pt x="f65" y="f66"/>
                  </a:cubicBezTo>
                  <a:cubicBezTo>
                    <a:pt x="f67" y="f68"/>
                    <a:pt x="f69" y="f70"/>
                    <a:pt x="f71" y="f72"/>
                  </a:cubicBezTo>
                  <a:cubicBezTo>
                    <a:pt x="f73" y="f74"/>
                    <a:pt x="f75" y="f76"/>
                    <a:pt x="f77" y="f76"/>
                  </a:cubicBezTo>
                  <a:cubicBezTo>
                    <a:pt x="f78" y="f76"/>
                    <a:pt x="f79" y="f80"/>
                    <a:pt x="f81" y="f82"/>
                  </a:cubicBezTo>
                  <a:cubicBezTo>
                    <a:pt x="f83" y="f84"/>
                    <a:pt x="f85" y="f86"/>
                    <a:pt x="f87" y="f88"/>
                  </a:cubicBezTo>
                  <a:cubicBezTo>
                    <a:pt x="f89" y="f90"/>
                    <a:pt x="f91" y="f92"/>
                    <a:pt x="f93" y="f94"/>
                  </a:cubicBezTo>
                  <a:cubicBezTo>
                    <a:pt x="f95" y="f96"/>
                    <a:pt x="f97" y="f26"/>
                    <a:pt x="f98" y="f99"/>
                  </a:cubicBezTo>
                  <a:cubicBezTo>
                    <a:pt x="f100" y="f101"/>
                    <a:pt x="f102" y="f103"/>
                    <a:pt x="f104" y="f105"/>
                  </a:cubicBezTo>
                  <a:cubicBezTo>
                    <a:pt x="f106" y="f107"/>
                    <a:pt x="f108" y="f109"/>
                    <a:pt x="f110" y="f109"/>
                  </a:cubicBezTo>
                  <a:cubicBezTo>
                    <a:pt x="f111" y="f109"/>
                    <a:pt x="f112" y="f113"/>
                    <a:pt x="f114" y="f115"/>
                  </a:cubicBezTo>
                  <a:cubicBezTo>
                    <a:pt x="f116" y="f117"/>
                    <a:pt x="f118" y="f119"/>
                    <a:pt x="f120" y="f121"/>
                  </a:cubicBezTo>
                  <a:cubicBezTo>
                    <a:pt x="f122" y="f123"/>
                    <a:pt x="f124" y="f125"/>
                    <a:pt x="f126" y="f127"/>
                  </a:cubicBezTo>
                  <a:cubicBezTo>
                    <a:pt x="f128" y="f129"/>
                    <a:pt x="f130" y="f131"/>
                    <a:pt x="f132" y="f133"/>
                  </a:cubicBezTo>
                  <a:cubicBezTo>
                    <a:pt x="f134" y="f135"/>
                    <a:pt x="f136" y="f137"/>
                    <a:pt x="f138" y="f139"/>
                  </a:cubicBezTo>
                  <a:cubicBezTo>
                    <a:pt x="f140" y="f141"/>
                    <a:pt x="f142" y="f2"/>
                    <a:pt x="f5" y="f2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91421" rIns="91421" bIns="9142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67" b="0" i="0" u="none" strike="noStrike" kern="1200" cap="none" spc="0" baseline="0">
                <a:solidFill>
                  <a:srgbClr val="444C55"/>
                </a:solidFill>
                <a:uFillTx/>
                <a:latin typeface="Arial"/>
              </a:endParaRPr>
            </a:p>
          </p:txBody>
        </p:sp>
        <p:sp>
          <p:nvSpPr>
            <p:cNvPr id="9" name="Google Shape;156;p9">
              <a:extLst>
                <a:ext uri="{FF2B5EF4-FFF2-40B4-BE49-F238E27FC236}">
                  <a16:creationId xmlns:a16="http://schemas.microsoft.com/office/drawing/2014/main" id="{BDCB4271-E0F7-BEAD-90E7-C8560A5DCA2A}"/>
                </a:ext>
              </a:extLst>
            </p:cNvPr>
            <p:cNvSpPr/>
            <p:nvPr/>
          </p:nvSpPr>
          <p:spPr>
            <a:xfrm flipH="1">
              <a:off x="11713171" y="2660501"/>
              <a:ext cx="358106" cy="31490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9953"/>
                <a:gd name="f4" fmla="val 8752"/>
                <a:gd name="f5" fmla="val 6563"/>
                <a:gd name="f6" fmla="val 1"/>
                <a:gd name="f7" fmla="val 6452"/>
                <a:gd name="f8" fmla="val 6342"/>
                <a:gd name="f9" fmla="val 4"/>
                <a:gd name="f10" fmla="val 6232"/>
                <a:gd name="f11" fmla="val 10"/>
                <a:gd name="f12" fmla="val 4406"/>
                <a:gd name="f13" fmla="val 78"/>
                <a:gd name="f14" fmla="val 2626"/>
                <a:gd name="f15" fmla="val 740"/>
                <a:gd name="f16" fmla="val 1211"/>
                <a:gd name="f17" fmla="val 1882"/>
                <a:gd name="f18" fmla="val 754"/>
                <a:gd name="f19" fmla="val 2270"/>
                <a:gd name="f20" fmla="val 298"/>
                <a:gd name="f21" fmla="val 2726"/>
                <a:gd name="f22" fmla="val 138"/>
                <a:gd name="f23" fmla="val 3297"/>
                <a:gd name="f24" fmla="val 3776"/>
                <a:gd name="f25" fmla="val 92"/>
                <a:gd name="f26" fmla="val 4278"/>
                <a:gd name="f27" fmla="val 229"/>
                <a:gd name="f28" fmla="val 4758"/>
                <a:gd name="f29" fmla="val 822"/>
                <a:gd name="f30" fmla="val 6835"/>
                <a:gd name="f31" fmla="val 2671"/>
                <a:gd name="f32" fmla="val 8569"/>
                <a:gd name="f33" fmla="val 4817"/>
                <a:gd name="f34" fmla="val 5661"/>
                <a:gd name="f35" fmla="val 8250"/>
                <a:gd name="f36" fmla="val 6780"/>
                <a:gd name="f37" fmla="val 8318"/>
                <a:gd name="f38" fmla="val 7670"/>
                <a:gd name="f39" fmla="val 7930"/>
                <a:gd name="f40" fmla="val 8515"/>
                <a:gd name="f41" fmla="val 7588"/>
                <a:gd name="f42" fmla="val 9131"/>
                <a:gd name="f43" fmla="val 6880"/>
                <a:gd name="f44" fmla="val 9496"/>
                <a:gd name="f45" fmla="val 6059"/>
                <a:gd name="f46" fmla="val 9838"/>
                <a:gd name="f47" fmla="val 5237"/>
                <a:gd name="f48" fmla="val 4324"/>
                <a:gd name="f49" fmla="val 9884"/>
                <a:gd name="f50" fmla="val 3434"/>
                <a:gd name="f51" fmla="val 9816"/>
                <a:gd name="f52" fmla="val 2361"/>
                <a:gd name="f53" fmla="val 9519"/>
                <a:gd name="f54" fmla="val 1242"/>
                <a:gd name="f55" fmla="val 8674"/>
                <a:gd name="f56" fmla="val 603"/>
                <a:gd name="f57" fmla="val 8078"/>
                <a:gd name="f58" fmla="val 146"/>
                <a:gd name="f59" fmla="val 7310"/>
                <a:gd name="f60" fmla="*/ f0 1 9953"/>
                <a:gd name="f61" fmla="*/ f1 1 8752"/>
                <a:gd name="f62" fmla="+- f4 0 f2"/>
                <a:gd name="f63" fmla="+- f3 0 f2"/>
                <a:gd name="f64" fmla="*/ f63 1 9953"/>
                <a:gd name="f65" fmla="*/ f62 1 8752"/>
                <a:gd name="f66" fmla="*/ f2 1 f64"/>
                <a:gd name="f67" fmla="*/ f3 1 f64"/>
                <a:gd name="f68" fmla="*/ f2 1 f65"/>
                <a:gd name="f69" fmla="*/ f4 1 f65"/>
                <a:gd name="f70" fmla="*/ f66 f60 1"/>
                <a:gd name="f71" fmla="*/ f67 f60 1"/>
                <a:gd name="f72" fmla="*/ f69 f61 1"/>
                <a:gd name="f73" fmla="*/ f68 f6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70" t="f73" r="f71" b="f72"/>
              <a:pathLst>
                <a:path w="9953" h="8752">
                  <a:moveTo>
                    <a:pt x="f5" y="f6"/>
                  </a:moveTo>
                  <a:cubicBezTo>
                    <a:pt x="f7" y="f6"/>
                    <a:pt x="f8" y="f9"/>
                    <a:pt x="f10" y="f11"/>
                  </a:cubicBezTo>
                  <a:cubicBezTo>
                    <a:pt x="f12" y="f13"/>
                    <a:pt x="f14" y="f15"/>
                    <a:pt x="f16" y="f17"/>
                  </a:cubicBezTo>
                  <a:cubicBezTo>
                    <a:pt x="f18" y="f19"/>
                    <a:pt x="f20" y="f21"/>
                    <a:pt x="f22" y="f23"/>
                  </a:cubicBezTo>
                  <a:cubicBezTo>
                    <a:pt x="f6" y="f24"/>
                    <a:pt x="f25" y="f26"/>
                    <a:pt x="f27" y="f28"/>
                  </a:cubicBezTo>
                  <a:cubicBezTo>
                    <a:pt x="f29" y="f30"/>
                    <a:pt x="f31" y="f32"/>
                    <a:pt x="f33" y="f4"/>
                  </a:cubicBezTo>
                  <a:cubicBezTo>
                    <a:pt x="f34" y="f35"/>
                    <a:pt x="f36" y="f37"/>
                    <a:pt x="f38" y="f39"/>
                  </a:cubicBezTo>
                  <a:cubicBezTo>
                    <a:pt x="f40" y="f41"/>
                    <a:pt x="f42" y="f43"/>
                    <a:pt x="f44" y="f45"/>
                  </a:cubicBezTo>
                  <a:cubicBezTo>
                    <a:pt x="f46" y="f47"/>
                    <a:pt x="f3" y="f48"/>
                    <a:pt x="f49" y="f50"/>
                  </a:cubicBezTo>
                  <a:cubicBezTo>
                    <a:pt x="f51" y="f52"/>
                    <a:pt x="f53" y="f54"/>
                    <a:pt x="f55" y="f56"/>
                  </a:cubicBezTo>
                  <a:cubicBezTo>
                    <a:pt x="f57" y="f58"/>
                    <a:pt x="f59" y="f6"/>
                    <a:pt x="f5" y="f6"/>
                  </a:cubicBezTo>
                  <a:close/>
                </a:path>
              </a:pathLst>
            </a:custGeom>
            <a:solidFill>
              <a:srgbClr val="6B95FD"/>
            </a:solidFill>
            <a:ln cap="flat">
              <a:noFill/>
              <a:prstDash val="solid"/>
            </a:ln>
          </p:spPr>
          <p:txBody>
            <a:bodyPr vert="horz" wrap="square" lIns="91421" tIns="91421" rIns="91421" bIns="9142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67" b="0" i="0" u="none" strike="noStrike" kern="1200" cap="none" spc="0" baseline="0">
                <a:solidFill>
                  <a:srgbClr val="444C55"/>
                </a:solidFill>
                <a:uFillTx/>
                <a:latin typeface="Arial"/>
              </a:endParaRPr>
            </a:p>
          </p:txBody>
        </p:sp>
        <p:sp>
          <p:nvSpPr>
            <p:cNvPr id="10" name="Google Shape;157;p9">
              <a:extLst>
                <a:ext uri="{FF2B5EF4-FFF2-40B4-BE49-F238E27FC236}">
                  <a16:creationId xmlns:a16="http://schemas.microsoft.com/office/drawing/2014/main" id="{A4FC1D9E-BCC3-898B-7A0E-3C1C56B41001}"/>
                </a:ext>
              </a:extLst>
            </p:cNvPr>
            <p:cNvSpPr/>
            <p:nvPr/>
          </p:nvSpPr>
          <p:spPr>
            <a:xfrm flipH="1">
              <a:off x="11305842" y="2781933"/>
              <a:ext cx="1166042" cy="150457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2408"/>
                <a:gd name="f4" fmla="val 41817"/>
                <a:gd name="f5" fmla="val 30309"/>
                <a:gd name="f6" fmla="val 1"/>
                <a:gd name="f7" fmla="val 29836"/>
                <a:gd name="f8" fmla="val 29342"/>
                <a:gd name="f9" fmla="val 124"/>
                <a:gd name="f10" fmla="val 28916"/>
                <a:gd name="f11" fmla="val 310"/>
                <a:gd name="f12" fmla="val 27090"/>
                <a:gd name="f13" fmla="val 1109"/>
                <a:gd name="f14" fmla="val 25720"/>
                <a:gd name="f15" fmla="val 2661"/>
                <a:gd name="f16" fmla="val 24556"/>
                <a:gd name="f17" fmla="val 4281"/>
                <a:gd name="f18" fmla="val 22662"/>
                <a:gd name="f19" fmla="val 6906"/>
                <a:gd name="f20" fmla="val 21132"/>
                <a:gd name="f21" fmla="val 9828"/>
                <a:gd name="f22" fmla="val 20037"/>
                <a:gd name="f23" fmla="val 12909"/>
                <a:gd name="f24" fmla="val 20196"/>
                <a:gd name="f25" fmla="val 11700"/>
                <a:gd name="f26" fmla="val 20219"/>
                <a:gd name="f27" fmla="val 10513"/>
                <a:gd name="f28" fmla="val 20082"/>
                <a:gd name="f29" fmla="val 9326"/>
                <a:gd name="f30" fmla="val 19991"/>
                <a:gd name="f31" fmla="val 8413"/>
                <a:gd name="f32" fmla="val 19786"/>
                <a:gd name="f33" fmla="val 7500"/>
                <a:gd name="f34" fmla="val 6587"/>
                <a:gd name="f35" fmla="val 19808"/>
                <a:gd name="f36" fmla="val 5674"/>
                <a:gd name="f37" fmla="val 4715"/>
                <a:gd name="f38" fmla="val 20744"/>
                <a:gd name="f39" fmla="val 4099"/>
                <a:gd name="f40" fmla="val 21109"/>
                <a:gd name="f41" fmla="val 3779"/>
                <a:gd name="f42" fmla="val 21543"/>
                <a:gd name="f43" fmla="val 3574"/>
                <a:gd name="f44" fmla="val 21931"/>
                <a:gd name="f45" fmla="val 3277"/>
                <a:gd name="f46" fmla="val 22296"/>
                <a:gd name="f47" fmla="val 2980"/>
                <a:gd name="f48" fmla="val 22616"/>
                <a:gd name="f49" fmla="val 2524"/>
                <a:gd name="f50" fmla="val 22547"/>
                <a:gd name="f51" fmla="val 2044"/>
                <a:gd name="f52" fmla="val 22468"/>
                <a:gd name="f53" fmla="val 1992"/>
                <a:gd name="f54" fmla="val 22387"/>
                <a:gd name="f55" fmla="val 1969"/>
                <a:gd name="f56" fmla="val 22306"/>
                <a:gd name="f57" fmla="val 21776"/>
                <a:gd name="f58" fmla="val 21200"/>
                <a:gd name="f59" fmla="val 2926"/>
                <a:gd name="f60" fmla="val 20693"/>
                <a:gd name="f61" fmla="val 20601"/>
                <a:gd name="f62" fmla="val 20511"/>
                <a:gd name="f63" fmla="val 2895"/>
                <a:gd name="f64" fmla="val 20425"/>
                <a:gd name="f65" fmla="val 2820"/>
                <a:gd name="f66" fmla="val 20356"/>
                <a:gd name="f67" fmla="val 2752"/>
                <a:gd name="f68" fmla="val 20288"/>
                <a:gd name="f69" fmla="val 2569"/>
                <a:gd name="f70" fmla="val 20134"/>
                <a:gd name="f71" fmla="val 2490"/>
                <a:gd name="f72" fmla="val 20035"/>
                <a:gd name="f73" fmla="val 2455"/>
                <a:gd name="f74" fmla="val 19933"/>
                <a:gd name="f75" fmla="val 19624"/>
                <a:gd name="f76" fmla="val 19278"/>
                <a:gd name="f77" fmla="val 2763"/>
                <a:gd name="f78" fmla="val 19124"/>
                <a:gd name="f79" fmla="val 3072"/>
                <a:gd name="f80" fmla="val 18918"/>
                <a:gd name="f81" fmla="val 3482"/>
                <a:gd name="f82" fmla="val 18758"/>
                <a:gd name="f83" fmla="val 4030"/>
                <a:gd name="f84" fmla="val 18325"/>
                <a:gd name="f85" fmla="val 4190"/>
                <a:gd name="f86" fmla="val 18233"/>
                <a:gd name="f87" fmla="val 4223"/>
                <a:gd name="f88" fmla="val 18137"/>
                <a:gd name="f89" fmla="val 4236"/>
                <a:gd name="f90" fmla="val 18038"/>
                <a:gd name="f91" fmla="val 17577"/>
                <a:gd name="f92" fmla="val 17054"/>
                <a:gd name="f93" fmla="val 3945"/>
                <a:gd name="f94" fmla="val 16652"/>
                <a:gd name="f95" fmla="val 16473"/>
                <a:gd name="f96" fmla="val 16318"/>
                <a:gd name="f97" fmla="val 4002"/>
                <a:gd name="f98" fmla="val 16202"/>
                <a:gd name="f99" fmla="val 4167"/>
                <a:gd name="f100" fmla="val 16065"/>
                <a:gd name="f101" fmla="val 4350"/>
                <a:gd name="f102" fmla="val 4578"/>
                <a:gd name="f103" fmla="val 15997"/>
                <a:gd name="f104" fmla="val 4783"/>
                <a:gd name="f105" fmla="val 15791"/>
                <a:gd name="f106" fmla="val 5423"/>
                <a:gd name="f107" fmla="val 15015"/>
                <a:gd name="f108" fmla="val 5605"/>
                <a:gd name="f109" fmla="val 14353"/>
                <a:gd name="f110" fmla="val 5719"/>
                <a:gd name="f111" fmla="val 14473"/>
                <a:gd name="f112" fmla="val 6130"/>
                <a:gd name="f113" fmla="val 14901"/>
                <a:gd name="f114" fmla="val 6336"/>
                <a:gd name="f115" fmla="val 15339"/>
                <a:gd name="f116" fmla="val 15484"/>
                <a:gd name="f117" fmla="val 15631"/>
                <a:gd name="f118" fmla="val 6313"/>
                <a:gd name="f119" fmla="val 15768"/>
                <a:gd name="f120" fmla="val 6267"/>
                <a:gd name="f121" fmla="val 16293"/>
                <a:gd name="f122" fmla="val 6107"/>
                <a:gd name="f123" fmla="val 16727"/>
                <a:gd name="f124" fmla="val 5696"/>
                <a:gd name="f125" fmla="val 17229"/>
                <a:gd name="f126" fmla="val 17506"/>
                <a:gd name="f127" fmla="val 5271"/>
                <a:gd name="f128" fmla="val 17832"/>
                <a:gd name="f129" fmla="val 5169"/>
                <a:gd name="f130" fmla="val 18138"/>
                <a:gd name="f131" fmla="val 18386"/>
                <a:gd name="f132" fmla="val 18620"/>
                <a:gd name="f133" fmla="val 5236"/>
                <a:gd name="f134" fmla="val 18804"/>
                <a:gd name="f135" fmla="val 5400"/>
                <a:gd name="f136" fmla="val 19101"/>
                <a:gd name="f137" fmla="val 19192"/>
                <a:gd name="f138" fmla="val 6062"/>
                <a:gd name="f139" fmla="val 19238"/>
                <a:gd name="f140" fmla="val 6450"/>
                <a:gd name="f141" fmla="val 11311"/>
                <a:gd name="f142" fmla="val 19146"/>
                <a:gd name="f143" fmla="val 16356"/>
                <a:gd name="f144" fmla="val 17298"/>
                <a:gd name="f145" fmla="val 20898"/>
                <a:gd name="f146" fmla="val 16750"/>
                <a:gd name="f147" fmla="val 22290"/>
                <a:gd name="f148" fmla="val 16088"/>
                <a:gd name="f149" fmla="val 23614"/>
                <a:gd name="f150" fmla="val 15380"/>
                <a:gd name="f151" fmla="val 24915"/>
                <a:gd name="f152" fmla="val 16430"/>
                <a:gd name="f153" fmla="val 21925"/>
                <a:gd name="f154" fmla="val 16955"/>
                <a:gd name="f155" fmla="val 18753"/>
                <a:gd name="f156" fmla="val 16932"/>
                <a:gd name="f157" fmla="val 15603"/>
                <a:gd name="f158" fmla="val 13480"/>
                <a:gd name="f159" fmla="val 16613"/>
                <a:gd name="f160" fmla="val 11220"/>
                <a:gd name="f161" fmla="val 15152"/>
                <a:gd name="f162" fmla="val 9668"/>
                <a:gd name="f163" fmla="val 14855"/>
                <a:gd name="f164" fmla="val 9349"/>
                <a:gd name="f165" fmla="val 14490"/>
                <a:gd name="f166" fmla="val 9052"/>
                <a:gd name="f167" fmla="val 14056"/>
                <a:gd name="f168" fmla="val 8960"/>
                <a:gd name="f169" fmla="val 13940"/>
                <a:gd name="f170" fmla="val 8931"/>
                <a:gd name="f171" fmla="val 13823"/>
                <a:gd name="f172" fmla="val 8918"/>
                <a:gd name="f173" fmla="val 13707"/>
                <a:gd name="f174" fmla="val 12825"/>
                <a:gd name="f175" fmla="val 12001"/>
                <a:gd name="f176" fmla="val 9716"/>
                <a:gd name="f177" fmla="val 11820"/>
                <a:gd name="f178" fmla="val 10604"/>
                <a:gd name="f179" fmla="val 11614"/>
                <a:gd name="f180" fmla="val 11608"/>
                <a:gd name="f181" fmla="val 12025"/>
                <a:gd name="f182" fmla="val 12658"/>
                <a:gd name="f183" fmla="val 12596"/>
                <a:gd name="f184" fmla="val 13526"/>
                <a:gd name="f185" fmla="val 13166"/>
                <a:gd name="f186" fmla="val 14393"/>
                <a:gd name="f187" fmla="val 13897"/>
                <a:gd name="f188" fmla="val 15146"/>
                <a:gd name="f189" fmla="val 14422"/>
                <a:gd name="f190" fmla="val 16013"/>
                <a:gd name="f191" fmla="val 15449"/>
                <a:gd name="f192" fmla="val 17725"/>
                <a:gd name="f193" fmla="val 15677"/>
                <a:gd name="f194" fmla="val 19802"/>
                <a:gd name="f195" fmla="val 21765"/>
                <a:gd name="f196" fmla="val 15221"/>
                <a:gd name="f197" fmla="val 23637"/>
                <a:gd name="f198" fmla="val 14627"/>
                <a:gd name="f199" fmla="val 25417"/>
                <a:gd name="f200" fmla="val 14034"/>
                <a:gd name="f201" fmla="val 27198"/>
                <a:gd name="f202" fmla="val 12664"/>
                <a:gd name="f203" fmla="val 29343"/>
                <a:gd name="f204" fmla="val 11089"/>
                <a:gd name="f205" fmla="val 31398"/>
                <a:gd name="f206" fmla="val 9446"/>
                <a:gd name="f207" fmla="val 33338"/>
                <a:gd name="f208" fmla="val 8829"/>
                <a:gd name="f209" fmla="val 34068"/>
                <a:gd name="f210" fmla="val 8190"/>
                <a:gd name="f211" fmla="val 34776"/>
                <a:gd name="f212" fmla="val 7551"/>
                <a:gd name="f213" fmla="val 35461"/>
                <a:gd name="f214" fmla="val 8213"/>
                <a:gd name="f215" fmla="val 34091"/>
                <a:gd name="f216" fmla="val 8601"/>
                <a:gd name="f217" fmla="val 32607"/>
                <a:gd name="f218" fmla="val 8966"/>
                <a:gd name="f219" fmla="val 31147"/>
                <a:gd name="f220" fmla="val 9811"/>
                <a:gd name="f221" fmla="val 27746"/>
                <a:gd name="f222" fmla="val 10678"/>
                <a:gd name="f223" fmla="val 24322"/>
                <a:gd name="f224" fmla="val 10838"/>
                <a:gd name="f225" fmla="val 20807"/>
                <a:gd name="f226" fmla="val 10907"/>
                <a:gd name="f227" fmla="val 19437"/>
                <a:gd name="f228" fmla="val 17954"/>
                <a:gd name="f229" fmla="val 9994"/>
                <a:gd name="f230" fmla="val 16881"/>
                <a:gd name="f231" fmla="val 9879"/>
                <a:gd name="f232" fmla="val 16744"/>
                <a:gd name="f233" fmla="val 9742"/>
                <a:gd name="f234" fmla="val 16607"/>
                <a:gd name="f235" fmla="val 9583"/>
                <a:gd name="f236" fmla="val 16561"/>
                <a:gd name="f237" fmla="val 9538"/>
                <a:gd name="f238" fmla="val 16550"/>
                <a:gd name="f239" fmla="val 9494"/>
                <a:gd name="f240" fmla="val 16545"/>
                <a:gd name="f241" fmla="val 9450"/>
                <a:gd name="f242" fmla="val 9228"/>
                <a:gd name="f243" fmla="val 9024"/>
                <a:gd name="f244" fmla="val 16679"/>
                <a:gd name="f245" fmla="val 8852"/>
                <a:gd name="f246" fmla="val 16812"/>
                <a:gd name="f247" fmla="val 8031"/>
                <a:gd name="f248" fmla="val 17520"/>
                <a:gd name="f249" fmla="val 7483"/>
                <a:gd name="f250" fmla="val 18501"/>
                <a:gd name="f251" fmla="val 7118"/>
                <a:gd name="f252" fmla="val 19506"/>
                <a:gd name="f253" fmla="val 6113"/>
                <a:gd name="f254" fmla="val 22176"/>
                <a:gd name="f255" fmla="val 6159"/>
                <a:gd name="f256" fmla="val 25098"/>
                <a:gd name="f257" fmla="val 6433"/>
                <a:gd name="f258" fmla="val 27928"/>
                <a:gd name="f259" fmla="val 6684"/>
                <a:gd name="f260" fmla="val 30667"/>
                <a:gd name="f261" fmla="val 7095"/>
                <a:gd name="f262" fmla="val 33384"/>
                <a:gd name="f263" fmla="val 6912"/>
                <a:gd name="f264" fmla="val 36100"/>
                <a:gd name="f265" fmla="val 4972"/>
                <a:gd name="f266" fmla="val 38086"/>
                <a:gd name="f267" fmla="val 2804"/>
                <a:gd name="f268" fmla="val 39866"/>
                <a:gd name="f269" fmla="val 338"/>
                <a:gd name="f270" fmla="val 41144"/>
                <a:gd name="f271" fmla="val 315"/>
                <a:gd name="f272" fmla="val 41138"/>
                <a:gd name="f273" fmla="val 293"/>
                <a:gd name="f274" fmla="val 41135"/>
                <a:gd name="f275" fmla="val 273"/>
                <a:gd name="f276" fmla="val 41"/>
                <a:gd name="f277" fmla="val 41677"/>
                <a:gd name="f278" fmla="val 41783"/>
                <a:gd name="f279" fmla="val 402"/>
                <a:gd name="f280" fmla="val 41806"/>
                <a:gd name="f281" fmla="val 467"/>
                <a:gd name="f282" fmla="val 41816"/>
                <a:gd name="f283" fmla="val 532"/>
                <a:gd name="f284" fmla="val 792"/>
                <a:gd name="f285" fmla="val 1055"/>
                <a:gd name="f286" fmla="val 41655"/>
                <a:gd name="f287" fmla="val 1274"/>
                <a:gd name="f288" fmla="val 41509"/>
                <a:gd name="f289" fmla="val 3488"/>
                <a:gd name="f290" fmla="val 40026"/>
                <a:gd name="f291" fmla="val 5543"/>
                <a:gd name="f292" fmla="val 38337"/>
                <a:gd name="f293" fmla="val 7460"/>
                <a:gd name="f294" fmla="val 36465"/>
                <a:gd name="f295" fmla="val 7648"/>
                <a:gd name="f296" fmla="val 36470"/>
                <a:gd name="f297" fmla="val 7836"/>
                <a:gd name="f298" fmla="val 36472"/>
                <a:gd name="f299" fmla="val 8024"/>
                <a:gd name="f300" fmla="val 12339"/>
                <a:gd name="f301" fmla="val 16707"/>
                <a:gd name="f302" fmla="val 35223"/>
                <a:gd name="f303" fmla="val 32927"/>
                <a:gd name="f304" fmla="val 21771"/>
                <a:gd name="f305" fmla="val 32082"/>
                <a:gd name="f306" fmla="val 23141"/>
                <a:gd name="f307" fmla="val 31010"/>
                <a:gd name="f308" fmla="val 23552"/>
                <a:gd name="f309" fmla="val 29480"/>
                <a:gd name="f310" fmla="val 23643"/>
                <a:gd name="f311" fmla="val 29184"/>
                <a:gd name="f312" fmla="val 23689"/>
                <a:gd name="f313" fmla="val 28841"/>
                <a:gd name="f314" fmla="val 23575"/>
                <a:gd name="f315" fmla="val 28545"/>
                <a:gd name="f316" fmla="val 23415"/>
                <a:gd name="f317" fmla="val 28111"/>
                <a:gd name="f318" fmla="val 22913"/>
                <a:gd name="f319" fmla="val 27837"/>
                <a:gd name="f320" fmla="val 22456"/>
                <a:gd name="f321" fmla="val 27814"/>
                <a:gd name="f322" fmla="val 22429"/>
                <a:gd name="f323" fmla="val 27813"/>
                <a:gd name="f324" fmla="val 22402"/>
                <a:gd name="f325" fmla="val 27812"/>
                <a:gd name="f326" fmla="val 22374"/>
                <a:gd name="f327" fmla="val 21496"/>
                <a:gd name="f328" fmla="val 27986"/>
                <a:gd name="f329" fmla="val 21087"/>
                <a:gd name="f330" fmla="val 28179"/>
                <a:gd name="f331" fmla="val 19420"/>
                <a:gd name="f332" fmla="val 28955"/>
                <a:gd name="f333" fmla="val 18028"/>
                <a:gd name="f334" fmla="val 30211"/>
                <a:gd name="f335" fmla="val 16522"/>
                <a:gd name="f336" fmla="val 31261"/>
                <a:gd name="f337" fmla="val 14102"/>
                <a:gd name="f338" fmla="val 32950"/>
                <a:gd name="f339" fmla="val 11386"/>
                <a:gd name="f340" fmla="val 34160"/>
                <a:gd name="f341" fmla="val 8647"/>
                <a:gd name="f342" fmla="val 35278"/>
                <a:gd name="f343" fmla="val 10770"/>
                <a:gd name="f344" fmla="val 33041"/>
                <a:gd name="f345" fmla="val 12687"/>
                <a:gd name="f346" fmla="val 30599"/>
                <a:gd name="f347" fmla="val 14330"/>
                <a:gd name="f348" fmla="val 27997"/>
                <a:gd name="f349" fmla="val 14516"/>
                <a:gd name="f350" fmla="val 28096"/>
                <a:gd name="f351" fmla="val 14742"/>
                <a:gd name="f352" fmla="val 28134"/>
                <a:gd name="f353" fmla="val 14979"/>
                <a:gd name="f354" fmla="val 15179"/>
                <a:gd name="f355" fmla="val 15387"/>
                <a:gd name="f356" fmla="val 28107"/>
                <a:gd name="f357" fmla="val 15586"/>
                <a:gd name="f358" fmla="val 28065"/>
                <a:gd name="f359" fmla="val 18553"/>
                <a:gd name="f360" fmla="val 27563"/>
                <a:gd name="f361" fmla="val 21178"/>
                <a:gd name="f362" fmla="val 25874"/>
                <a:gd name="f363" fmla="val 23392"/>
                <a:gd name="f364" fmla="val 23843"/>
                <a:gd name="f365" fmla="val 25218"/>
                <a:gd name="f366" fmla="val 26861"/>
                <a:gd name="f367" fmla="val 20168"/>
                <a:gd name="f368" fmla="val 27455"/>
                <a:gd name="f369" fmla="val 17771"/>
                <a:gd name="f370" fmla="val 27592"/>
                <a:gd name="f371" fmla="val 17109"/>
                <a:gd name="f372" fmla="val 27660"/>
                <a:gd name="f373" fmla="val 16333"/>
                <a:gd name="f374" fmla="val 27227"/>
                <a:gd name="f375" fmla="val 15808"/>
                <a:gd name="f376" fmla="val 26936"/>
                <a:gd name="f377" fmla="val 15457"/>
                <a:gd name="f378" fmla="val 26498"/>
                <a:gd name="f379" fmla="val 15299"/>
                <a:gd name="f380" fmla="val 26042"/>
                <a:gd name="f381" fmla="val 25638"/>
                <a:gd name="f382" fmla="val 25219"/>
                <a:gd name="f383" fmla="val 15423"/>
                <a:gd name="f384" fmla="val 24876"/>
                <a:gd name="f385" fmla="val 15648"/>
                <a:gd name="f386" fmla="val 24168"/>
                <a:gd name="f387" fmla="val 16128"/>
                <a:gd name="f388" fmla="val 23734"/>
                <a:gd name="f389" fmla="val 16927"/>
                <a:gd name="f390" fmla="val 23323"/>
                <a:gd name="f391" fmla="val 17680"/>
                <a:gd name="f392" fmla="val 22022"/>
                <a:gd name="f393" fmla="val 20099"/>
                <a:gd name="f394" fmla="val 20607"/>
                <a:gd name="f395" fmla="val 22519"/>
                <a:gd name="f396" fmla="val 18599"/>
                <a:gd name="f397" fmla="val 24390"/>
                <a:gd name="f398" fmla="val 17480"/>
                <a:gd name="f399" fmla="val 26285"/>
                <a:gd name="f400" fmla="val 14878"/>
                <a:gd name="f401" fmla="val 27084"/>
                <a:gd name="f402" fmla="val 16864"/>
                <a:gd name="f403" fmla="val 23706"/>
                <a:gd name="f404" fmla="val 18393"/>
                <a:gd name="f405" fmla="val 19375"/>
                <a:gd name="f406" fmla="val 16310"/>
                <a:gd name="f407" fmla="val 16105"/>
                <a:gd name="f408" fmla="val 19489"/>
                <a:gd name="f409" fmla="val 15922"/>
                <a:gd name="f410" fmla="val 19534"/>
                <a:gd name="f411" fmla="val 15717"/>
                <a:gd name="f412" fmla="val 21292"/>
                <a:gd name="f413" fmla="val 13731"/>
                <a:gd name="f414" fmla="val 23232"/>
                <a:gd name="f415" fmla="val 11791"/>
                <a:gd name="f416" fmla="val 25286"/>
                <a:gd name="f417" fmla="val 10033"/>
                <a:gd name="f418" fmla="val 8070"/>
                <a:gd name="f419" fmla="val 30125"/>
                <a:gd name="f420" fmla="val 6199"/>
                <a:gd name="f421" fmla="val 31563"/>
                <a:gd name="f422" fmla="val 3551"/>
                <a:gd name="f423" fmla="val 32088"/>
                <a:gd name="f424" fmla="val 2592"/>
                <a:gd name="f425" fmla="val 1291"/>
                <a:gd name="f426" fmla="val 31655"/>
                <a:gd name="f427" fmla="val 515"/>
                <a:gd name="f428" fmla="val 31310"/>
                <a:gd name="f429" fmla="val 146"/>
                <a:gd name="f430" fmla="val 30822"/>
                <a:gd name="f431" fmla="*/ f0 1 32408"/>
                <a:gd name="f432" fmla="*/ f1 1 41817"/>
                <a:gd name="f433" fmla="+- f4 0 f2"/>
                <a:gd name="f434" fmla="+- f3 0 f2"/>
                <a:gd name="f435" fmla="*/ f434 1 32408"/>
                <a:gd name="f436" fmla="*/ f433 1 41817"/>
                <a:gd name="f437" fmla="*/ f2 1 f435"/>
                <a:gd name="f438" fmla="*/ f3 1 f435"/>
                <a:gd name="f439" fmla="*/ f2 1 f436"/>
                <a:gd name="f440" fmla="*/ f4 1 f436"/>
                <a:gd name="f441" fmla="*/ f437 f431 1"/>
                <a:gd name="f442" fmla="*/ f438 f431 1"/>
                <a:gd name="f443" fmla="*/ f440 f432 1"/>
                <a:gd name="f444" fmla="*/ f439 f43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41" t="f444" r="f442" b="f443"/>
              <a:pathLst>
                <a:path w="32408" h="41817">
                  <a:moveTo>
                    <a:pt x="f5" y="f6"/>
                  </a:moveTo>
                  <a:cubicBezTo>
                    <a:pt x="f7" y="f6"/>
                    <a:pt x="f8" y="f9"/>
                    <a:pt x="f10" y="f11"/>
                  </a:cubicBezTo>
                  <a:cubicBezTo>
                    <a:pt x="f12" y="f13"/>
                    <a:pt x="f14" y="f15"/>
                    <a:pt x="f16" y="f17"/>
                  </a:cubicBezTo>
                  <a:cubicBezTo>
                    <a:pt x="f18" y="f19"/>
                    <a:pt x="f20" y="f21"/>
                    <a:pt x="f22" y="f23"/>
                  </a:cubicBezTo>
                  <a:cubicBezTo>
                    <a:pt x="f24" y="f25"/>
                    <a:pt x="f26" y="f27"/>
                    <a:pt x="f28" y="f29"/>
                  </a:cubicBezTo>
                  <a:cubicBezTo>
                    <a:pt x="f30" y="f31"/>
                    <a:pt x="f32" y="f33"/>
                    <a:pt x="f32" y="f34"/>
                  </a:cubicBezTo>
                  <a:cubicBezTo>
                    <a:pt x="f35" y="f36"/>
                    <a:pt x="f28" y="f37"/>
                    <a:pt x="f38" y="f39"/>
                  </a:cubicBezTo>
                  <a:cubicBezTo>
                    <a:pt x="f40" y="f41"/>
                    <a:pt x="f42" y="f43"/>
                    <a:pt x="f44" y="f45"/>
                  </a:cubicBezTo>
                  <a:cubicBezTo>
                    <a:pt x="f46" y="f47"/>
                    <a:pt x="f48" y="f49"/>
                    <a:pt x="f50" y="f51"/>
                  </a:cubicBezTo>
                  <a:cubicBezTo>
                    <a:pt x="f52" y="f53"/>
                    <a:pt x="f54" y="f55"/>
                    <a:pt x="f56" y="f55"/>
                  </a:cubicBezTo>
                  <a:cubicBezTo>
                    <a:pt x="f57" y="f55"/>
                    <a:pt x="f58" y="f59"/>
                    <a:pt x="f60" y="f59"/>
                  </a:cubicBezTo>
                  <a:cubicBezTo>
                    <a:pt x="f61" y="f59"/>
                    <a:pt x="f62" y="f63"/>
                    <a:pt x="f64" y="f65"/>
                  </a:cubicBezTo>
                  <a:cubicBezTo>
                    <a:pt x="f66" y="f67"/>
                    <a:pt x="f68" y="f15"/>
                    <a:pt x="f26" y="f69"/>
                  </a:cubicBezTo>
                  <a:cubicBezTo>
                    <a:pt x="f70" y="f71"/>
                    <a:pt x="f72" y="f73"/>
                    <a:pt x="f74" y="f73"/>
                  </a:cubicBezTo>
                  <a:cubicBezTo>
                    <a:pt x="f75" y="f73"/>
                    <a:pt x="f76" y="f77"/>
                    <a:pt x="f78" y="f79"/>
                  </a:cubicBezTo>
                  <a:cubicBezTo>
                    <a:pt x="f80" y="f81"/>
                    <a:pt x="f82" y="f83"/>
                    <a:pt x="f84" y="f85"/>
                  </a:cubicBezTo>
                  <a:cubicBezTo>
                    <a:pt x="f86" y="f87"/>
                    <a:pt x="f88" y="f89"/>
                    <a:pt x="f90" y="f89"/>
                  </a:cubicBezTo>
                  <a:cubicBezTo>
                    <a:pt x="f91" y="f89"/>
                    <a:pt x="f92" y="f93"/>
                    <a:pt x="f94" y="f93"/>
                  </a:cubicBezTo>
                  <a:cubicBezTo>
                    <a:pt x="f95" y="f93"/>
                    <a:pt x="f96" y="f97"/>
                    <a:pt x="f98" y="f99"/>
                  </a:cubicBezTo>
                  <a:cubicBezTo>
                    <a:pt x="f100" y="f101"/>
                    <a:pt x="f100" y="f102"/>
                    <a:pt x="f103" y="f104"/>
                  </a:cubicBezTo>
                  <a:cubicBezTo>
                    <a:pt x="f105" y="f106"/>
                    <a:pt x="f107" y="f108"/>
                    <a:pt x="f109" y="f110"/>
                  </a:cubicBezTo>
                  <a:cubicBezTo>
                    <a:pt x="f111" y="f112"/>
                    <a:pt x="f113" y="f114"/>
                    <a:pt x="f115" y="f114"/>
                  </a:cubicBezTo>
                  <a:cubicBezTo>
                    <a:pt x="f116" y="f114"/>
                    <a:pt x="f117" y="f118"/>
                    <a:pt x="f119" y="f120"/>
                  </a:cubicBezTo>
                  <a:cubicBezTo>
                    <a:pt x="f121" y="f122"/>
                    <a:pt x="f123" y="f124"/>
                    <a:pt x="f125" y="f106"/>
                  </a:cubicBezTo>
                  <a:cubicBezTo>
                    <a:pt x="f126" y="f127"/>
                    <a:pt x="f128" y="f129"/>
                    <a:pt x="f130" y="f129"/>
                  </a:cubicBezTo>
                  <a:cubicBezTo>
                    <a:pt x="f131" y="f129"/>
                    <a:pt x="f132" y="f133"/>
                    <a:pt x="f134" y="f135"/>
                  </a:cubicBezTo>
                  <a:cubicBezTo>
                    <a:pt x="f136" y="f36"/>
                    <a:pt x="f137" y="f138"/>
                    <a:pt x="f139" y="f140"/>
                  </a:cubicBezTo>
                  <a:cubicBezTo>
                    <a:pt x="f30" y="f141"/>
                    <a:pt x="f142" y="f143"/>
                    <a:pt x="f144" y="f145"/>
                  </a:cubicBezTo>
                  <a:cubicBezTo>
                    <a:pt x="f146" y="f147"/>
                    <a:pt x="f148" y="f149"/>
                    <a:pt x="f150" y="f151"/>
                  </a:cubicBezTo>
                  <a:cubicBezTo>
                    <a:pt x="f152" y="f153"/>
                    <a:pt x="f154" y="f155"/>
                    <a:pt x="f156" y="f157"/>
                  </a:cubicBezTo>
                  <a:cubicBezTo>
                    <a:pt x="f156" y="f158"/>
                    <a:pt x="f159" y="f160"/>
                    <a:pt x="f161" y="f162"/>
                  </a:cubicBezTo>
                  <a:cubicBezTo>
                    <a:pt x="f163" y="f164"/>
                    <a:pt x="f165" y="f166"/>
                    <a:pt x="f167" y="f168"/>
                  </a:cubicBezTo>
                  <a:cubicBezTo>
                    <a:pt x="f169" y="f170"/>
                    <a:pt x="f171" y="f172"/>
                    <a:pt x="f173" y="f172"/>
                  </a:cubicBezTo>
                  <a:cubicBezTo>
                    <a:pt x="f174" y="f172"/>
                    <a:pt x="f175" y="f176"/>
                    <a:pt x="f177" y="f178"/>
                  </a:cubicBezTo>
                  <a:cubicBezTo>
                    <a:pt x="f179" y="f180"/>
                    <a:pt x="f181" y="f182"/>
                    <a:pt x="f183" y="f184"/>
                  </a:cubicBezTo>
                  <a:cubicBezTo>
                    <a:pt x="f185" y="f186"/>
                    <a:pt x="f187" y="f188"/>
                    <a:pt x="f189" y="f190"/>
                  </a:cubicBezTo>
                  <a:cubicBezTo>
                    <a:pt x="f191" y="f192"/>
                    <a:pt x="f193" y="f194"/>
                    <a:pt x="f191" y="f195"/>
                  </a:cubicBezTo>
                  <a:cubicBezTo>
                    <a:pt x="f196" y="f197"/>
                    <a:pt x="f198" y="f199"/>
                    <a:pt x="f200" y="f201"/>
                  </a:cubicBezTo>
                  <a:cubicBezTo>
                    <a:pt x="f202" y="f203"/>
                    <a:pt x="f204" y="f205"/>
                    <a:pt x="f206" y="f207"/>
                  </a:cubicBezTo>
                  <a:cubicBezTo>
                    <a:pt x="f208" y="f209"/>
                    <a:pt x="f210" y="f211"/>
                    <a:pt x="f212" y="f213"/>
                  </a:cubicBezTo>
                  <a:cubicBezTo>
                    <a:pt x="f214" y="f215"/>
                    <a:pt x="f216" y="f217"/>
                    <a:pt x="f218" y="f219"/>
                  </a:cubicBezTo>
                  <a:cubicBezTo>
                    <a:pt x="f220" y="f221"/>
                    <a:pt x="f222" y="f223"/>
                    <a:pt x="f224" y="f225"/>
                  </a:cubicBezTo>
                  <a:cubicBezTo>
                    <a:pt x="f226" y="f227"/>
                    <a:pt x="f224" y="f228"/>
                    <a:pt x="f229" y="f230"/>
                  </a:cubicBezTo>
                  <a:cubicBezTo>
                    <a:pt x="f231" y="f232"/>
                    <a:pt x="f233" y="f234"/>
                    <a:pt x="f235" y="f236"/>
                  </a:cubicBezTo>
                  <a:cubicBezTo>
                    <a:pt x="f237" y="f238"/>
                    <a:pt x="f239" y="f240"/>
                    <a:pt x="f241" y="f240"/>
                  </a:cubicBezTo>
                  <a:cubicBezTo>
                    <a:pt x="f242" y="f240"/>
                    <a:pt x="f243" y="f244"/>
                    <a:pt x="f245" y="f246"/>
                  </a:cubicBezTo>
                  <a:cubicBezTo>
                    <a:pt x="f247" y="f248"/>
                    <a:pt x="f249" y="f250"/>
                    <a:pt x="f251" y="f252"/>
                  </a:cubicBezTo>
                  <a:cubicBezTo>
                    <a:pt x="f253" y="f254"/>
                    <a:pt x="f255" y="f256"/>
                    <a:pt x="f257" y="f258"/>
                  </a:cubicBezTo>
                  <a:cubicBezTo>
                    <a:pt x="f259" y="f260"/>
                    <a:pt x="f261" y="f262"/>
                    <a:pt x="f263" y="f264"/>
                  </a:cubicBezTo>
                  <a:cubicBezTo>
                    <a:pt x="f265" y="f266"/>
                    <a:pt x="f267" y="f268"/>
                    <a:pt x="f269" y="f270"/>
                  </a:cubicBezTo>
                  <a:cubicBezTo>
                    <a:pt x="f271" y="f272"/>
                    <a:pt x="f273" y="f274"/>
                    <a:pt x="f275" y="f274"/>
                  </a:cubicBezTo>
                  <a:cubicBezTo>
                    <a:pt x="f6" y="f274"/>
                    <a:pt x="f276" y="f277"/>
                    <a:pt x="f269" y="f278"/>
                  </a:cubicBezTo>
                  <a:cubicBezTo>
                    <a:pt x="f279" y="f280"/>
                    <a:pt x="f281" y="f282"/>
                    <a:pt x="f283" y="f282"/>
                  </a:cubicBezTo>
                  <a:cubicBezTo>
                    <a:pt x="f284" y="f282"/>
                    <a:pt x="f285" y="f286"/>
                    <a:pt x="f287" y="f288"/>
                  </a:cubicBezTo>
                  <a:cubicBezTo>
                    <a:pt x="f289" y="f290"/>
                    <a:pt x="f291" y="f292"/>
                    <a:pt x="f293" y="f294"/>
                  </a:cubicBezTo>
                  <a:cubicBezTo>
                    <a:pt x="f295" y="f296"/>
                    <a:pt x="f297" y="f298"/>
                    <a:pt x="f299" y="f298"/>
                  </a:cubicBezTo>
                  <a:cubicBezTo>
                    <a:pt x="f300" y="f298"/>
                    <a:pt x="f301" y="f302"/>
                    <a:pt x="f64" y="f303"/>
                  </a:cubicBezTo>
                  <a:cubicBezTo>
                    <a:pt x="f304" y="f305"/>
                    <a:pt x="f306" y="f307"/>
                    <a:pt x="f308" y="f309"/>
                  </a:cubicBezTo>
                  <a:cubicBezTo>
                    <a:pt x="f310" y="f311"/>
                    <a:pt x="f312" y="f313"/>
                    <a:pt x="f314" y="f315"/>
                  </a:cubicBezTo>
                  <a:cubicBezTo>
                    <a:pt x="f316" y="f317"/>
                    <a:pt x="f318" y="f319"/>
                    <a:pt x="f320" y="f321"/>
                  </a:cubicBezTo>
                  <a:cubicBezTo>
                    <a:pt x="f322" y="f323"/>
                    <a:pt x="f324" y="f325"/>
                    <a:pt x="f326" y="f325"/>
                  </a:cubicBezTo>
                  <a:cubicBezTo>
                    <a:pt x="f153" y="f325"/>
                    <a:pt x="f327" y="f328"/>
                    <a:pt x="f329" y="f330"/>
                  </a:cubicBezTo>
                  <a:cubicBezTo>
                    <a:pt x="f331" y="f332"/>
                    <a:pt x="f333" y="f334"/>
                    <a:pt x="f335" y="f336"/>
                  </a:cubicBezTo>
                  <a:cubicBezTo>
                    <a:pt x="f337" y="f338"/>
                    <a:pt x="f339" y="f340"/>
                    <a:pt x="f341" y="f342"/>
                  </a:cubicBezTo>
                  <a:cubicBezTo>
                    <a:pt x="f343" y="f344"/>
                    <a:pt x="f345" y="f346"/>
                    <a:pt x="f347" y="f348"/>
                  </a:cubicBezTo>
                  <a:cubicBezTo>
                    <a:pt x="f349" y="f350"/>
                    <a:pt x="f351" y="f352"/>
                    <a:pt x="f353" y="f352"/>
                  </a:cubicBezTo>
                  <a:cubicBezTo>
                    <a:pt x="f354" y="f352"/>
                    <a:pt x="f355" y="f356"/>
                    <a:pt x="f357" y="f358"/>
                  </a:cubicBezTo>
                  <a:cubicBezTo>
                    <a:pt x="f359" y="f360"/>
                    <a:pt x="f361" y="f362"/>
                    <a:pt x="f363" y="f364"/>
                  </a:cubicBezTo>
                  <a:cubicBezTo>
                    <a:pt x="f365" y="f254"/>
                    <a:pt x="f366" y="f367"/>
                    <a:pt x="f368" y="f369"/>
                  </a:cubicBezTo>
                  <a:cubicBezTo>
                    <a:pt x="f370" y="f371"/>
                    <a:pt x="f372" y="f373"/>
                    <a:pt x="f374" y="f375"/>
                  </a:cubicBezTo>
                  <a:cubicBezTo>
                    <a:pt x="f376" y="f377"/>
                    <a:pt x="f378" y="f379"/>
                    <a:pt x="f380" y="f379"/>
                  </a:cubicBezTo>
                  <a:cubicBezTo>
                    <a:pt x="f381" y="f379"/>
                    <a:pt x="f382" y="f383"/>
                    <a:pt x="f384" y="f385"/>
                  </a:cubicBezTo>
                  <a:cubicBezTo>
                    <a:pt x="f386" y="f387"/>
                    <a:pt x="f388" y="f389"/>
                    <a:pt x="f390" y="f391"/>
                  </a:cubicBezTo>
                  <a:cubicBezTo>
                    <a:pt x="f392" y="f393"/>
                    <a:pt x="f394" y="f395"/>
                    <a:pt x="f396" y="f397"/>
                  </a:cubicBezTo>
                  <a:cubicBezTo>
                    <a:pt x="f398" y="f199"/>
                    <a:pt x="f98" y="f399"/>
                    <a:pt x="f400" y="f401"/>
                  </a:cubicBezTo>
                  <a:cubicBezTo>
                    <a:pt x="f402" y="f403"/>
                    <a:pt x="f404" y="f393"/>
                    <a:pt x="f405" y="f406"/>
                  </a:cubicBezTo>
                  <a:cubicBezTo>
                    <a:pt x="f331" y="f407"/>
                    <a:pt x="f408" y="f409"/>
                    <a:pt x="f410" y="f411"/>
                  </a:cubicBezTo>
                  <a:cubicBezTo>
                    <a:pt x="f412" y="f413"/>
                    <a:pt x="f414" y="f415"/>
                    <a:pt x="f416" y="f417"/>
                  </a:cubicBezTo>
                  <a:cubicBezTo>
                    <a:pt x="f370" y="f418"/>
                    <a:pt x="f419" y="f420"/>
                    <a:pt x="f421" y="f422"/>
                  </a:cubicBezTo>
                  <a:cubicBezTo>
                    <a:pt x="f423" y="f424"/>
                    <a:pt x="f3" y="f425"/>
                    <a:pt x="f426" y="f427"/>
                  </a:cubicBezTo>
                  <a:cubicBezTo>
                    <a:pt x="f428" y="f429"/>
                    <a:pt x="f430" y="f6"/>
                    <a:pt x="f5" y="f6"/>
                  </a:cubicBezTo>
                  <a:close/>
                </a:path>
              </a:pathLst>
            </a:custGeom>
            <a:solidFill>
              <a:srgbClr val="A3B745"/>
            </a:solidFill>
            <a:ln cap="flat">
              <a:noFill/>
              <a:prstDash val="solid"/>
            </a:ln>
          </p:spPr>
          <p:txBody>
            <a:bodyPr vert="horz" wrap="square" lIns="91421" tIns="91421" rIns="91421" bIns="9142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67" b="0" i="0" u="none" strike="noStrike" kern="1200" cap="none" spc="0" baseline="0">
                <a:solidFill>
                  <a:srgbClr val="444C55"/>
                </a:solidFill>
                <a:uFillTx/>
                <a:latin typeface="Arial"/>
              </a:endParaRPr>
            </a:p>
          </p:txBody>
        </p:sp>
      </p:grpSp>
      <p:sp>
        <p:nvSpPr>
          <p:cNvPr id="11" name="Google Shape;158;p9">
            <a:extLst>
              <a:ext uri="{FF2B5EF4-FFF2-40B4-BE49-F238E27FC236}">
                <a16:creationId xmlns:a16="http://schemas.microsoft.com/office/drawing/2014/main" id="{025BE0B5-7E83-D47B-DCB6-A1CD16D4D30C}"/>
              </a:ext>
            </a:extLst>
          </p:cNvPr>
          <p:cNvSpPr/>
          <p:nvPr/>
        </p:nvSpPr>
        <p:spPr>
          <a:xfrm>
            <a:off x="9732901" y="713332"/>
            <a:ext cx="232851" cy="151223"/>
          </a:xfrm>
          <a:custGeom>
            <a:avLst/>
            <a:gdLst>
              <a:gd name="f0" fmla="val w"/>
              <a:gd name="f1" fmla="val h"/>
              <a:gd name="f2" fmla="val 0"/>
              <a:gd name="f3" fmla="val 8720"/>
              <a:gd name="f4" fmla="val 5663"/>
              <a:gd name="f5" fmla="val 5592"/>
              <a:gd name="f6" fmla="val 207"/>
              <a:gd name="f7" fmla="val 5958"/>
              <a:gd name="f8" fmla="val 6323"/>
              <a:gd name="f9" fmla="val 230"/>
              <a:gd name="f10" fmla="val 6688"/>
              <a:gd name="f11" fmla="val 298"/>
              <a:gd name="f12" fmla="val 7053"/>
              <a:gd name="f13" fmla="val 344"/>
              <a:gd name="f14" fmla="val 7487"/>
              <a:gd name="f15" fmla="val 435"/>
              <a:gd name="f16" fmla="val 7829"/>
              <a:gd name="f17" fmla="val 686"/>
              <a:gd name="f18" fmla="val 8035"/>
              <a:gd name="f19" fmla="val 823"/>
              <a:gd name="f20" fmla="val 8217"/>
              <a:gd name="f21" fmla="val 1097"/>
              <a:gd name="f22" fmla="val 8263"/>
              <a:gd name="f23" fmla="val 1371"/>
              <a:gd name="f24" fmla="val 5707"/>
              <a:gd name="f25" fmla="val 1417"/>
              <a:gd name="f26" fmla="val 3150"/>
              <a:gd name="f27" fmla="val 1599"/>
              <a:gd name="f28" fmla="val 617"/>
              <a:gd name="f29" fmla="val 1965"/>
              <a:gd name="f30" fmla="val 845"/>
              <a:gd name="f31" fmla="val 1736"/>
              <a:gd name="f32" fmla="val 1096"/>
              <a:gd name="f33" fmla="val 1554"/>
              <a:gd name="f34" fmla="val 1256"/>
              <a:gd name="f35" fmla="val 1440"/>
              <a:gd name="f36" fmla="val 2534"/>
              <a:gd name="f37" fmla="val 641"/>
              <a:gd name="f38" fmla="val 4086"/>
              <a:gd name="f39" fmla="val 1577"/>
              <a:gd name="f40" fmla="val 1622"/>
              <a:gd name="f41" fmla="val 1645"/>
              <a:gd name="f42" fmla="val 8240"/>
              <a:gd name="f43" fmla="val 1668"/>
              <a:gd name="f44" fmla="val 8172"/>
              <a:gd name="f45" fmla="val 1942"/>
              <a:gd name="f46" fmla="val 7943"/>
              <a:gd name="f47" fmla="val 2170"/>
              <a:gd name="f48" fmla="val 7738"/>
              <a:gd name="f49" fmla="val 2353"/>
              <a:gd name="f50" fmla="val 7213"/>
              <a:gd name="f51" fmla="val 2764"/>
              <a:gd name="f52" fmla="val 6711"/>
              <a:gd name="f53" fmla="val 3129"/>
              <a:gd name="f54" fmla="val 6414"/>
              <a:gd name="f55" fmla="val 3243"/>
              <a:gd name="f56" fmla="val 5119"/>
              <a:gd name="f57" fmla="val 3770"/>
              <a:gd name="f58" fmla="val 3698"/>
              <a:gd name="f59" fmla="val 4043"/>
              <a:gd name="f60" fmla="val 2292"/>
              <a:gd name="f61" fmla="val 2236"/>
              <a:gd name="f62" fmla="val 2179"/>
              <a:gd name="f63" fmla="val 2123"/>
              <a:gd name="f64" fmla="val 4042"/>
              <a:gd name="f65" fmla="val 1735"/>
              <a:gd name="f66" fmla="val 4019"/>
              <a:gd name="f67" fmla="val 1324"/>
              <a:gd name="f68" fmla="val 3996"/>
              <a:gd name="f69" fmla="val 959"/>
              <a:gd name="f70" fmla="val 3836"/>
              <a:gd name="f71" fmla="val 571"/>
              <a:gd name="f72" fmla="val 3654"/>
              <a:gd name="f73" fmla="val 297"/>
              <a:gd name="f74" fmla="val 3334"/>
              <a:gd name="f75" fmla="val 229"/>
              <a:gd name="f76" fmla="val 2992"/>
              <a:gd name="f77" fmla="val 183"/>
              <a:gd name="f78" fmla="val 2695"/>
              <a:gd name="f79" fmla="val 274"/>
              <a:gd name="f80" fmla="val 2444"/>
              <a:gd name="f81" fmla="val 434"/>
              <a:gd name="f82" fmla="val 2193"/>
              <a:gd name="f83" fmla="val 3013"/>
              <a:gd name="f84" fmla="val 1828"/>
              <a:gd name="f85" fmla="val 5661"/>
              <a:gd name="f86" fmla="val 8377"/>
              <a:gd name="f87" fmla="val 8423"/>
              <a:gd name="f88" fmla="val 8468"/>
              <a:gd name="f89" fmla="val 8491"/>
              <a:gd name="f90" fmla="val 3174"/>
              <a:gd name="f91" fmla="val 8514"/>
              <a:gd name="f92" fmla="val 3311"/>
              <a:gd name="f93" fmla="val 3425"/>
              <a:gd name="f94" fmla="val 3540"/>
              <a:gd name="f95" fmla="val 8446"/>
              <a:gd name="f96" fmla="val 3631"/>
              <a:gd name="f97" fmla="val 8354"/>
              <a:gd name="f98" fmla="val 3722"/>
              <a:gd name="f99" fmla="val 3813"/>
              <a:gd name="f100" fmla="val 7784"/>
              <a:gd name="f101" fmla="val 4179"/>
              <a:gd name="f102" fmla="val 7441"/>
              <a:gd name="f103" fmla="val 4361"/>
              <a:gd name="f104" fmla="val 6193"/>
              <a:gd name="f105" fmla="val 5075"/>
              <a:gd name="f106" fmla="val 4756"/>
              <a:gd name="f107" fmla="val 5461"/>
              <a:gd name="f108" fmla="val 3323"/>
              <a:gd name="f109" fmla="val 3105"/>
              <a:gd name="f110" fmla="val 2888"/>
              <a:gd name="f111" fmla="val 5452"/>
              <a:gd name="f112" fmla="val 2671"/>
              <a:gd name="f113" fmla="val 5434"/>
              <a:gd name="f114" fmla="val 2169"/>
              <a:gd name="f115" fmla="val 5388"/>
              <a:gd name="f116" fmla="val 1758"/>
              <a:gd name="f117" fmla="val 5320"/>
              <a:gd name="f118" fmla="val 1393"/>
              <a:gd name="f119" fmla="val 5206"/>
              <a:gd name="f120" fmla="val 936"/>
              <a:gd name="f121" fmla="val 5046"/>
              <a:gd name="f122" fmla="val 639"/>
              <a:gd name="f123" fmla="val 4863"/>
              <a:gd name="f124" fmla="val 480"/>
              <a:gd name="f125" fmla="val 4612"/>
              <a:gd name="f126" fmla="val 4293"/>
              <a:gd name="f127" fmla="val 251"/>
              <a:gd name="f128" fmla="val 3928"/>
              <a:gd name="f129" fmla="val 388"/>
              <a:gd name="f130" fmla="val 3745"/>
              <a:gd name="f131" fmla="val 594"/>
              <a:gd name="f132" fmla="val 3905"/>
              <a:gd name="f133" fmla="val 868"/>
              <a:gd name="f134" fmla="val 4202"/>
              <a:gd name="f135" fmla="val 4247"/>
              <a:gd name="f136" fmla="val 2374"/>
              <a:gd name="f137" fmla="val 3789"/>
              <a:gd name="f138" fmla="val 5204"/>
              <a:gd name="f139" fmla="val 3973"/>
              <a:gd name="f140" fmla="val 6505"/>
              <a:gd name="f141" fmla="val 6871"/>
              <a:gd name="f142" fmla="val 3289"/>
              <a:gd name="f143" fmla="val 2855"/>
              <a:gd name="f144" fmla="val 7852"/>
              <a:gd name="f145" fmla="val 2512"/>
              <a:gd name="f146" fmla="val 8058"/>
              <a:gd name="f147" fmla="val 5642"/>
              <a:gd name="f148" fmla="val 4073"/>
              <a:gd name="f149" fmla="val 2479"/>
              <a:gd name="f150" fmla="val 440"/>
              <a:gd name="f151" fmla="val 1142"/>
              <a:gd name="f152" fmla="val 1257"/>
              <a:gd name="f153" fmla="val 708"/>
              <a:gd name="f154" fmla="val 1531"/>
              <a:gd name="f155" fmla="val 23"/>
              <a:gd name="f156" fmla="val 2079"/>
              <a:gd name="f157" fmla="val 2786"/>
              <a:gd name="f158" fmla="val 2809"/>
              <a:gd name="f159" fmla="val 2832"/>
              <a:gd name="f160" fmla="val 3037"/>
              <a:gd name="f161" fmla="val 3448"/>
              <a:gd name="f162" fmla="val 46"/>
              <a:gd name="f163" fmla="val 3882"/>
              <a:gd name="f164" fmla="val 4338"/>
              <a:gd name="f165" fmla="val 4726"/>
              <a:gd name="f166" fmla="val 502"/>
              <a:gd name="f167" fmla="val 5023"/>
              <a:gd name="f168" fmla="val 822"/>
              <a:gd name="f169" fmla="val 5229"/>
              <a:gd name="f170" fmla="val 1712"/>
              <a:gd name="f171" fmla="val 5525"/>
              <a:gd name="f172" fmla="val 2146"/>
              <a:gd name="f173" fmla="val 5594"/>
              <a:gd name="f174" fmla="val 2648"/>
              <a:gd name="f175" fmla="val 5640"/>
              <a:gd name="f176" fmla="val 2876"/>
              <a:gd name="f177" fmla="val 5662"/>
              <a:gd name="f178" fmla="val 3082"/>
              <a:gd name="f179" fmla="val 3310"/>
              <a:gd name="f180" fmla="val 4794"/>
              <a:gd name="f181" fmla="val 6277"/>
              <a:gd name="f182" fmla="val 5274"/>
              <a:gd name="f183" fmla="val 7555"/>
              <a:gd name="f184" fmla="val 4544"/>
              <a:gd name="f185" fmla="val 7898"/>
              <a:gd name="f186" fmla="val 8149"/>
              <a:gd name="f187" fmla="val 8628"/>
              <a:gd name="f188" fmla="val 3768"/>
              <a:gd name="f189" fmla="val 8674"/>
              <a:gd name="f190" fmla="val 3608"/>
              <a:gd name="f191" fmla="val 8651"/>
              <a:gd name="f192" fmla="val 2490"/>
              <a:gd name="f193" fmla="val 8583"/>
              <a:gd name="f194" fmla="val 1143"/>
              <a:gd name="f195" fmla="val 1120"/>
              <a:gd name="f196" fmla="val 1074"/>
              <a:gd name="f197" fmla="val 8400"/>
              <a:gd name="f198" fmla="val 8286"/>
              <a:gd name="f199" fmla="val 846"/>
              <a:gd name="f200" fmla="val 8126"/>
              <a:gd name="f201" fmla="val 504"/>
              <a:gd name="f202" fmla="val 7578"/>
              <a:gd name="f203" fmla="val 7099"/>
              <a:gd name="f204" fmla="val 139"/>
              <a:gd name="f205" fmla="val 70"/>
              <a:gd name="f206" fmla="val 6358"/>
              <a:gd name="f207" fmla="val 6001"/>
              <a:gd name="f208" fmla="*/ f0 1 8720"/>
              <a:gd name="f209" fmla="*/ f1 1 5663"/>
              <a:gd name="f210" fmla="+- f4 0 f2"/>
              <a:gd name="f211" fmla="+- f3 0 f2"/>
              <a:gd name="f212" fmla="*/ f211 1 8720"/>
              <a:gd name="f213" fmla="*/ f210 1 5663"/>
              <a:gd name="f214" fmla="*/ f2 1 f212"/>
              <a:gd name="f215" fmla="*/ f3 1 f212"/>
              <a:gd name="f216" fmla="*/ f2 1 f213"/>
              <a:gd name="f217" fmla="*/ f4 1 f213"/>
              <a:gd name="f218" fmla="*/ f214 f208 1"/>
              <a:gd name="f219" fmla="*/ f215 f208 1"/>
              <a:gd name="f220" fmla="*/ f217 f209 1"/>
              <a:gd name="f221" fmla="*/ f216 f209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18" t="f221" r="f219" b="f220"/>
            <a:pathLst>
              <a:path w="8720" h="5663">
                <a:moveTo>
                  <a:pt x="f5" y="f6"/>
                </a:moveTo>
                <a:cubicBezTo>
                  <a:pt x="f7" y="f6"/>
                  <a:pt x="f8" y="f9"/>
                  <a:pt x="f10" y="f11"/>
                </a:cubicBezTo>
                <a:cubicBezTo>
                  <a:pt x="f12" y="f13"/>
                  <a:pt x="f14" y="f15"/>
                  <a:pt x="f16" y="f17"/>
                </a:cubicBezTo>
                <a:cubicBezTo>
                  <a:pt x="f18" y="f19"/>
                  <a:pt x="f20" y="f21"/>
                  <a:pt x="f22" y="f23"/>
                </a:cubicBezTo>
                <a:cubicBezTo>
                  <a:pt x="f24" y="f25"/>
                  <a:pt x="f26" y="f27"/>
                  <a:pt x="f28" y="f29"/>
                </a:cubicBezTo>
                <a:cubicBezTo>
                  <a:pt x="f30" y="f31"/>
                  <a:pt x="f32" y="f33"/>
                  <a:pt x="f34" y="f35"/>
                </a:cubicBezTo>
                <a:cubicBezTo>
                  <a:pt x="f36" y="f37"/>
                  <a:pt x="f38" y="f6"/>
                  <a:pt x="f5" y="f6"/>
                </a:cubicBezTo>
                <a:close/>
                <a:moveTo>
                  <a:pt x="f22" y="f39"/>
                </a:moveTo>
                <a:cubicBezTo>
                  <a:pt x="f22" y="f40"/>
                  <a:pt x="f22" y="f41"/>
                  <a:pt x="f42" y="f43"/>
                </a:cubicBezTo>
                <a:cubicBezTo>
                  <a:pt x="f44" y="f45"/>
                  <a:pt x="f46" y="f47"/>
                  <a:pt x="f48" y="f49"/>
                </a:cubicBezTo>
                <a:cubicBezTo>
                  <a:pt x="f50" y="f51"/>
                  <a:pt x="f52" y="f53"/>
                  <a:pt x="f54" y="f55"/>
                </a:cubicBezTo>
                <a:cubicBezTo>
                  <a:pt x="f56" y="f57"/>
                  <a:pt x="f58" y="f59"/>
                  <a:pt x="f60" y="f59"/>
                </a:cubicBezTo>
                <a:cubicBezTo>
                  <a:pt x="f61" y="f59"/>
                  <a:pt x="f62" y="f59"/>
                  <a:pt x="f63" y="f64"/>
                </a:cubicBezTo>
                <a:cubicBezTo>
                  <a:pt x="f65" y="f66"/>
                  <a:pt x="f67" y="f68"/>
                  <a:pt x="f69" y="f70"/>
                </a:cubicBezTo>
                <a:cubicBezTo>
                  <a:pt x="f71" y="f72"/>
                  <a:pt x="f73" y="f74"/>
                  <a:pt x="f75" y="f76"/>
                </a:cubicBezTo>
                <a:cubicBezTo>
                  <a:pt x="f77" y="f78"/>
                  <a:pt x="f79" y="f80"/>
                  <a:pt x="f81" y="f82"/>
                </a:cubicBezTo>
                <a:cubicBezTo>
                  <a:pt x="f83" y="f84"/>
                  <a:pt x="f85" y="f40"/>
                  <a:pt x="f22" y="f39"/>
                </a:cubicBezTo>
                <a:close/>
                <a:moveTo>
                  <a:pt x="f86" y="f45"/>
                </a:moveTo>
                <a:cubicBezTo>
                  <a:pt x="f87" y="f49"/>
                  <a:pt x="f88" y="f51"/>
                  <a:pt x="f89" y="f90"/>
                </a:cubicBezTo>
                <a:cubicBezTo>
                  <a:pt x="f91" y="f92"/>
                  <a:pt x="f91" y="f93"/>
                  <a:pt x="f88" y="f94"/>
                </a:cubicBezTo>
                <a:cubicBezTo>
                  <a:pt x="f95" y="f96"/>
                  <a:pt x="f97" y="f98"/>
                  <a:pt x="f42" y="f99"/>
                </a:cubicBezTo>
                <a:cubicBezTo>
                  <a:pt x="f18" y="f68"/>
                  <a:pt x="f100" y="f101"/>
                  <a:pt x="f102" y="f103"/>
                </a:cubicBezTo>
                <a:cubicBezTo>
                  <a:pt x="f104" y="f105"/>
                  <a:pt x="f106" y="f107"/>
                  <a:pt x="f108" y="f107"/>
                </a:cubicBezTo>
                <a:cubicBezTo>
                  <a:pt x="f109" y="f107"/>
                  <a:pt x="f110" y="f111"/>
                  <a:pt x="f112" y="f113"/>
                </a:cubicBezTo>
                <a:cubicBezTo>
                  <a:pt x="f114" y="f115"/>
                  <a:pt x="f116" y="f117"/>
                  <a:pt x="f118" y="f119"/>
                </a:cubicBezTo>
                <a:cubicBezTo>
                  <a:pt x="f120" y="f121"/>
                  <a:pt x="f122" y="f123"/>
                  <a:pt x="f124" y="f125"/>
                </a:cubicBezTo>
                <a:cubicBezTo>
                  <a:pt x="f79" y="f126"/>
                  <a:pt x="f127" y="f128"/>
                  <a:pt x="f127" y="f94"/>
                </a:cubicBezTo>
                <a:lnTo>
                  <a:pt x="f127" y="f94"/>
                </a:lnTo>
                <a:cubicBezTo>
                  <a:pt x="f129" y="f130"/>
                  <a:pt x="f131" y="f132"/>
                  <a:pt x="f133" y="f66"/>
                </a:cubicBezTo>
                <a:cubicBezTo>
                  <a:pt x="f34" y="f134"/>
                  <a:pt x="f65" y="f135"/>
                  <a:pt x="f63" y="f135"/>
                </a:cubicBezTo>
                <a:lnTo>
                  <a:pt x="f136" y="f135"/>
                </a:lnTo>
                <a:cubicBezTo>
                  <a:pt x="f137" y="f135"/>
                  <a:pt x="f138" y="f139"/>
                  <a:pt x="f140" y="f93"/>
                </a:cubicBezTo>
                <a:cubicBezTo>
                  <a:pt x="f141" y="f142"/>
                  <a:pt x="f102" y="f143"/>
                  <a:pt x="f144" y="f145"/>
                </a:cubicBezTo>
                <a:cubicBezTo>
                  <a:pt x="f146" y="f49"/>
                  <a:pt x="f42" y="f47"/>
                  <a:pt x="f86" y="f45"/>
                </a:cubicBezTo>
                <a:close/>
                <a:moveTo>
                  <a:pt x="f147" y="f2"/>
                </a:moveTo>
                <a:cubicBezTo>
                  <a:pt x="f148" y="f2"/>
                  <a:pt x="f149" y="f150"/>
                  <a:pt x="f151" y="f152"/>
                </a:cubicBezTo>
                <a:cubicBezTo>
                  <a:pt x="f153" y="f154"/>
                  <a:pt x="f155" y="f156"/>
                  <a:pt x="f2" y="f157"/>
                </a:cubicBezTo>
                <a:cubicBezTo>
                  <a:pt x="f2" y="f158"/>
                  <a:pt x="f2" y="f159"/>
                  <a:pt x="f2" y="f159"/>
                </a:cubicBezTo>
                <a:cubicBezTo>
                  <a:pt x="f155" y="f160"/>
                  <a:pt x="f155" y="f55"/>
                  <a:pt x="f155" y="f161"/>
                </a:cubicBezTo>
                <a:cubicBezTo>
                  <a:pt x="f162" y="f163"/>
                  <a:pt x="f162" y="f164"/>
                  <a:pt x="f73" y="f165"/>
                </a:cubicBezTo>
                <a:cubicBezTo>
                  <a:pt x="f166" y="f167"/>
                  <a:pt x="f168" y="f169"/>
                  <a:pt x="f67" y="f115"/>
                </a:cubicBezTo>
                <a:cubicBezTo>
                  <a:pt x="f170" y="f171"/>
                  <a:pt x="f172" y="f173"/>
                  <a:pt x="f174" y="f175"/>
                </a:cubicBezTo>
                <a:cubicBezTo>
                  <a:pt x="f176" y="f177"/>
                  <a:pt x="f178" y="f177"/>
                  <a:pt x="f179" y="f177"/>
                </a:cubicBezTo>
                <a:cubicBezTo>
                  <a:pt x="f180" y="f177"/>
                  <a:pt x="f181" y="f182"/>
                  <a:pt x="f183" y="f184"/>
                </a:cubicBezTo>
                <a:cubicBezTo>
                  <a:pt x="f185" y="f103"/>
                  <a:pt x="f186" y="f101"/>
                  <a:pt x="f86" y="f139"/>
                </a:cubicBezTo>
                <a:cubicBezTo>
                  <a:pt x="f91" y="f163"/>
                  <a:pt x="f187" y="f188"/>
                  <a:pt x="f189" y="f190"/>
                </a:cubicBezTo>
                <a:cubicBezTo>
                  <a:pt x="f3" y="f161"/>
                  <a:pt x="f3" y="f142"/>
                  <a:pt x="f3" y="f90"/>
                </a:cubicBezTo>
                <a:cubicBezTo>
                  <a:pt x="f191" y="f192"/>
                  <a:pt x="f193" y="f84"/>
                  <a:pt x="f88" y="f194"/>
                </a:cubicBezTo>
                <a:cubicBezTo>
                  <a:pt x="f88" y="f195"/>
                  <a:pt x="f87" y="f196"/>
                  <a:pt x="f197" y="f196"/>
                </a:cubicBezTo>
                <a:cubicBezTo>
                  <a:pt x="f198" y="f199"/>
                  <a:pt x="f200" y="f37"/>
                  <a:pt x="f46" y="f201"/>
                </a:cubicBezTo>
                <a:cubicBezTo>
                  <a:pt x="f202" y="f9"/>
                  <a:pt x="f203" y="f204"/>
                  <a:pt x="f52" y="f205"/>
                </a:cubicBezTo>
                <a:cubicBezTo>
                  <a:pt x="f206" y="f155"/>
                  <a:pt x="f207" y="f2"/>
                  <a:pt x="f147" y="f2"/>
                </a:cubicBezTo>
                <a:close/>
              </a:path>
            </a:pathLst>
          </a:custGeom>
          <a:solidFill>
            <a:srgbClr val="444C55"/>
          </a:solidFill>
          <a:ln cap="flat">
            <a:noFill/>
            <a:prstDash val="solid"/>
          </a:ln>
        </p:spPr>
        <p:txBody>
          <a:bodyPr vert="horz" wrap="square" lIns="121898" tIns="121898" rIns="121898" bIns="121898" anchor="ctr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67" b="0" i="0" u="none" strike="noStrike" kern="1200" cap="none" spc="0" baseline="0">
              <a:solidFill>
                <a:srgbClr val="444C55"/>
              </a:solidFill>
              <a:uFillTx/>
              <a:latin typeface="Arial"/>
            </a:endParaRPr>
          </a:p>
        </p:txBody>
      </p:sp>
      <p:sp>
        <p:nvSpPr>
          <p:cNvPr id="12" name="Google Shape;159;p9">
            <a:extLst>
              <a:ext uri="{FF2B5EF4-FFF2-40B4-BE49-F238E27FC236}">
                <a16:creationId xmlns:a16="http://schemas.microsoft.com/office/drawing/2014/main" id="{4738C15F-44FC-17A2-C810-C3C95338BD5E}"/>
              </a:ext>
            </a:extLst>
          </p:cNvPr>
          <p:cNvSpPr/>
          <p:nvPr/>
        </p:nvSpPr>
        <p:spPr>
          <a:xfrm>
            <a:off x="4209513" y="486277"/>
            <a:ext cx="219446" cy="72868"/>
          </a:xfrm>
          <a:custGeom>
            <a:avLst/>
            <a:gdLst>
              <a:gd name="f0" fmla="val w"/>
              <a:gd name="f1" fmla="val h"/>
              <a:gd name="f2" fmla="val 0"/>
              <a:gd name="f3" fmla="val 8218"/>
              <a:gd name="f4" fmla="val 2729"/>
              <a:gd name="f5" fmla="val 3698"/>
              <a:gd name="f6" fmla="val 948"/>
              <a:gd name="f7" fmla="val 3835"/>
              <a:gd name="f8" fmla="val 1017"/>
              <a:gd name="f9" fmla="val 3972"/>
              <a:gd name="f10" fmla="val 1131"/>
              <a:gd name="f11" fmla="val 4064"/>
              <a:gd name="f12" fmla="val 1245"/>
              <a:gd name="f13" fmla="val 4315"/>
              <a:gd name="f14" fmla="val 1496"/>
              <a:gd name="f15" fmla="val 4406"/>
              <a:gd name="f16" fmla="val 1839"/>
              <a:gd name="f17" fmla="val 2113"/>
              <a:gd name="f18" fmla="val 4269"/>
              <a:gd name="f19" fmla="val 2272"/>
              <a:gd name="f20" fmla="val 4132"/>
              <a:gd name="f21" fmla="val 2409"/>
              <a:gd name="f22" fmla="val 3995"/>
              <a:gd name="f23" fmla="val 2478"/>
              <a:gd name="f24" fmla="val 3927"/>
              <a:gd name="f25" fmla="val 2501"/>
              <a:gd name="f26" fmla="val 3858"/>
              <a:gd name="f27" fmla="val 2512"/>
              <a:gd name="f28" fmla="val 3793"/>
              <a:gd name="f29" fmla="val 3727"/>
              <a:gd name="f30" fmla="val 3664"/>
              <a:gd name="f31" fmla="val 3607"/>
              <a:gd name="f32" fmla="val 3288"/>
              <a:gd name="f33" fmla="val 2341"/>
              <a:gd name="f34" fmla="val 3219"/>
              <a:gd name="f35" fmla="val 1861"/>
              <a:gd name="f36" fmla="val 3379"/>
              <a:gd name="f37" fmla="val 1473"/>
              <a:gd name="f38" fmla="val 3447"/>
              <a:gd name="f39" fmla="val 1291"/>
              <a:gd name="f40" fmla="val 3562"/>
              <a:gd name="f41" fmla="val 1108"/>
              <a:gd name="f42" fmla="val 5462"/>
              <a:gd name="f43" fmla="val 5246"/>
              <a:gd name="f44" fmla="val 5022"/>
              <a:gd name="f45" fmla="val 24"/>
              <a:gd name="f46" fmla="val 4794"/>
              <a:gd name="f47" fmla="val 81"/>
              <a:gd name="f48" fmla="val 4360"/>
              <a:gd name="f49" fmla="val 172"/>
              <a:gd name="f50" fmla="val 3950"/>
              <a:gd name="f51" fmla="val 401"/>
              <a:gd name="f52" fmla="val 3653"/>
              <a:gd name="f53" fmla="val 697"/>
              <a:gd name="f54" fmla="val 3420"/>
              <a:gd name="f55" fmla="val 620"/>
              <a:gd name="f56" fmla="val 3177"/>
              <a:gd name="f57" fmla="val 574"/>
              <a:gd name="f58" fmla="val 2923"/>
              <a:gd name="f59" fmla="val 2804"/>
              <a:gd name="f60" fmla="val 2682"/>
              <a:gd name="f61" fmla="val 584"/>
              <a:gd name="f62" fmla="val 2557"/>
              <a:gd name="f63" fmla="val 606"/>
              <a:gd name="f64" fmla="val 1918"/>
              <a:gd name="f65" fmla="val 1347"/>
              <a:gd name="f66" fmla="val 1063"/>
              <a:gd name="f67" fmla="val 982"/>
              <a:gd name="f68" fmla="val 1336"/>
              <a:gd name="f69" fmla="val 617"/>
              <a:gd name="f70" fmla="val 1588"/>
              <a:gd name="f71" fmla="val 183"/>
              <a:gd name="f72" fmla="val 1976"/>
              <a:gd name="f73" fmla="val 1"/>
              <a:gd name="f74" fmla="val 2546"/>
              <a:gd name="f75" fmla="val 2615"/>
              <a:gd name="f76" fmla="val 69"/>
              <a:gd name="f77" fmla="val 86"/>
              <a:gd name="f78" fmla="val 2620"/>
              <a:gd name="f79" fmla="val 102"/>
              <a:gd name="f80" fmla="val 2623"/>
              <a:gd name="f81" fmla="val 116"/>
              <a:gd name="f82" fmla="val 159"/>
              <a:gd name="f83" fmla="val 189"/>
              <a:gd name="f84" fmla="val 2598"/>
              <a:gd name="f85" fmla="val 206"/>
              <a:gd name="f86" fmla="val 366"/>
              <a:gd name="f87" fmla="val 2090"/>
              <a:gd name="f88" fmla="val 777"/>
              <a:gd name="f89" fmla="val 1747"/>
              <a:gd name="f90" fmla="val 1119"/>
              <a:gd name="f91" fmla="val 1667"/>
              <a:gd name="f92" fmla="val 2146"/>
              <a:gd name="f93" fmla="val 880"/>
              <a:gd name="f94" fmla="val 2603"/>
              <a:gd name="f95" fmla="val 811"/>
              <a:gd name="f96" fmla="val 2702"/>
              <a:gd name="f97" fmla="val 796"/>
              <a:gd name="f98" fmla="val 2803"/>
              <a:gd name="f99" fmla="val 789"/>
              <a:gd name="f100" fmla="val 2905"/>
              <a:gd name="f101" fmla="val 3108"/>
              <a:gd name="f102" fmla="val 3310"/>
              <a:gd name="f103" fmla="val 819"/>
              <a:gd name="f104" fmla="val 3493"/>
              <a:gd name="f105" fmla="val 3356"/>
              <a:gd name="f106" fmla="val 1040"/>
              <a:gd name="f107" fmla="val 3242"/>
              <a:gd name="f108" fmla="val 1222"/>
              <a:gd name="f109" fmla="val 3173"/>
              <a:gd name="f110" fmla="val 1405"/>
              <a:gd name="f111" fmla="val 2991"/>
              <a:gd name="f112" fmla="val 3082"/>
              <a:gd name="f113" fmla="val 3516"/>
              <a:gd name="f114" fmla="val 2683"/>
              <a:gd name="f115" fmla="val 2706"/>
              <a:gd name="f116" fmla="val 3767"/>
              <a:gd name="f117" fmla="val 3881"/>
              <a:gd name="f118" fmla="val 2660"/>
              <a:gd name="f119" fmla="val 4292"/>
              <a:gd name="f120" fmla="val 2569"/>
              <a:gd name="f121" fmla="val 4452"/>
              <a:gd name="f122" fmla="val 2386"/>
              <a:gd name="f123" fmla="val 4520"/>
              <a:gd name="f124" fmla="val 2181"/>
              <a:gd name="f125" fmla="val 4634"/>
              <a:gd name="f126" fmla="val 4223"/>
              <a:gd name="f127" fmla="val 1085"/>
              <a:gd name="f128" fmla="val 4109"/>
              <a:gd name="f129" fmla="val 971"/>
              <a:gd name="f130" fmla="val 560"/>
              <a:gd name="f131" fmla="val 4475"/>
              <a:gd name="f132" fmla="val 355"/>
              <a:gd name="f133" fmla="val 4840"/>
              <a:gd name="f134" fmla="val 286"/>
              <a:gd name="f135" fmla="val 5051"/>
              <a:gd name="f136" fmla="val 237"/>
              <a:gd name="f137" fmla="val 5259"/>
              <a:gd name="f138" fmla="val 216"/>
              <a:gd name="f139" fmla="val 5460"/>
              <a:gd name="f140" fmla="val 5995"/>
              <a:gd name="f141" fmla="val 6477"/>
              <a:gd name="f142" fmla="val 365"/>
              <a:gd name="f143" fmla="val 6826"/>
              <a:gd name="f144" fmla="val 515"/>
              <a:gd name="f145" fmla="val 7191"/>
              <a:gd name="f146" fmla="val 675"/>
              <a:gd name="f147" fmla="val 7875"/>
              <a:gd name="f148" fmla="val 8012"/>
              <a:gd name="f149" fmla="val 1702"/>
              <a:gd name="f150" fmla="val 1770"/>
              <a:gd name="f151" fmla="val 8081"/>
              <a:gd name="f152" fmla="val 1793"/>
              <a:gd name="f153" fmla="val 8127"/>
              <a:gd name="f154" fmla="val 8195"/>
              <a:gd name="f155" fmla="val 1724"/>
              <a:gd name="f156" fmla="val 1656"/>
              <a:gd name="f157" fmla="val 8058"/>
              <a:gd name="f158" fmla="val 903"/>
              <a:gd name="f159" fmla="val 7328"/>
              <a:gd name="f160" fmla="val 492"/>
              <a:gd name="f161" fmla="val 6894"/>
              <a:gd name="f162" fmla="val 309"/>
              <a:gd name="f163" fmla="val 6531"/>
              <a:gd name="f164" fmla="val 161"/>
              <a:gd name="f165" fmla="val 6025"/>
              <a:gd name="f166" fmla="*/ f0 1 8218"/>
              <a:gd name="f167" fmla="*/ f1 1 2729"/>
              <a:gd name="f168" fmla="+- f4 0 f2"/>
              <a:gd name="f169" fmla="+- f3 0 f2"/>
              <a:gd name="f170" fmla="*/ f169 1 8218"/>
              <a:gd name="f171" fmla="*/ f168 1 2729"/>
              <a:gd name="f172" fmla="*/ f2 1 f170"/>
              <a:gd name="f173" fmla="*/ f3 1 f170"/>
              <a:gd name="f174" fmla="*/ f2 1 f171"/>
              <a:gd name="f175" fmla="*/ f4 1 f171"/>
              <a:gd name="f176" fmla="*/ f172 f166 1"/>
              <a:gd name="f177" fmla="*/ f173 f166 1"/>
              <a:gd name="f178" fmla="*/ f175 f167 1"/>
              <a:gd name="f179" fmla="*/ f174 f16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6" t="f179" r="f177" b="f178"/>
            <a:pathLst>
              <a:path w="8218" h="2729">
                <a:moveTo>
                  <a:pt x="f5" y="f6"/>
                </a:moveTo>
                <a:cubicBezTo>
                  <a:pt x="f7" y="f8"/>
                  <a:pt x="f9" y="f10"/>
                  <a:pt x="f11" y="f12"/>
                </a:cubicBezTo>
                <a:cubicBezTo>
                  <a:pt x="f13" y="f14"/>
                  <a:pt x="f15" y="f16"/>
                  <a:pt x="f13" y="f17"/>
                </a:cubicBezTo>
                <a:cubicBezTo>
                  <a:pt x="f18" y="f19"/>
                  <a:pt x="f20" y="f21"/>
                  <a:pt x="f22" y="f23"/>
                </a:cubicBezTo>
                <a:cubicBezTo>
                  <a:pt x="f24" y="f25"/>
                  <a:pt x="f26" y="f27"/>
                  <a:pt x="f28" y="f27"/>
                </a:cubicBezTo>
                <a:cubicBezTo>
                  <a:pt x="f29" y="f27"/>
                  <a:pt x="f30" y="f25"/>
                  <a:pt x="f31" y="f23"/>
                </a:cubicBezTo>
                <a:cubicBezTo>
                  <a:pt x="f32" y="f33"/>
                  <a:pt x="f34" y="f35"/>
                  <a:pt x="f36" y="f37"/>
                </a:cubicBezTo>
                <a:cubicBezTo>
                  <a:pt x="f38" y="f39"/>
                  <a:pt x="f40" y="f41"/>
                  <a:pt x="f5" y="f6"/>
                </a:cubicBezTo>
                <a:close/>
                <a:moveTo>
                  <a:pt x="f42" y="f2"/>
                </a:moveTo>
                <a:cubicBezTo>
                  <a:pt x="f43" y="f2"/>
                  <a:pt x="f44" y="f45"/>
                  <a:pt x="f46" y="f47"/>
                </a:cubicBezTo>
                <a:cubicBezTo>
                  <a:pt x="f48" y="f49"/>
                  <a:pt x="f50" y="f51"/>
                  <a:pt x="f52" y="f53"/>
                </a:cubicBezTo>
                <a:cubicBezTo>
                  <a:pt x="f54" y="f55"/>
                  <a:pt x="f56" y="f57"/>
                  <a:pt x="f58" y="f57"/>
                </a:cubicBezTo>
                <a:cubicBezTo>
                  <a:pt x="f59" y="f57"/>
                  <a:pt x="f60" y="f61"/>
                  <a:pt x="f62" y="f63"/>
                </a:cubicBezTo>
                <a:cubicBezTo>
                  <a:pt x="f64" y="f53"/>
                  <a:pt x="f65" y="f66"/>
                  <a:pt x="f67" y="f68"/>
                </a:cubicBezTo>
                <a:cubicBezTo>
                  <a:pt x="f69" y="f70"/>
                  <a:pt x="f71" y="f72"/>
                  <a:pt x="f73" y="f25"/>
                </a:cubicBezTo>
                <a:cubicBezTo>
                  <a:pt x="f73" y="f74"/>
                  <a:pt x="f45" y="f75"/>
                  <a:pt x="f76" y="f75"/>
                </a:cubicBezTo>
                <a:cubicBezTo>
                  <a:pt x="f77" y="f78"/>
                  <a:pt x="f79" y="f80"/>
                  <a:pt x="f81" y="f80"/>
                </a:cubicBezTo>
                <a:cubicBezTo>
                  <a:pt x="f82" y="f80"/>
                  <a:pt x="f83" y="f84"/>
                  <a:pt x="f85" y="f74"/>
                </a:cubicBezTo>
                <a:cubicBezTo>
                  <a:pt x="f86" y="f87"/>
                  <a:pt x="f88" y="f89"/>
                  <a:pt x="f90" y="f14"/>
                </a:cubicBezTo>
                <a:cubicBezTo>
                  <a:pt x="f91" y="f41"/>
                  <a:pt x="f92" y="f93"/>
                  <a:pt x="f94" y="f95"/>
                </a:cubicBezTo>
                <a:cubicBezTo>
                  <a:pt x="f96" y="f97"/>
                  <a:pt x="f98" y="f99"/>
                  <a:pt x="f100" y="f99"/>
                </a:cubicBezTo>
                <a:cubicBezTo>
                  <a:pt x="f101" y="f99"/>
                  <a:pt x="f102" y="f103"/>
                  <a:pt x="f104" y="f93"/>
                </a:cubicBezTo>
                <a:cubicBezTo>
                  <a:pt x="f105" y="f106"/>
                  <a:pt x="f107" y="f108"/>
                  <a:pt x="f109" y="f110"/>
                </a:cubicBezTo>
                <a:cubicBezTo>
                  <a:pt x="f111" y="f35"/>
                  <a:pt x="f112" y="f23"/>
                  <a:pt x="f113" y="f114"/>
                </a:cubicBezTo>
                <a:cubicBezTo>
                  <a:pt x="f31" y="f115"/>
                  <a:pt x="f5" y="f4"/>
                  <a:pt x="f116" y="f4"/>
                </a:cubicBezTo>
                <a:cubicBezTo>
                  <a:pt x="f117" y="f4"/>
                  <a:pt x="f9" y="f115"/>
                  <a:pt x="f11" y="f118"/>
                </a:cubicBezTo>
                <a:cubicBezTo>
                  <a:pt x="f119" y="f120"/>
                  <a:pt x="f121" y="f122"/>
                  <a:pt x="f123" y="f124"/>
                </a:cubicBezTo>
                <a:cubicBezTo>
                  <a:pt x="f125" y="f16"/>
                  <a:pt x="f123" y="f110"/>
                  <a:pt x="f126" y="f127"/>
                </a:cubicBezTo>
                <a:cubicBezTo>
                  <a:pt x="f128" y="f129"/>
                  <a:pt x="f22" y="f93"/>
                  <a:pt x="f26" y="f99"/>
                </a:cubicBezTo>
                <a:cubicBezTo>
                  <a:pt x="f128" y="f130"/>
                  <a:pt x="f131" y="f132"/>
                  <a:pt x="f133" y="f134"/>
                </a:cubicBezTo>
                <a:cubicBezTo>
                  <a:pt x="f135" y="f136"/>
                  <a:pt x="f137" y="f138"/>
                  <a:pt x="f139" y="f138"/>
                </a:cubicBezTo>
                <a:cubicBezTo>
                  <a:pt x="f140" y="f138"/>
                  <a:pt x="f141" y="f142"/>
                  <a:pt x="f143" y="f144"/>
                </a:cubicBezTo>
                <a:cubicBezTo>
                  <a:pt x="f145" y="f146"/>
                  <a:pt x="f147" y="f106"/>
                  <a:pt x="f148" y="f149"/>
                </a:cubicBezTo>
                <a:cubicBezTo>
                  <a:pt x="f148" y="f150"/>
                  <a:pt x="f151" y="f152"/>
                  <a:pt x="f153" y="f152"/>
                </a:cubicBezTo>
                <a:cubicBezTo>
                  <a:pt x="f154" y="f150"/>
                  <a:pt x="f3" y="f155"/>
                  <a:pt x="f3" y="f156"/>
                </a:cubicBezTo>
                <a:cubicBezTo>
                  <a:pt x="f157" y="f158"/>
                  <a:pt x="f159" y="f160"/>
                  <a:pt x="f161" y="f162"/>
                </a:cubicBezTo>
                <a:cubicBezTo>
                  <a:pt x="f163" y="f164"/>
                  <a:pt x="f165" y="f2"/>
                  <a:pt x="f42" y="f2"/>
                </a:cubicBezTo>
                <a:close/>
              </a:path>
            </a:pathLst>
          </a:custGeom>
          <a:solidFill>
            <a:srgbClr val="444C55"/>
          </a:solidFill>
          <a:ln cap="flat">
            <a:noFill/>
            <a:prstDash val="solid"/>
          </a:ln>
        </p:spPr>
        <p:txBody>
          <a:bodyPr vert="horz" wrap="square" lIns="121898" tIns="121898" rIns="121898" bIns="121898" anchor="ctr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67" b="0" i="0" u="none" strike="noStrike" kern="1200" cap="none" spc="0" baseline="0">
              <a:solidFill>
                <a:srgbClr val="444C55"/>
              </a:solidFill>
              <a:uFillTx/>
              <a:latin typeface="Arial"/>
            </a:endParaRPr>
          </a:p>
        </p:txBody>
      </p:sp>
      <p:sp>
        <p:nvSpPr>
          <p:cNvPr id="13" name="Google Shape;160;p9">
            <a:extLst>
              <a:ext uri="{FF2B5EF4-FFF2-40B4-BE49-F238E27FC236}">
                <a16:creationId xmlns:a16="http://schemas.microsoft.com/office/drawing/2014/main" id="{7B6E9D90-F6F5-73E8-F18E-F1B83ADB9ED3}"/>
              </a:ext>
            </a:extLst>
          </p:cNvPr>
          <p:cNvSpPr/>
          <p:nvPr/>
        </p:nvSpPr>
        <p:spPr>
          <a:xfrm rot="2699990" flipH="1">
            <a:off x="864472" y="864550"/>
            <a:ext cx="163997" cy="256050"/>
          </a:xfrm>
          <a:custGeom>
            <a:avLst/>
            <a:gdLst>
              <a:gd name="f0" fmla="val w"/>
              <a:gd name="f1" fmla="val h"/>
              <a:gd name="f2" fmla="val 0"/>
              <a:gd name="f3" fmla="val 6141"/>
              <a:gd name="f4" fmla="val 9588"/>
              <a:gd name="f5" fmla="val 5935"/>
              <a:gd name="f6" fmla="val 366"/>
              <a:gd name="f7" fmla="val 5821"/>
              <a:gd name="f8" fmla="val 3356"/>
              <a:gd name="f9" fmla="val 5547"/>
              <a:gd name="f10" fmla="val 6369"/>
              <a:gd name="f11" fmla="val 5090"/>
              <a:gd name="f12" fmla="val 9336"/>
              <a:gd name="f13" fmla="val 3424"/>
              <a:gd name="f14" fmla="val 8811"/>
              <a:gd name="f15" fmla="val 1826"/>
              <a:gd name="f16" fmla="val 8081"/>
              <a:gd name="f17" fmla="val 274"/>
              <a:gd name="f18" fmla="val 7373"/>
              <a:gd name="f19" fmla="val 1895"/>
              <a:gd name="f20" fmla="val 4840"/>
              <a:gd name="f21" fmla="val 3789"/>
              <a:gd name="f22" fmla="val 2489"/>
              <a:gd name="f23" fmla="val 6095"/>
              <a:gd name="f24" fmla="val 1"/>
              <a:gd name="f25" fmla="val 6049"/>
              <a:gd name="f26" fmla="val 6003"/>
              <a:gd name="f27" fmla="val 5958"/>
              <a:gd name="f28" fmla="val 24"/>
              <a:gd name="f29" fmla="val 3721"/>
              <a:gd name="f30" fmla="val 2238"/>
              <a:gd name="f31" fmla="val 1712"/>
              <a:gd name="f32" fmla="val 4703"/>
              <a:gd name="f33" fmla="val 23"/>
              <a:gd name="f34" fmla="val 7350"/>
              <a:gd name="f35" fmla="val 7396"/>
              <a:gd name="f36" fmla="val 7419"/>
              <a:gd name="f37" fmla="val 7442"/>
              <a:gd name="f38" fmla="val 7465"/>
              <a:gd name="f39" fmla="val 46"/>
              <a:gd name="f40" fmla="val 7510"/>
              <a:gd name="f41" fmla="val 69"/>
              <a:gd name="f42" fmla="val 1689"/>
              <a:gd name="f43" fmla="val 8264"/>
              <a:gd name="f44" fmla="val 3378"/>
              <a:gd name="f45" fmla="val 9040"/>
              <a:gd name="f46" fmla="val 5159"/>
              <a:gd name="f47" fmla="val 9565"/>
              <a:gd name="f48" fmla="val 9587"/>
              <a:gd name="f49" fmla="val 5182"/>
              <a:gd name="f50" fmla="val 5204"/>
              <a:gd name="f51" fmla="val 5227"/>
              <a:gd name="f52" fmla="val 5250"/>
              <a:gd name="f53" fmla="val 5273"/>
              <a:gd name="f54" fmla="val 9542"/>
              <a:gd name="f55" fmla="val 5296"/>
              <a:gd name="f56" fmla="val 9519"/>
              <a:gd name="f57" fmla="val 9496"/>
              <a:gd name="f58" fmla="val 5752"/>
              <a:gd name="f59" fmla="val 6392"/>
              <a:gd name="f60" fmla="val 3242"/>
              <a:gd name="f61" fmla="val 6140"/>
              <a:gd name="f62" fmla="val 115"/>
              <a:gd name="f63" fmla="val 6117"/>
              <a:gd name="f64" fmla="*/ f0 1 6141"/>
              <a:gd name="f65" fmla="*/ f1 1 9588"/>
              <a:gd name="f66" fmla="+- f4 0 f2"/>
              <a:gd name="f67" fmla="+- f3 0 f2"/>
              <a:gd name="f68" fmla="*/ f67 1 6141"/>
              <a:gd name="f69" fmla="*/ f66 1 9588"/>
              <a:gd name="f70" fmla="*/ f2 1 f68"/>
              <a:gd name="f71" fmla="*/ f3 1 f68"/>
              <a:gd name="f72" fmla="*/ f2 1 f69"/>
              <a:gd name="f73" fmla="*/ f4 1 f69"/>
              <a:gd name="f74" fmla="*/ f70 f64 1"/>
              <a:gd name="f75" fmla="*/ f71 f64 1"/>
              <a:gd name="f76" fmla="*/ f73 f65 1"/>
              <a:gd name="f77" fmla="*/ f72 f6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74" t="f77" r="f75" b="f76"/>
            <a:pathLst>
              <a:path w="6141" h="9588">
                <a:moveTo>
                  <a:pt x="f5" y="f6"/>
                </a:moveTo>
                <a:lnTo>
                  <a:pt x="f5" y="f6"/>
                </a:lnTo>
                <a:cubicBezTo>
                  <a:pt x="f7" y="f8"/>
                  <a:pt x="f9" y="f10"/>
                  <a:pt x="f11" y="f12"/>
                </a:cubicBezTo>
                <a:cubicBezTo>
                  <a:pt x="f13" y="f14"/>
                  <a:pt x="f15" y="f16"/>
                  <a:pt x="f17" y="f18"/>
                </a:cubicBezTo>
                <a:cubicBezTo>
                  <a:pt x="f19" y="f20"/>
                  <a:pt x="f21" y="f22"/>
                  <a:pt x="f5" y="f6"/>
                </a:cubicBezTo>
                <a:close/>
                <a:moveTo>
                  <a:pt x="f23" y="f24"/>
                </a:moveTo>
                <a:cubicBezTo>
                  <a:pt x="f25" y="f24"/>
                  <a:pt x="f26" y="f24"/>
                  <a:pt x="f27" y="f28"/>
                </a:cubicBezTo>
                <a:cubicBezTo>
                  <a:pt x="f29" y="f30"/>
                  <a:pt x="f31" y="f32"/>
                  <a:pt x="f33" y="f34"/>
                </a:cubicBezTo>
                <a:cubicBezTo>
                  <a:pt x="f2" y="f35"/>
                  <a:pt x="f2" y="f36"/>
                  <a:pt x="f33" y="f37"/>
                </a:cubicBezTo>
                <a:cubicBezTo>
                  <a:pt x="f33" y="f38"/>
                  <a:pt x="f39" y="f40"/>
                  <a:pt x="f41" y="f40"/>
                </a:cubicBezTo>
                <a:cubicBezTo>
                  <a:pt x="f42" y="f43"/>
                  <a:pt x="f44" y="f45"/>
                  <a:pt x="f46" y="f47"/>
                </a:cubicBezTo>
                <a:cubicBezTo>
                  <a:pt x="f46" y="f48"/>
                  <a:pt x="f49" y="f48"/>
                  <a:pt x="f49" y="f48"/>
                </a:cubicBezTo>
                <a:cubicBezTo>
                  <a:pt x="f50" y="f48"/>
                  <a:pt x="f51" y="f47"/>
                  <a:pt x="f52" y="f47"/>
                </a:cubicBezTo>
                <a:cubicBezTo>
                  <a:pt x="f53" y="f54"/>
                  <a:pt x="f55" y="f56"/>
                  <a:pt x="f55" y="f57"/>
                </a:cubicBezTo>
                <a:cubicBezTo>
                  <a:pt x="f58" y="f59"/>
                  <a:pt x="f25" y="f60"/>
                  <a:pt x="f61" y="f62"/>
                </a:cubicBezTo>
                <a:cubicBezTo>
                  <a:pt x="f61" y="f41"/>
                  <a:pt x="f63" y="f28"/>
                  <a:pt x="f23" y="f24"/>
                </a:cubicBezTo>
                <a:close/>
              </a:path>
            </a:pathLst>
          </a:custGeom>
          <a:solidFill>
            <a:srgbClr val="444C55"/>
          </a:solidFill>
          <a:ln cap="flat">
            <a:noFill/>
            <a:prstDash val="solid"/>
          </a:ln>
        </p:spPr>
        <p:txBody>
          <a:bodyPr vert="horz" wrap="square" lIns="121898" tIns="121898" rIns="121898" bIns="121898" anchor="ctr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67" b="0" i="0" u="none" strike="noStrike" kern="1200" cap="none" spc="0" baseline="0">
              <a:solidFill>
                <a:srgbClr val="444C55"/>
              </a:solidFill>
              <a:uFillTx/>
              <a:latin typeface="Arial"/>
            </a:endParaRPr>
          </a:p>
        </p:txBody>
      </p:sp>
      <p:sp>
        <p:nvSpPr>
          <p:cNvPr id="14" name="Google Shape;161;p9">
            <a:extLst>
              <a:ext uri="{FF2B5EF4-FFF2-40B4-BE49-F238E27FC236}">
                <a16:creationId xmlns:a16="http://schemas.microsoft.com/office/drawing/2014/main" id="{6E276B97-465C-B42C-B05D-A662C65BDECD}"/>
              </a:ext>
            </a:extLst>
          </p:cNvPr>
          <p:cNvSpPr/>
          <p:nvPr/>
        </p:nvSpPr>
        <p:spPr>
          <a:xfrm>
            <a:off x="7362611" y="6444407"/>
            <a:ext cx="219446" cy="72868"/>
          </a:xfrm>
          <a:custGeom>
            <a:avLst/>
            <a:gdLst>
              <a:gd name="f0" fmla="val w"/>
              <a:gd name="f1" fmla="val h"/>
              <a:gd name="f2" fmla="val 0"/>
              <a:gd name="f3" fmla="val 8218"/>
              <a:gd name="f4" fmla="val 2729"/>
              <a:gd name="f5" fmla="val 3698"/>
              <a:gd name="f6" fmla="val 948"/>
              <a:gd name="f7" fmla="val 3835"/>
              <a:gd name="f8" fmla="val 1017"/>
              <a:gd name="f9" fmla="val 3972"/>
              <a:gd name="f10" fmla="val 1131"/>
              <a:gd name="f11" fmla="val 4064"/>
              <a:gd name="f12" fmla="val 1245"/>
              <a:gd name="f13" fmla="val 4315"/>
              <a:gd name="f14" fmla="val 1496"/>
              <a:gd name="f15" fmla="val 4406"/>
              <a:gd name="f16" fmla="val 1839"/>
              <a:gd name="f17" fmla="val 2113"/>
              <a:gd name="f18" fmla="val 4269"/>
              <a:gd name="f19" fmla="val 2272"/>
              <a:gd name="f20" fmla="val 4132"/>
              <a:gd name="f21" fmla="val 2409"/>
              <a:gd name="f22" fmla="val 3995"/>
              <a:gd name="f23" fmla="val 2478"/>
              <a:gd name="f24" fmla="val 3927"/>
              <a:gd name="f25" fmla="val 2501"/>
              <a:gd name="f26" fmla="val 3858"/>
              <a:gd name="f27" fmla="val 2512"/>
              <a:gd name="f28" fmla="val 3793"/>
              <a:gd name="f29" fmla="val 3727"/>
              <a:gd name="f30" fmla="val 3664"/>
              <a:gd name="f31" fmla="val 3607"/>
              <a:gd name="f32" fmla="val 3288"/>
              <a:gd name="f33" fmla="val 2341"/>
              <a:gd name="f34" fmla="val 3219"/>
              <a:gd name="f35" fmla="val 1861"/>
              <a:gd name="f36" fmla="val 3379"/>
              <a:gd name="f37" fmla="val 1473"/>
              <a:gd name="f38" fmla="val 3447"/>
              <a:gd name="f39" fmla="val 1291"/>
              <a:gd name="f40" fmla="val 3562"/>
              <a:gd name="f41" fmla="val 1108"/>
              <a:gd name="f42" fmla="val 5462"/>
              <a:gd name="f43" fmla="val 5246"/>
              <a:gd name="f44" fmla="val 5022"/>
              <a:gd name="f45" fmla="val 24"/>
              <a:gd name="f46" fmla="val 4794"/>
              <a:gd name="f47" fmla="val 81"/>
              <a:gd name="f48" fmla="val 4360"/>
              <a:gd name="f49" fmla="val 172"/>
              <a:gd name="f50" fmla="val 3950"/>
              <a:gd name="f51" fmla="val 401"/>
              <a:gd name="f52" fmla="val 3653"/>
              <a:gd name="f53" fmla="val 697"/>
              <a:gd name="f54" fmla="val 3420"/>
              <a:gd name="f55" fmla="val 620"/>
              <a:gd name="f56" fmla="val 3177"/>
              <a:gd name="f57" fmla="val 574"/>
              <a:gd name="f58" fmla="val 2923"/>
              <a:gd name="f59" fmla="val 2804"/>
              <a:gd name="f60" fmla="val 2682"/>
              <a:gd name="f61" fmla="val 584"/>
              <a:gd name="f62" fmla="val 2557"/>
              <a:gd name="f63" fmla="val 606"/>
              <a:gd name="f64" fmla="val 1918"/>
              <a:gd name="f65" fmla="val 1347"/>
              <a:gd name="f66" fmla="val 1063"/>
              <a:gd name="f67" fmla="val 982"/>
              <a:gd name="f68" fmla="val 1336"/>
              <a:gd name="f69" fmla="val 617"/>
              <a:gd name="f70" fmla="val 1588"/>
              <a:gd name="f71" fmla="val 183"/>
              <a:gd name="f72" fmla="val 1976"/>
              <a:gd name="f73" fmla="val 1"/>
              <a:gd name="f74" fmla="val 2546"/>
              <a:gd name="f75" fmla="val 2615"/>
              <a:gd name="f76" fmla="val 69"/>
              <a:gd name="f77" fmla="val 86"/>
              <a:gd name="f78" fmla="val 2620"/>
              <a:gd name="f79" fmla="val 102"/>
              <a:gd name="f80" fmla="val 2623"/>
              <a:gd name="f81" fmla="val 116"/>
              <a:gd name="f82" fmla="val 159"/>
              <a:gd name="f83" fmla="val 189"/>
              <a:gd name="f84" fmla="val 2598"/>
              <a:gd name="f85" fmla="val 206"/>
              <a:gd name="f86" fmla="val 366"/>
              <a:gd name="f87" fmla="val 2090"/>
              <a:gd name="f88" fmla="val 777"/>
              <a:gd name="f89" fmla="val 1747"/>
              <a:gd name="f90" fmla="val 1119"/>
              <a:gd name="f91" fmla="val 1667"/>
              <a:gd name="f92" fmla="val 2146"/>
              <a:gd name="f93" fmla="val 880"/>
              <a:gd name="f94" fmla="val 2603"/>
              <a:gd name="f95" fmla="val 811"/>
              <a:gd name="f96" fmla="val 2702"/>
              <a:gd name="f97" fmla="val 796"/>
              <a:gd name="f98" fmla="val 2803"/>
              <a:gd name="f99" fmla="val 789"/>
              <a:gd name="f100" fmla="val 2905"/>
              <a:gd name="f101" fmla="val 3108"/>
              <a:gd name="f102" fmla="val 3310"/>
              <a:gd name="f103" fmla="val 819"/>
              <a:gd name="f104" fmla="val 3493"/>
              <a:gd name="f105" fmla="val 3356"/>
              <a:gd name="f106" fmla="val 1040"/>
              <a:gd name="f107" fmla="val 3242"/>
              <a:gd name="f108" fmla="val 1222"/>
              <a:gd name="f109" fmla="val 3173"/>
              <a:gd name="f110" fmla="val 1405"/>
              <a:gd name="f111" fmla="val 2991"/>
              <a:gd name="f112" fmla="val 3082"/>
              <a:gd name="f113" fmla="val 3516"/>
              <a:gd name="f114" fmla="val 2683"/>
              <a:gd name="f115" fmla="val 2706"/>
              <a:gd name="f116" fmla="val 3767"/>
              <a:gd name="f117" fmla="val 3881"/>
              <a:gd name="f118" fmla="val 2660"/>
              <a:gd name="f119" fmla="val 4292"/>
              <a:gd name="f120" fmla="val 2569"/>
              <a:gd name="f121" fmla="val 4452"/>
              <a:gd name="f122" fmla="val 2386"/>
              <a:gd name="f123" fmla="val 4520"/>
              <a:gd name="f124" fmla="val 2181"/>
              <a:gd name="f125" fmla="val 4634"/>
              <a:gd name="f126" fmla="val 4223"/>
              <a:gd name="f127" fmla="val 1085"/>
              <a:gd name="f128" fmla="val 4109"/>
              <a:gd name="f129" fmla="val 971"/>
              <a:gd name="f130" fmla="val 560"/>
              <a:gd name="f131" fmla="val 4475"/>
              <a:gd name="f132" fmla="val 355"/>
              <a:gd name="f133" fmla="val 4840"/>
              <a:gd name="f134" fmla="val 286"/>
              <a:gd name="f135" fmla="val 5051"/>
              <a:gd name="f136" fmla="val 237"/>
              <a:gd name="f137" fmla="val 5259"/>
              <a:gd name="f138" fmla="val 216"/>
              <a:gd name="f139" fmla="val 5460"/>
              <a:gd name="f140" fmla="val 5995"/>
              <a:gd name="f141" fmla="val 6477"/>
              <a:gd name="f142" fmla="val 365"/>
              <a:gd name="f143" fmla="val 6826"/>
              <a:gd name="f144" fmla="val 515"/>
              <a:gd name="f145" fmla="val 7191"/>
              <a:gd name="f146" fmla="val 675"/>
              <a:gd name="f147" fmla="val 7875"/>
              <a:gd name="f148" fmla="val 8012"/>
              <a:gd name="f149" fmla="val 1702"/>
              <a:gd name="f150" fmla="val 1770"/>
              <a:gd name="f151" fmla="val 8081"/>
              <a:gd name="f152" fmla="val 1793"/>
              <a:gd name="f153" fmla="val 8127"/>
              <a:gd name="f154" fmla="val 8195"/>
              <a:gd name="f155" fmla="val 1724"/>
              <a:gd name="f156" fmla="val 1656"/>
              <a:gd name="f157" fmla="val 8058"/>
              <a:gd name="f158" fmla="val 903"/>
              <a:gd name="f159" fmla="val 7328"/>
              <a:gd name="f160" fmla="val 492"/>
              <a:gd name="f161" fmla="val 6894"/>
              <a:gd name="f162" fmla="val 309"/>
              <a:gd name="f163" fmla="val 6531"/>
              <a:gd name="f164" fmla="val 161"/>
              <a:gd name="f165" fmla="val 6025"/>
              <a:gd name="f166" fmla="*/ f0 1 8218"/>
              <a:gd name="f167" fmla="*/ f1 1 2729"/>
              <a:gd name="f168" fmla="+- f4 0 f2"/>
              <a:gd name="f169" fmla="+- f3 0 f2"/>
              <a:gd name="f170" fmla="*/ f169 1 8218"/>
              <a:gd name="f171" fmla="*/ f168 1 2729"/>
              <a:gd name="f172" fmla="*/ f2 1 f170"/>
              <a:gd name="f173" fmla="*/ f3 1 f170"/>
              <a:gd name="f174" fmla="*/ f2 1 f171"/>
              <a:gd name="f175" fmla="*/ f4 1 f171"/>
              <a:gd name="f176" fmla="*/ f172 f166 1"/>
              <a:gd name="f177" fmla="*/ f173 f166 1"/>
              <a:gd name="f178" fmla="*/ f175 f167 1"/>
              <a:gd name="f179" fmla="*/ f174 f16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6" t="f179" r="f177" b="f178"/>
            <a:pathLst>
              <a:path w="8218" h="2729">
                <a:moveTo>
                  <a:pt x="f5" y="f6"/>
                </a:moveTo>
                <a:cubicBezTo>
                  <a:pt x="f7" y="f8"/>
                  <a:pt x="f9" y="f10"/>
                  <a:pt x="f11" y="f12"/>
                </a:cubicBezTo>
                <a:cubicBezTo>
                  <a:pt x="f13" y="f14"/>
                  <a:pt x="f15" y="f16"/>
                  <a:pt x="f13" y="f17"/>
                </a:cubicBezTo>
                <a:cubicBezTo>
                  <a:pt x="f18" y="f19"/>
                  <a:pt x="f20" y="f21"/>
                  <a:pt x="f22" y="f23"/>
                </a:cubicBezTo>
                <a:cubicBezTo>
                  <a:pt x="f24" y="f25"/>
                  <a:pt x="f26" y="f27"/>
                  <a:pt x="f28" y="f27"/>
                </a:cubicBezTo>
                <a:cubicBezTo>
                  <a:pt x="f29" y="f27"/>
                  <a:pt x="f30" y="f25"/>
                  <a:pt x="f31" y="f23"/>
                </a:cubicBezTo>
                <a:cubicBezTo>
                  <a:pt x="f32" y="f33"/>
                  <a:pt x="f34" y="f35"/>
                  <a:pt x="f36" y="f37"/>
                </a:cubicBezTo>
                <a:cubicBezTo>
                  <a:pt x="f38" y="f39"/>
                  <a:pt x="f40" y="f41"/>
                  <a:pt x="f5" y="f6"/>
                </a:cubicBezTo>
                <a:close/>
                <a:moveTo>
                  <a:pt x="f42" y="f2"/>
                </a:moveTo>
                <a:cubicBezTo>
                  <a:pt x="f43" y="f2"/>
                  <a:pt x="f44" y="f45"/>
                  <a:pt x="f46" y="f47"/>
                </a:cubicBezTo>
                <a:cubicBezTo>
                  <a:pt x="f48" y="f49"/>
                  <a:pt x="f50" y="f51"/>
                  <a:pt x="f52" y="f53"/>
                </a:cubicBezTo>
                <a:cubicBezTo>
                  <a:pt x="f54" y="f55"/>
                  <a:pt x="f56" y="f57"/>
                  <a:pt x="f58" y="f57"/>
                </a:cubicBezTo>
                <a:cubicBezTo>
                  <a:pt x="f59" y="f57"/>
                  <a:pt x="f60" y="f61"/>
                  <a:pt x="f62" y="f63"/>
                </a:cubicBezTo>
                <a:cubicBezTo>
                  <a:pt x="f64" y="f53"/>
                  <a:pt x="f65" y="f66"/>
                  <a:pt x="f67" y="f68"/>
                </a:cubicBezTo>
                <a:cubicBezTo>
                  <a:pt x="f69" y="f70"/>
                  <a:pt x="f71" y="f72"/>
                  <a:pt x="f73" y="f25"/>
                </a:cubicBezTo>
                <a:cubicBezTo>
                  <a:pt x="f73" y="f74"/>
                  <a:pt x="f45" y="f75"/>
                  <a:pt x="f76" y="f75"/>
                </a:cubicBezTo>
                <a:cubicBezTo>
                  <a:pt x="f77" y="f78"/>
                  <a:pt x="f79" y="f80"/>
                  <a:pt x="f81" y="f80"/>
                </a:cubicBezTo>
                <a:cubicBezTo>
                  <a:pt x="f82" y="f80"/>
                  <a:pt x="f83" y="f84"/>
                  <a:pt x="f85" y="f74"/>
                </a:cubicBezTo>
                <a:cubicBezTo>
                  <a:pt x="f86" y="f87"/>
                  <a:pt x="f88" y="f89"/>
                  <a:pt x="f90" y="f14"/>
                </a:cubicBezTo>
                <a:cubicBezTo>
                  <a:pt x="f91" y="f41"/>
                  <a:pt x="f92" y="f93"/>
                  <a:pt x="f94" y="f95"/>
                </a:cubicBezTo>
                <a:cubicBezTo>
                  <a:pt x="f96" y="f97"/>
                  <a:pt x="f98" y="f99"/>
                  <a:pt x="f100" y="f99"/>
                </a:cubicBezTo>
                <a:cubicBezTo>
                  <a:pt x="f101" y="f99"/>
                  <a:pt x="f102" y="f103"/>
                  <a:pt x="f104" y="f93"/>
                </a:cubicBezTo>
                <a:cubicBezTo>
                  <a:pt x="f105" y="f106"/>
                  <a:pt x="f107" y="f108"/>
                  <a:pt x="f109" y="f110"/>
                </a:cubicBezTo>
                <a:cubicBezTo>
                  <a:pt x="f111" y="f35"/>
                  <a:pt x="f112" y="f23"/>
                  <a:pt x="f113" y="f114"/>
                </a:cubicBezTo>
                <a:cubicBezTo>
                  <a:pt x="f31" y="f115"/>
                  <a:pt x="f5" y="f4"/>
                  <a:pt x="f116" y="f4"/>
                </a:cubicBezTo>
                <a:cubicBezTo>
                  <a:pt x="f117" y="f4"/>
                  <a:pt x="f9" y="f115"/>
                  <a:pt x="f11" y="f118"/>
                </a:cubicBezTo>
                <a:cubicBezTo>
                  <a:pt x="f119" y="f120"/>
                  <a:pt x="f121" y="f122"/>
                  <a:pt x="f123" y="f124"/>
                </a:cubicBezTo>
                <a:cubicBezTo>
                  <a:pt x="f125" y="f16"/>
                  <a:pt x="f123" y="f110"/>
                  <a:pt x="f126" y="f127"/>
                </a:cubicBezTo>
                <a:cubicBezTo>
                  <a:pt x="f128" y="f129"/>
                  <a:pt x="f22" y="f93"/>
                  <a:pt x="f26" y="f99"/>
                </a:cubicBezTo>
                <a:cubicBezTo>
                  <a:pt x="f128" y="f130"/>
                  <a:pt x="f131" y="f132"/>
                  <a:pt x="f133" y="f134"/>
                </a:cubicBezTo>
                <a:cubicBezTo>
                  <a:pt x="f135" y="f136"/>
                  <a:pt x="f137" y="f138"/>
                  <a:pt x="f139" y="f138"/>
                </a:cubicBezTo>
                <a:cubicBezTo>
                  <a:pt x="f140" y="f138"/>
                  <a:pt x="f141" y="f142"/>
                  <a:pt x="f143" y="f144"/>
                </a:cubicBezTo>
                <a:cubicBezTo>
                  <a:pt x="f145" y="f146"/>
                  <a:pt x="f147" y="f106"/>
                  <a:pt x="f148" y="f149"/>
                </a:cubicBezTo>
                <a:cubicBezTo>
                  <a:pt x="f148" y="f150"/>
                  <a:pt x="f151" y="f152"/>
                  <a:pt x="f153" y="f152"/>
                </a:cubicBezTo>
                <a:cubicBezTo>
                  <a:pt x="f154" y="f150"/>
                  <a:pt x="f3" y="f155"/>
                  <a:pt x="f3" y="f156"/>
                </a:cubicBezTo>
                <a:cubicBezTo>
                  <a:pt x="f157" y="f158"/>
                  <a:pt x="f159" y="f160"/>
                  <a:pt x="f161" y="f162"/>
                </a:cubicBezTo>
                <a:cubicBezTo>
                  <a:pt x="f163" y="f164"/>
                  <a:pt x="f165" y="f2"/>
                  <a:pt x="f42" y="f2"/>
                </a:cubicBezTo>
                <a:close/>
              </a:path>
            </a:pathLst>
          </a:custGeom>
          <a:solidFill>
            <a:srgbClr val="444C55"/>
          </a:solidFill>
          <a:ln cap="flat">
            <a:noFill/>
            <a:prstDash val="solid"/>
          </a:ln>
        </p:spPr>
        <p:txBody>
          <a:bodyPr vert="horz" wrap="square" lIns="121898" tIns="121898" rIns="121898" bIns="121898" anchor="ctr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67" b="0" i="0" u="none" strike="noStrike" kern="1200" cap="none" spc="0" baseline="0">
              <a:solidFill>
                <a:srgbClr val="444C55"/>
              </a:solidFill>
              <a:uFillTx/>
              <a:latin typeface="Arial"/>
            </a:endParaRPr>
          </a:p>
        </p:txBody>
      </p:sp>
      <p:sp>
        <p:nvSpPr>
          <p:cNvPr id="15" name="Google Shape;162;p9">
            <a:extLst>
              <a:ext uri="{FF2B5EF4-FFF2-40B4-BE49-F238E27FC236}">
                <a16:creationId xmlns:a16="http://schemas.microsoft.com/office/drawing/2014/main" id="{28E4AE74-BF69-104F-F0A3-6EA972D3074A}"/>
              </a:ext>
            </a:extLst>
          </p:cNvPr>
          <p:cNvSpPr/>
          <p:nvPr/>
        </p:nvSpPr>
        <p:spPr>
          <a:xfrm flipH="1">
            <a:off x="4280251" y="6457602"/>
            <a:ext cx="124029" cy="151232"/>
          </a:xfrm>
          <a:custGeom>
            <a:avLst/>
            <a:gdLst>
              <a:gd name="f0" fmla="val w"/>
              <a:gd name="f1" fmla="val h"/>
              <a:gd name="f2" fmla="val 0"/>
              <a:gd name="f3" fmla="val 6141"/>
              <a:gd name="f4" fmla="val 9588"/>
              <a:gd name="f5" fmla="val 5935"/>
              <a:gd name="f6" fmla="val 366"/>
              <a:gd name="f7" fmla="val 5821"/>
              <a:gd name="f8" fmla="val 3356"/>
              <a:gd name="f9" fmla="val 5547"/>
              <a:gd name="f10" fmla="val 6369"/>
              <a:gd name="f11" fmla="val 5090"/>
              <a:gd name="f12" fmla="val 9336"/>
              <a:gd name="f13" fmla="val 3424"/>
              <a:gd name="f14" fmla="val 8811"/>
              <a:gd name="f15" fmla="val 1826"/>
              <a:gd name="f16" fmla="val 8081"/>
              <a:gd name="f17" fmla="val 274"/>
              <a:gd name="f18" fmla="val 7373"/>
              <a:gd name="f19" fmla="val 1895"/>
              <a:gd name="f20" fmla="val 4840"/>
              <a:gd name="f21" fmla="val 3789"/>
              <a:gd name="f22" fmla="val 2489"/>
              <a:gd name="f23" fmla="val 6095"/>
              <a:gd name="f24" fmla="val 1"/>
              <a:gd name="f25" fmla="val 6049"/>
              <a:gd name="f26" fmla="val 6003"/>
              <a:gd name="f27" fmla="val 5958"/>
              <a:gd name="f28" fmla="val 24"/>
              <a:gd name="f29" fmla="val 3721"/>
              <a:gd name="f30" fmla="val 2238"/>
              <a:gd name="f31" fmla="val 1712"/>
              <a:gd name="f32" fmla="val 4703"/>
              <a:gd name="f33" fmla="val 23"/>
              <a:gd name="f34" fmla="val 7350"/>
              <a:gd name="f35" fmla="val 7396"/>
              <a:gd name="f36" fmla="val 7419"/>
              <a:gd name="f37" fmla="val 7442"/>
              <a:gd name="f38" fmla="val 7465"/>
              <a:gd name="f39" fmla="val 46"/>
              <a:gd name="f40" fmla="val 7510"/>
              <a:gd name="f41" fmla="val 69"/>
              <a:gd name="f42" fmla="val 1689"/>
              <a:gd name="f43" fmla="val 8264"/>
              <a:gd name="f44" fmla="val 3378"/>
              <a:gd name="f45" fmla="val 9040"/>
              <a:gd name="f46" fmla="val 5159"/>
              <a:gd name="f47" fmla="val 9565"/>
              <a:gd name="f48" fmla="val 9587"/>
              <a:gd name="f49" fmla="val 5182"/>
              <a:gd name="f50" fmla="val 5204"/>
              <a:gd name="f51" fmla="val 5227"/>
              <a:gd name="f52" fmla="val 5250"/>
              <a:gd name="f53" fmla="val 5273"/>
              <a:gd name="f54" fmla="val 9542"/>
              <a:gd name="f55" fmla="val 5296"/>
              <a:gd name="f56" fmla="val 9519"/>
              <a:gd name="f57" fmla="val 9496"/>
              <a:gd name="f58" fmla="val 5752"/>
              <a:gd name="f59" fmla="val 6392"/>
              <a:gd name="f60" fmla="val 3242"/>
              <a:gd name="f61" fmla="val 6140"/>
              <a:gd name="f62" fmla="val 115"/>
              <a:gd name="f63" fmla="val 6117"/>
              <a:gd name="f64" fmla="*/ f0 1 6141"/>
              <a:gd name="f65" fmla="*/ f1 1 9588"/>
              <a:gd name="f66" fmla="+- f4 0 f2"/>
              <a:gd name="f67" fmla="+- f3 0 f2"/>
              <a:gd name="f68" fmla="*/ f67 1 6141"/>
              <a:gd name="f69" fmla="*/ f66 1 9588"/>
              <a:gd name="f70" fmla="*/ f2 1 f68"/>
              <a:gd name="f71" fmla="*/ f3 1 f68"/>
              <a:gd name="f72" fmla="*/ f2 1 f69"/>
              <a:gd name="f73" fmla="*/ f4 1 f69"/>
              <a:gd name="f74" fmla="*/ f70 f64 1"/>
              <a:gd name="f75" fmla="*/ f71 f64 1"/>
              <a:gd name="f76" fmla="*/ f73 f65 1"/>
              <a:gd name="f77" fmla="*/ f72 f6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74" t="f77" r="f75" b="f76"/>
            <a:pathLst>
              <a:path w="6141" h="9588">
                <a:moveTo>
                  <a:pt x="f5" y="f6"/>
                </a:moveTo>
                <a:lnTo>
                  <a:pt x="f5" y="f6"/>
                </a:lnTo>
                <a:cubicBezTo>
                  <a:pt x="f7" y="f8"/>
                  <a:pt x="f9" y="f10"/>
                  <a:pt x="f11" y="f12"/>
                </a:cubicBezTo>
                <a:cubicBezTo>
                  <a:pt x="f13" y="f14"/>
                  <a:pt x="f15" y="f16"/>
                  <a:pt x="f17" y="f18"/>
                </a:cubicBezTo>
                <a:cubicBezTo>
                  <a:pt x="f19" y="f20"/>
                  <a:pt x="f21" y="f22"/>
                  <a:pt x="f5" y="f6"/>
                </a:cubicBezTo>
                <a:close/>
                <a:moveTo>
                  <a:pt x="f23" y="f24"/>
                </a:moveTo>
                <a:cubicBezTo>
                  <a:pt x="f25" y="f24"/>
                  <a:pt x="f26" y="f24"/>
                  <a:pt x="f27" y="f28"/>
                </a:cubicBezTo>
                <a:cubicBezTo>
                  <a:pt x="f29" y="f30"/>
                  <a:pt x="f31" y="f32"/>
                  <a:pt x="f33" y="f34"/>
                </a:cubicBezTo>
                <a:cubicBezTo>
                  <a:pt x="f2" y="f35"/>
                  <a:pt x="f2" y="f36"/>
                  <a:pt x="f33" y="f37"/>
                </a:cubicBezTo>
                <a:cubicBezTo>
                  <a:pt x="f33" y="f38"/>
                  <a:pt x="f39" y="f40"/>
                  <a:pt x="f41" y="f40"/>
                </a:cubicBezTo>
                <a:cubicBezTo>
                  <a:pt x="f42" y="f43"/>
                  <a:pt x="f44" y="f45"/>
                  <a:pt x="f46" y="f47"/>
                </a:cubicBezTo>
                <a:cubicBezTo>
                  <a:pt x="f46" y="f48"/>
                  <a:pt x="f49" y="f48"/>
                  <a:pt x="f49" y="f48"/>
                </a:cubicBezTo>
                <a:cubicBezTo>
                  <a:pt x="f50" y="f48"/>
                  <a:pt x="f51" y="f47"/>
                  <a:pt x="f52" y="f47"/>
                </a:cubicBezTo>
                <a:cubicBezTo>
                  <a:pt x="f53" y="f54"/>
                  <a:pt x="f55" y="f56"/>
                  <a:pt x="f55" y="f57"/>
                </a:cubicBezTo>
                <a:cubicBezTo>
                  <a:pt x="f58" y="f59"/>
                  <a:pt x="f25" y="f60"/>
                  <a:pt x="f61" y="f62"/>
                </a:cubicBezTo>
                <a:cubicBezTo>
                  <a:pt x="f61" y="f41"/>
                  <a:pt x="f63" y="f28"/>
                  <a:pt x="f23" y="f24"/>
                </a:cubicBezTo>
                <a:close/>
              </a:path>
            </a:pathLst>
          </a:custGeom>
          <a:solidFill>
            <a:srgbClr val="444C55"/>
          </a:solidFill>
          <a:ln cap="flat">
            <a:noFill/>
            <a:prstDash val="solid"/>
          </a:ln>
        </p:spPr>
        <p:txBody>
          <a:bodyPr vert="horz" wrap="square" lIns="121898" tIns="121898" rIns="121898" bIns="121898" anchor="ctr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67" b="0" i="0" u="none" strike="noStrike" kern="1200" cap="none" spc="0" baseline="0">
              <a:solidFill>
                <a:srgbClr val="444C55"/>
              </a:solidFill>
              <a:uFillTx/>
              <a:latin typeface="Arial"/>
            </a:endParaRPr>
          </a:p>
        </p:txBody>
      </p:sp>
      <p:grpSp>
        <p:nvGrpSpPr>
          <p:cNvPr id="16" name="Google Shape;163;p9">
            <a:extLst>
              <a:ext uri="{FF2B5EF4-FFF2-40B4-BE49-F238E27FC236}">
                <a16:creationId xmlns:a16="http://schemas.microsoft.com/office/drawing/2014/main" id="{E80D04BB-30DA-FA7E-1682-53FAE8869C90}"/>
              </a:ext>
            </a:extLst>
          </p:cNvPr>
          <p:cNvGrpSpPr/>
          <p:nvPr/>
        </p:nvGrpSpPr>
        <p:grpSpPr>
          <a:xfrm>
            <a:off x="-291062" y="4128525"/>
            <a:ext cx="1732870" cy="3535929"/>
            <a:chOff x="-291062" y="4128525"/>
            <a:chExt cx="1732870" cy="3535929"/>
          </a:xfrm>
        </p:grpSpPr>
        <p:sp>
          <p:nvSpPr>
            <p:cNvPr id="17" name="Google Shape;164;p9">
              <a:extLst>
                <a:ext uri="{FF2B5EF4-FFF2-40B4-BE49-F238E27FC236}">
                  <a16:creationId xmlns:a16="http://schemas.microsoft.com/office/drawing/2014/main" id="{CD63B6A8-EA62-F5B7-EB3D-E49A095170AD}"/>
                </a:ext>
              </a:extLst>
            </p:cNvPr>
            <p:cNvSpPr/>
            <p:nvPr/>
          </p:nvSpPr>
          <p:spPr>
            <a:xfrm flipH="1">
              <a:off x="-291062" y="4128525"/>
              <a:ext cx="923928" cy="104680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5679"/>
                <a:gd name="f4" fmla="val 29094"/>
                <a:gd name="f5" fmla="val 15362"/>
                <a:gd name="f6" fmla="val 14997"/>
                <a:gd name="f7" fmla="val 14631"/>
                <a:gd name="f8" fmla="val 16"/>
                <a:gd name="f9" fmla="val 14266"/>
                <a:gd name="f10" fmla="val 43"/>
                <a:gd name="f11" fmla="val 13581"/>
                <a:gd name="f12" fmla="val 112"/>
                <a:gd name="f13" fmla="val 12897"/>
                <a:gd name="f14" fmla="val 203"/>
                <a:gd name="f15" fmla="val 12280"/>
                <a:gd name="f16" fmla="val 500"/>
                <a:gd name="f17" fmla="val 11504"/>
                <a:gd name="f18" fmla="val 888"/>
                <a:gd name="f19" fmla="val 10911"/>
                <a:gd name="f20" fmla="val 1550"/>
                <a:gd name="f21" fmla="val 10409"/>
                <a:gd name="f22" fmla="val 2234"/>
                <a:gd name="f23" fmla="val 8080"/>
                <a:gd name="f24" fmla="val 5498"/>
                <a:gd name="f25" fmla="val 7533"/>
                <a:gd name="f26" fmla="val 9653"/>
                <a:gd name="f27" fmla="val 6254"/>
                <a:gd name="f28" fmla="val 13464"/>
                <a:gd name="f29" fmla="val 6232"/>
                <a:gd name="f30" fmla="val 13533"/>
                <a:gd name="f31" fmla="val 6186"/>
                <a:gd name="f32" fmla="val 13624"/>
                <a:gd name="f33" fmla="val 6140"/>
                <a:gd name="f34" fmla="val 13693"/>
                <a:gd name="f35" fmla="val 6088"/>
                <a:gd name="f36" fmla="val 13737"/>
                <a:gd name="f37" fmla="val 6021"/>
                <a:gd name="f38" fmla="val 13758"/>
                <a:gd name="f39" fmla="val 5951"/>
                <a:gd name="f40" fmla="val 5806"/>
                <a:gd name="f41" fmla="val 5647"/>
                <a:gd name="f42" fmla="val 13671"/>
                <a:gd name="f43" fmla="val 5570"/>
                <a:gd name="f44" fmla="val 5456"/>
                <a:gd name="f45" fmla="val 13350"/>
                <a:gd name="f46" fmla="val 5478"/>
                <a:gd name="f47" fmla="val 13099"/>
                <a:gd name="f48" fmla="val 5501"/>
                <a:gd name="f49" fmla="val 12871"/>
                <a:gd name="f50" fmla="val 5752"/>
                <a:gd name="f51" fmla="val 10383"/>
                <a:gd name="f52" fmla="val 6277"/>
                <a:gd name="f53" fmla="val 7941"/>
                <a:gd name="f54" fmla="val 7053"/>
                <a:gd name="f55" fmla="val 5544"/>
                <a:gd name="f56" fmla="val 7259"/>
                <a:gd name="f57" fmla="val 4928"/>
                <a:gd name="f58" fmla="val 7464"/>
                <a:gd name="f59" fmla="val 4289"/>
                <a:gd name="f60" fmla="val 7487"/>
                <a:gd name="f61" fmla="val 3627"/>
                <a:gd name="f62" fmla="val 7510"/>
                <a:gd name="f63" fmla="val 2965"/>
                <a:gd name="f64" fmla="val 7282"/>
                <a:gd name="f65" fmla="val 2257"/>
                <a:gd name="f66" fmla="val 6734"/>
                <a:gd name="f67" fmla="val 1869"/>
                <a:gd name="f68" fmla="val 6438"/>
                <a:gd name="f69" fmla="val 1663"/>
                <a:gd name="f70" fmla="val 6097"/>
                <a:gd name="f71" fmla="val 1577"/>
                <a:gd name="f72" fmla="val 5742"/>
                <a:gd name="f73" fmla="val 5195"/>
                <a:gd name="f74" fmla="val 4617"/>
                <a:gd name="f75" fmla="val 1784"/>
                <a:gd name="f76" fmla="val 4132"/>
                <a:gd name="f77" fmla="val 2075"/>
                <a:gd name="f78" fmla="val 3196"/>
                <a:gd name="f79" fmla="val 2622"/>
                <a:gd name="f80" fmla="val 2443"/>
                <a:gd name="f81" fmla="val 3467"/>
                <a:gd name="f82" fmla="val 1872"/>
                <a:gd name="f83" fmla="val 4403"/>
                <a:gd name="f84" fmla="val 7461"/>
                <a:gd name="f85" fmla="val 137"/>
                <a:gd name="f86" fmla="val 11296"/>
                <a:gd name="f87" fmla="val 662"/>
                <a:gd name="f88" fmla="val 14834"/>
                <a:gd name="f89" fmla="val 1233"/>
                <a:gd name="f90" fmla="val 18509"/>
                <a:gd name="f91" fmla="val 2169"/>
                <a:gd name="f92" fmla="val 22138"/>
                <a:gd name="f93" fmla="val 3470"/>
                <a:gd name="f94" fmla="val 25608"/>
                <a:gd name="f95" fmla="val 3903"/>
                <a:gd name="f96" fmla="val 26772"/>
                <a:gd name="f97" fmla="val 4588"/>
                <a:gd name="f98" fmla="val 28164"/>
                <a:gd name="f99" fmla="val 5958"/>
                <a:gd name="f100" fmla="val 28735"/>
                <a:gd name="f101" fmla="val 6548"/>
                <a:gd name="f102" fmla="val 28997"/>
                <a:gd name="f103" fmla="val 7176"/>
                <a:gd name="f104" fmla="val 29093"/>
                <a:gd name="f105" fmla="val 7811"/>
                <a:gd name="f106" fmla="val 8281"/>
                <a:gd name="f107" fmla="val 8756"/>
                <a:gd name="f108" fmla="val 29041"/>
                <a:gd name="f109" fmla="val 9222"/>
                <a:gd name="f110" fmla="val 28963"/>
                <a:gd name="f111" fmla="val 13673"/>
                <a:gd name="f112" fmla="val 28255"/>
                <a:gd name="f113" fmla="val 17485"/>
                <a:gd name="f114" fmla="val 25379"/>
                <a:gd name="f115" fmla="val 20657"/>
                <a:gd name="f116" fmla="val 22161"/>
                <a:gd name="f117" fmla="val 22050"/>
                <a:gd name="f118" fmla="val 20746"/>
                <a:gd name="f119" fmla="val 23351"/>
                <a:gd name="f120" fmla="val 19216"/>
                <a:gd name="f121" fmla="val 24264"/>
                <a:gd name="f122" fmla="val 17459"/>
                <a:gd name="f123" fmla="val 25177"/>
                <a:gd name="f124" fmla="val 15701"/>
                <a:gd name="f125" fmla="val 13670"/>
                <a:gd name="f126" fmla="val 25382"/>
                <a:gd name="f127" fmla="val 11730"/>
                <a:gd name="f128" fmla="val 25291"/>
                <a:gd name="f129" fmla="val 11182"/>
                <a:gd name="f130" fmla="val 25108"/>
                <a:gd name="f131" fmla="val 10611"/>
                <a:gd name="f132" fmla="val 24652"/>
                <a:gd name="f133" fmla="val 10337"/>
                <a:gd name="f134" fmla="val 24472"/>
                <a:gd name="f135" fmla="val 10236"/>
                <a:gd name="f136" fmla="val 24273"/>
                <a:gd name="f137" fmla="val 10190"/>
                <a:gd name="f138" fmla="val 24071"/>
                <a:gd name="f139" fmla="val 23686"/>
                <a:gd name="f140" fmla="val 23293"/>
                <a:gd name="f141" fmla="val 10356"/>
                <a:gd name="f142" fmla="val 23008"/>
                <a:gd name="f143" fmla="val 22552"/>
                <a:gd name="f144" fmla="val 10999"/>
                <a:gd name="f145" fmla="val 22278"/>
                <a:gd name="f146" fmla="val 11524"/>
                <a:gd name="f147" fmla="val 22004"/>
                <a:gd name="f148" fmla="val 12049"/>
                <a:gd name="f149" fmla="val 20885"/>
                <a:gd name="f150" fmla="val 14241"/>
                <a:gd name="f151" fmla="val 19516"/>
                <a:gd name="f152" fmla="val 16295"/>
                <a:gd name="f153" fmla="val 17918"/>
                <a:gd name="f154" fmla="val 18166"/>
                <a:gd name="f155" fmla="val 19288"/>
                <a:gd name="f156" fmla="val 15222"/>
                <a:gd name="f157" fmla="val 12255"/>
                <a:gd name="f158" fmla="val 21639"/>
                <a:gd name="f159" fmla="val 9173"/>
                <a:gd name="f160" fmla="val 22232"/>
                <a:gd name="f161" fmla="val 7347"/>
                <a:gd name="f162" fmla="val 22643"/>
                <a:gd name="f163" fmla="val 5316"/>
                <a:gd name="f164" fmla="val 21913"/>
                <a:gd name="f165" fmla="val 3558"/>
                <a:gd name="f166" fmla="val 21342"/>
                <a:gd name="f167" fmla="val 2166"/>
                <a:gd name="f168" fmla="val 20087"/>
                <a:gd name="f169" fmla="val 1116"/>
                <a:gd name="f170" fmla="val 18694"/>
                <a:gd name="f171" fmla="val 568"/>
                <a:gd name="f172" fmla="val 17639"/>
                <a:gd name="f173" fmla="val 153"/>
                <a:gd name="f174" fmla="val 16505"/>
                <a:gd name="f175" fmla="*/ f0 1 25679"/>
                <a:gd name="f176" fmla="*/ f1 1 29094"/>
                <a:gd name="f177" fmla="+- f4 0 f2"/>
                <a:gd name="f178" fmla="+- f3 0 f2"/>
                <a:gd name="f179" fmla="*/ f178 1 25679"/>
                <a:gd name="f180" fmla="*/ f177 1 29094"/>
                <a:gd name="f181" fmla="*/ f2 1 f179"/>
                <a:gd name="f182" fmla="*/ f3 1 f179"/>
                <a:gd name="f183" fmla="*/ f2 1 f180"/>
                <a:gd name="f184" fmla="*/ f4 1 f180"/>
                <a:gd name="f185" fmla="*/ f181 f175 1"/>
                <a:gd name="f186" fmla="*/ f182 f175 1"/>
                <a:gd name="f187" fmla="*/ f184 f176 1"/>
                <a:gd name="f188" fmla="*/ f183 f17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85" t="f188" r="f186" b="f187"/>
              <a:pathLst>
                <a:path w="25679" h="29094">
                  <a:moveTo>
                    <a:pt x="f5" y="f2"/>
                  </a:moveTo>
                  <a:cubicBezTo>
                    <a:pt x="f6" y="f2"/>
                    <a:pt x="f7" y="f8"/>
                    <a:pt x="f9" y="f10"/>
                  </a:cubicBezTo>
                  <a:cubicBezTo>
                    <a:pt x="f11" y="f12"/>
                    <a:pt x="f13" y="f14"/>
                    <a:pt x="f15" y="f16"/>
                  </a:cubicBezTo>
                  <a:cubicBezTo>
                    <a:pt x="f17" y="f18"/>
                    <a:pt x="f19" y="f20"/>
                    <a:pt x="f21" y="f22"/>
                  </a:cubicBezTo>
                  <a:cubicBezTo>
                    <a:pt x="f23" y="f24"/>
                    <a:pt x="f25" y="f26"/>
                    <a:pt x="f27" y="f28"/>
                  </a:cubicBez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38"/>
                  </a:cubicBezTo>
                  <a:cubicBezTo>
                    <a:pt x="f40" y="f38"/>
                    <a:pt x="f41" y="f42"/>
                    <a:pt x="f43" y="f30"/>
                  </a:cubicBezTo>
                  <a:cubicBezTo>
                    <a:pt x="f44" y="f45"/>
                    <a:pt x="f46" y="f47"/>
                    <a:pt x="f48" y="f49"/>
                  </a:cubicBezTo>
                  <a:cubicBezTo>
                    <a:pt x="f50" y="f51"/>
                    <a:pt x="f52" y="f53"/>
                    <a:pt x="f54" y="f55"/>
                  </a:cubicBezTo>
                  <a:cubicBezTo>
                    <a:pt x="f56" y="f57"/>
                    <a:pt x="f58" y="f59"/>
                    <a:pt x="f60" y="f61"/>
                  </a:cubicBezTo>
                  <a:cubicBezTo>
                    <a:pt x="f62" y="f63"/>
                    <a:pt x="f64" y="f65"/>
                    <a:pt x="f66" y="f67"/>
                  </a:cubicBezTo>
                  <a:cubicBezTo>
                    <a:pt x="f68" y="f69"/>
                    <a:pt x="f70" y="f71"/>
                    <a:pt x="f72" y="f71"/>
                  </a:cubicBezTo>
                  <a:cubicBezTo>
                    <a:pt x="f73" y="f71"/>
                    <a:pt x="f74" y="f75"/>
                    <a:pt x="f76" y="f77"/>
                  </a:cubicBezTo>
                  <a:cubicBezTo>
                    <a:pt x="f78" y="f79"/>
                    <a:pt x="f80" y="f81"/>
                    <a:pt x="f82" y="f83"/>
                  </a:cubicBezTo>
                  <a:cubicBezTo>
                    <a:pt x="f2" y="f84"/>
                    <a:pt x="f85" y="f86"/>
                    <a:pt x="f87" y="f88"/>
                  </a:cubicBezTo>
                  <a:cubicBezTo>
                    <a:pt x="f89" y="f90"/>
                    <a:pt x="f91" y="f92"/>
                    <a:pt x="f93" y="f94"/>
                  </a:cubicBezTo>
                  <a:cubicBezTo>
                    <a:pt x="f95" y="f96"/>
                    <a:pt x="f97" y="f98"/>
                    <a:pt x="f99" y="f100"/>
                  </a:cubicBezTo>
                  <a:cubicBezTo>
                    <a:pt x="f101" y="f102"/>
                    <a:pt x="f103" y="f104"/>
                    <a:pt x="f105" y="f104"/>
                  </a:cubicBezTo>
                  <a:cubicBezTo>
                    <a:pt x="f106" y="f104"/>
                    <a:pt x="f107" y="f108"/>
                    <a:pt x="f109" y="f110"/>
                  </a:cubicBezTo>
                  <a:cubicBezTo>
                    <a:pt x="f111" y="f112"/>
                    <a:pt x="f113" y="f114"/>
                    <a:pt x="f115" y="f116"/>
                  </a:cubicBezTo>
                  <a:cubicBezTo>
                    <a:pt x="f117" y="f118"/>
                    <a:pt x="f119" y="f120"/>
                    <a:pt x="f121" y="f122"/>
                  </a:cubicBezTo>
                  <a:cubicBezTo>
                    <a:pt x="f123" y="f124"/>
                    <a:pt x="f3" y="f125"/>
                    <a:pt x="f126" y="f127"/>
                  </a:cubicBezTo>
                  <a:cubicBezTo>
                    <a:pt x="f128" y="f129"/>
                    <a:pt x="f130" y="f131"/>
                    <a:pt x="f132" y="f133"/>
                  </a:cubicBezTo>
                  <a:cubicBezTo>
                    <a:pt x="f134" y="f135"/>
                    <a:pt x="f136" y="f137"/>
                    <a:pt x="f138" y="f137"/>
                  </a:cubicBezTo>
                  <a:cubicBezTo>
                    <a:pt x="f139" y="f137"/>
                    <a:pt x="f140" y="f141"/>
                    <a:pt x="f142" y="f131"/>
                  </a:cubicBezTo>
                  <a:cubicBezTo>
                    <a:pt x="f143" y="f144"/>
                    <a:pt x="f145" y="f146"/>
                    <a:pt x="f147" y="f148"/>
                  </a:cubicBezTo>
                  <a:cubicBezTo>
                    <a:pt x="f149" y="f150"/>
                    <a:pt x="f151" y="f152"/>
                    <a:pt x="f153" y="f154"/>
                  </a:cubicBezTo>
                  <a:cubicBezTo>
                    <a:pt x="f155" y="f156"/>
                    <a:pt x="f115" y="f157"/>
                    <a:pt x="f158" y="f159"/>
                  </a:cubicBezTo>
                  <a:cubicBezTo>
                    <a:pt x="f160" y="f161"/>
                    <a:pt x="f162" y="f163"/>
                    <a:pt x="f164" y="f165"/>
                  </a:cubicBezTo>
                  <a:cubicBezTo>
                    <a:pt x="f166" y="f167"/>
                    <a:pt x="f168" y="f169"/>
                    <a:pt x="f170" y="f171"/>
                  </a:cubicBezTo>
                  <a:cubicBezTo>
                    <a:pt x="f172" y="f173"/>
                    <a:pt x="f174" y="f2"/>
                    <a:pt x="f5" y="f2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21" tIns="91421" rIns="91421" bIns="9142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67" b="0" i="0" u="none" strike="noStrike" kern="1200" cap="none" spc="0" baseline="0">
                <a:solidFill>
                  <a:srgbClr val="444C55"/>
                </a:solidFill>
                <a:uFillTx/>
                <a:latin typeface="Arial"/>
              </a:endParaRPr>
            </a:p>
          </p:txBody>
        </p:sp>
        <p:sp>
          <p:nvSpPr>
            <p:cNvPr id="18" name="Google Shape;165;p9">
              <a:extLst>
                <a:ext uri="{FF2B5EF4-FFF2-40B4-BE49-F238E27FC236}">
                  <a16:creationId xmlns:a16="http://schemas.microsoft.com/office/drawing/2014/main" id="{28E51092-0B7F-CEAA-921A-844880F072DA}"/>
                </a:ext>
              </a:extLst>
            </p:cNvPr>
            <p:cNvSpPr/>
            <p:nvPr/>
          </p:nvSpPr>
          <p:spPr>
            <a:xfrm flipH="1">
              <a:off x="-140771" y="4831351"/>
              <a:ext cx="1582579" cy="283310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3985"/>
                <a:gd name="f4" fmla="val 78741"/>
                <a:gd name="f5" fmla="val 15204"/>
                <a:gd name="f6" fmla="val 1"/>
                <a:gd name="f7" fmla="val 14564"/>
                <a:gd name="f8" fmla="val 13931"/>
                <a:gd name="f9" fmla="val 314"/>
                <a:gd name="f10" fmla="val 13467"/>
                <a:gd name="f11" fmla="val 755"/>
                <a:gd name="f12" fmla="val 12303"/>
                <a:gd name="f13" fmla="val 1805"/>
                <a:gd name="f14" fmla="val 11938"/>
                <a:gd name="f15" fmla="val 3517"/>
                <a:gd name="f16" fmla="val 12098"/>
                <a:gd name="f17" fmla="val 5092"/>
                <a:gd name="f18" fmla="val 12280"/>
                <a:gd name="f19" fmla="val 6644"/>
                <a:gd name="f20" fmla="val 12874"/>
                <a:gd name="f21" fmla="val 8105"/>
                <a:gd name="f22" fmla="val 13376"/>
                <a:gd name="f23" fmla="val 9611"/>
                <a:gd name="f24" fmla="val 15727"/>
                <a:gd name="f25" fmla="val 16824"/>
                <a:gd name="f26" fmla="val 15248"/>
                <a:gd name="f27" fmla="val 24653"/>
                <a:gd name="f28" fmla="val 13833"/>
                <a:gd name="f29" fmla="val 32140"/>
                <a:gd name="f30" fmla="val 36226"/>
                <a:gd name="f31" fmla="val 10957"/>
                <a:gd name="f32" fmla="val 40585"/>
                <a:gd name="f33" fmla="val 10432"/>
                <a:gd name="f34" fmla="val 44991"/>
                <a:gd name="f35" fmla="val 9929"/>
                <a:gd name="f36" fmla="val 41224"/>
                <a:gd name="f37" fmla="val 8811"/>
                <a:gd name="f38" fmla="val 37435"/>
                <a:gd name="f39" fmla="val 8583"/>
                <a:gd name="f40" fmla="val 33601"/>
                <a:gd name="f41" fmla="val 8332"/>
                <a:gd name="f42" fmla="val 29538"/>
                <a:gd name="f43" fmla="val 9062"/>
                <a:gd name="f44" fmla="val 25407"/>
                <a:gd name="f45" fmla="val 8103"/>
                <a:gd name="f46" fmla="val 21458"/>
                <a:gd name="f47" fmla="val 7838"/>
                <a:gd name="f48" fmla="val 20331"/>
                <a:gd name="f49" fmla="val 7124"/>
                <a:gd name="f50" fmla="val 19034"/>
                <a:gd name="f51" fmla="val 6003"/>
                <a:gd name="f52" fmla="val 5966"/>
                <a:gd name="f53" fmla="val 5928"/>
                <a:gd name="f54" fmla="val 19035"/>
                <a:gd name="f55" fmla="val 5889"/>
                <a:gd name="f56" fmla="val 19038"/>
                <a:gd name="f57" fmla="val 5364"/>
                <a:gd name="f58" fmla="val 19084"/>
                <a:gd name="f59" fmla="val 4908"/>
                <a:gd name="f60" fmla="val 19426"/>
                <a:gd name="f61" fmla="val 4565"/>
                <a:gd name="f62" fmla="val 19814"/>
                <a:gd name="f63" fmla="val 3516"/>
                <a:gd name="f64" fmla="val 21001"/>
                <a:gd name="f65" fmla="val 3264"/>
                <a:gd name="f66" fmla="val 22645"/>
                <a:gd name="f67" fmla="val 3173"/>
                <a:gd name="f68" fmla="val 24197"/>
                <a:gd name="f69" fmla="val 2945"/>
                <a:gd name="f70" fmla="val 28465"/>
                <a:gd name="f71" fmla="val 3607"/>
                <a:gd name="f72" fmla="val 32756"/>
                <a:gd name="f73" fmla="val 5136"/>
                <a:gd name="f74" fmla="val 36751"/>
                <a:gd name="f75" fmla="val 6711"/>
                <a:gd name="f76" fmla="val 40836"/>
                <a:gd name="f77" fmla="val 9199"/>
                <a:gd name="f78" fmla="val 44671"/>
                <a:gd name="f79" fmla="val 10135"/>
                <a:gd name="f80" fmla="val 48871"/>
                <a:gd name="f81" fmla="val 55947"/>
                <a:gd name="f82" fmla="val 11482"/>
                <a:gd name="f83" fmla="val 63182"/>
                <a:gd name="f84" fmla="val 14905"/>
                <a:gd name="f85" fmla="val 69254"/>
                <a:gd name="f86" fmla="val 66560"/>
                <a:gd name="f87" fmla="val 9678"/>
                <a:gd name="f88" fmla="val 63228"/>
                <a:gd name="f89" fmla="val 8240"/>
                <a:gd name="f90" fmla="val 59553"/>
                <a:gd name="f91" fmla="val 6985"/>
                <a:gd name="f92" fmla="val 56358"/>
                <a:gd name="f93" fmla="val 6346"/>
                <a:gd name="f94" fmla="val 52934"/>
                <a:gd name="f95" fmla="val 4976"/>
                <a:gd name="f96" fmla="val 49784"/>
                <a:gd name="f97" fmla="val 4680"/>
                <a:gd name="f98" fmla="val 49168"/>
                <a:gd name="f99" fmla="val 4337"/>
                <a:gd name="f100" fmla="val 48506"/>
                <a:gd name="f101" fmla="val 3698"/>
                <a:gd name="f102" fmla="val 48232"/>
                <a:gd name="f103" fmla="val 3521"/>
                <a:gd name="f104" fmla="val 48163"/>
                <a:gd name="f105" fmla="val 3337"/>
                <a:gd name="f106" fmla="val 48132"/>
                <a:gd name="f107" fmla="val 3153"/>
                <a:gd name="f108" fmla="val 2600"/>
                <a:gd name="f109" fmla="val 2043"/>
                <a:gd name="f110" fmla="val 48414"/>
                <a:gd name="f111" fmla="val 1667"/>
                <a:gd name="f112" fmla="val 48825"/>
                <a:gd name="f113" fmla="val 1164"/>
                <a:gd name="f114" fmla="val 49396"/>
                <a:gd name="f115" fmla="val 936"/>
                <a:gd name="f116" fmla="val 50149"/>
                <a:gd name="f117" fmla="val 799"/>
                <a:gd name="f118" fmla="val 50880"/>
                <a:gd name="f119" fmla="val 55148"/>
                <a:gd name="f120" fmla="val 1781"/>
                <a:gd name="f121" fmla="val 59599"/>
                <a:gd name="f122" fmla="val 4702"/>
                <a:gd name="f123" fmla="val 62794"/>
                <a:gd name="f124" fmla="val 7510"/>
                <a:gd name="f125" fmla="val 65899"/>
                <a:gd name="f126" fmla="val 11253"/>
                <a:gd name="f127" fmla="val 67998"/>
                <a:gd name="f128" fmla="val 15111"/>
                <a:gd name="f129" fmla="val 69619"/>
                <a:gd name="f130" fmla="val 17051"/>
                <a:gd name="f131" fmla="val 72952"/>
                <a:gd name="f132" fmla="val 19539"/>
                <a:gd name="f133" fmla="val 75919"/>
                <a:gd name="f134" fmla="val 22620"/>
                <a:gd name="f135" fmla="val 78293"/>
                <a:gd name="f136" fmla="val 22926"/>
                <a:gd name="f137" fmla="val 78526"/>
                <a:gd name="f138" fmla="val 23344"/>
                <a:gd name="f139" fmla="val 78740"/>
                <a:gd name="f140" fmla="val 23701"/>
                <a:gd name="f141" fmla="val 23903"/>
                <a:gd name="f142" fmla="val 24086"/>
                <a:gd name="f143" fmla="val 78671"/>
                <a:gd name="f144" fmla="val 24218"/>
                <a:gd name="f145" fmla="val 78498"/>
                <a:gd name="f146" fmla="val 19288"/>
                <a:gd name="f147" fmla="val 74960"/>
                <a:gd name="f148" fmla="val 15818"/>
                <a:gd name="f149" fmla="val 69665"/>
                <a:gd name="f150" fmla="val 13673"/>
                <a:gd name="f151" fmla="val 63981"/>
                <a:gd name="f152" fmla="val 13330"/>
                <a:gd name="f153" fmla="val 63045"/>
                <a:gd name="f154" fmla="val 13011"/>
                <a:gd name="f155" fmla="val 62087"/>
                <a:gd name="f156" fmla="val 12737"/>
                <a:gd name="f157" fmla="val 61128"/>
                <a:gd name="f158" fmla="val 13764"/>
                <a:gd name="f159" fmla="val 49122"/>
                <a:gd name="f160" fmla="val 17416"/>
                <a:gd name="f161" fmla="val 44534"/>
                <a:gd name="f162" fmla="val 19813"/>
                <a:gd name="f163" fmla="val 41476"/>
                <a:gd name="f164" fmla="val 23077"/>
                <a:gd name="f165" fmla="val 39170"/>
                <a:gd name="f166" fmla="val 25451"/>
                <a:gd name="f167" fmla="val 36089"/>
                <a:gd name="f168" fmla="val 26090"/>
                <a:gd name="f169" fmla="val 35244"/>
                <a:gd name="f170" fmla="val 26683"/>
                <a:gd name="f171" fmla="val 34103"/>
                <a:gd name="f172" fmla="val 26135"/>
                <a:gd name="f173" fmla="val 33190"/>
                <a:gd name="f174" fmla="val 25784"/>
                <a:gd name="f175" fmla="val 32575"/>
                <a:gd name="f176" fmla="val 25085"/>
                <a:gd name="f177" fmla="val 32364"/>
                <a:gd name="f178" fmla="val 24346"/>
                <a:gd name="f179" fmla="val 23933"/>
                <a:gd name="f180" fmla="val 23507"/>
                <a:gd name="f181" fmla="val 32430"/>
                <a:gd name="f182" fmla="val 23122"/>
                <a:gd name="f183" fmla="val 32528"/>
                <a:gd name="f184" fmla="val 19105"/>
                <a:gd name="f185" fmla="val 33624"/>
                <a:gd name="f186" fmla="val 15978"/>
                <a:gd name="f187" fmla="val 36910"/>
                <a:gd name="f188" fmla="val 13969"/>
                <a:gd name="f189" fmla="val 40563"/>
                <a:gd name="f190" fmla="val 12372"/>
                <a:gd name="f191" fmla="val 43507"/>
                <a:gd name="f192" fmla="val 11390"/>
                <a:gd name="f193" fmla="val 46771"/>
                <a:gd name="f194" fmla="val 11048"/>
                <a:gd name="f195" fmla="val 50081"/>
                <a:gd name="f196" fmla="val 10934"/>
                <a:gd name="f197" fmla="val 43986"/>
                <a:gd name="f198" fmla="val 37846"/>
                <a:gd name="f199" fmla="val 14494"/>
                <a:gd name="f200" fmla="val 32231"/>
                <a:gd name="f201" fmla="val 17895"/>
                <a:gd name="f202" fmla="val 28077"/>
                <a:gd name="f203" fmla="val 22529"/>
                <a:gd name="f204" fmla="val 24904"/>
                <a:gd name="f205" fmla="val 27665"/>
                <a:gd name="f206" fmla="val 23147"/>
                <a:gd name="f207" fmla="val 32595"/>
                <a:gd name="f208" fmla="val 21481"/>
                <a:gd name="f209" fmla="val 38096"/>
                <a:gd name="f210" fmla="val 21047"/>
                <a:gd name="f211" fmla="val 42319"/>
                <a:gd name="f212" fmla="val 18011"/>
                <a:gd name="f213" fmla="val 42844"/>
                <a:gd name="f214" fmla="val 17623"/>
                <a:gd name="f215" fmla="val 43368"/>
                <a:gd name="f216" fmla="val 17189"/>
                <a:gd name="f217" fmla="val 43665"/>
                <a:gd name="f218" fmla="val 16596"/>
                <a:gd name="f219" fmla="val 43962"/>
                <a:gd name="f220" fmla="val 16003"/>
                <a:gd name="f221" fmla="val 15226"/>
                <a:gd name="f222" fmla="val 43551"/>
                <a:gd name="f223" fmla="val 14724"/>
                <a:gd name="f224" fmla="val 43277"/>
                <a:gd name="f225" fmla="val 14428"/>
                <a:gd name="f226" fmla="val 42889"/>
                <a:gd name="f227" fmla="val 14245"/>
                <a:gd name="f228" fmla="val 42524"/>
                <a:gd name="f229" fmla="val 14108"/>
                <a:gd name="f230" fmla="val 41374"/>
                <a:gd name="f231" fmla="val 13717"/>
                <a:gd name="f232" fmla="val 40169"/>
                <a:gd name="f233" fmla="val 13560"/>
                <a:gd name="f234" fmla="val 38953"/>
                <a:gd name="f235" fmla="val 37827"/>
                <a:gd name="f236" fmla="val 36693"/>
                <a:gd name="f237" fmla="val 13694"/>
                <a:gd name="f238" fmla="val 35585"/>
                <a:gd name="f239" fmla="val 13903"/>
                <a:gd name="f240" fmla="val 30153"/>
                <a:gd name="f241" fmla="val 14884"/>
                <a:gd name="f242" fmla="val 21114"/>
                <a:gd name="f243" fmla="val 21548"/>
                <a:gd name="f244" fmla="val 20864"/>
                <a:gd name="f245" fmla="val 22004"/>
                <a:gd name="f246" fmla="val 20294"/>
                <a:gd name="f247" fmla="val 22461"/>
                <a:gd name="f248" fmla="val 19723"/>
                <a:gd name="f249" fmla="val 24241"/>
                <a:gd name="f250" fmla="val 17463"/>
                <a:gd name="f251" fmla="val 25998"/>
                <a:gd name="f252" fmla="val 27779"/>
                <a:gd name="f253" fmla="val 12967"/>
                <a:gd name="f254" fmla="val 28190"/>
                <a:gd name="f255" fmla="val 12419"/>
                <a:gd name="f256" fmla="val 28646"/>
                <a:gd name="f257" fmla="val 11848"/>
                <a:gd name="f258" fmla="val 29194"/>
                <a:gd name="f259" fmla="val 11437"/>
                <a:gd name="f260" fmla="val 30175"/>
                <a:gd name="f261" fmla="val 10730"/>
                <a:gd name="f262" fmla="val 31431"/>
                <a:gd name="f263" fmla="val 10502"/>
                <a:gd name="f264" fmla="val 32572"/>
                <a:gd name="f265" fmla="val 10114"/>
                <a:gd name="f266" fmla="val 33736"/>
                <a:gd name="f267" fmla="val 9748"/>
                <a:gd name="f268" fmla="val 34946"/>
                <a:gd name="f269" fmla="val 9086"/>
                <a:gd name="f270" fmla="val 35357"/>
                <a:gd name="f271" fmla="val 7945"/>
                <a:gd name="f272" fmla="val 34923"/>
                <a:gd name="f273" fmla="val 7788"/>
                <a:gd name="f274" fmla="val 34458"/>
                <a:gd name="f275" fmla="val 7710"/>
                <a:gd name="f276" fmla="val 33993"/>
                <a:gd name="f277" fmla="val 33309"/>
                <a:gd name="f278" fmla="val 32622"/>
                <a:gd name="f279" fmla="val 7879"/>
                <a:gd name="f280" fmla="val 32024"/>
                <a:gd name="f281" fmla="val 8219"/>
                <a:gd name="f282" fmla="val 32892"/>
                <a:gd name="f283" fmla="val 7215"/>
                <a:gd name="f284" fmla="val 33531"/>
                <a:gd name="f285" fmla="val 6051"/>
                <a:gd name="f286" fmla="val 33896"/>
                <a:gd name="f287" fmla="val 4772"/>
                <a:gd name="f288" fmla="val 33987"/>
                <a:gd name="f289" fmla="val 4499"/>
                <a:gd name="f290" fmla="val 34033"/>
                <a:gd name="f291" fmla="val 4179"/>
                <a:gd name="f292" fmla="val 33873"/>
                <a:gd name="f293" fmla="val 3951"/>
                <a:gd name="f294" fmla="val 33753"/>
                <a:gd name="f295" fmla="val 3779"/>
                <a:gd name="f296" fmla="val 33580"/>
                <a:gd name="f297" fmla="val 3710"/>
                <a:gd name="f298" fmla="val 33389"/>
                <a:gd name="f299" fmla="val 33073"/>
                <a:gd name="f300" fmla="val 32705"/>
                <a:gd name="f301" fmla="val 3897"/>
                <a:gd name="f302" fmla="val 32435"/>
                <a:gd name="f303" fmla="val 4111"/>
                <a:gd name="f304" fmla="val 31522"/>
                <a:gd name="f305" fmla="val 4864"/>
                <a:gd name="f306" fmla="val 30746"/>
                <a:gd name="f307" fmla="val 5777"/>
                <a:gd name="f308" fmla="val 6827"/>
                <a:gd name="f309" fmla="val 30563"/>
                <a:gd name="f310" fmla="val 5343"/>
                <a:gd name="f311" fmla="val 30700"/>
                <a:gd name="f312" fmla="val 3768"/>
                <a:gd name="f313" fmla="val 30495"/>
                <a:gd name="f314" fmla="val 2239"/>
                <a:gd name="f315" fmla="val 30449"/>
                <a:gd name="f316" fmla="val 1897"/>
                <a:gd name="f317" fmla="val 30335"/>
                <a:gd name="f318" fmla="val 1508"/>
                <a:gd name="f319" fmla="val 30016"/>
                <a:gd name="f320" fmla="val 1417"/>
                <a:gd name="f321" fmla="val 29975"/>
                <a:gd name="f322" fmla="val 1406"/>
                <a:gd name="f323" fmla="val 29935"/>
                <a:gd name="f324" fmla="val 1401"/>
                <a:gd name="f325" fmla="val 29896"/>
                <a:gd name="f326" fmla="val 29605"/>
                <a:gd name="f327" fmla="val 29352"/>
                <a:gd name="f328" fmla="val 1683"/>
                <a:gd name="f329" fmla="val 29171"/>
                <a:gd name="f330" fmla="val 1965"/>
                <a:gd name="f331" fmla="val 27596"/>
                <a:gd name="f332" fmla="val 27505"/>
                <a:gd name="f333" fmla="val 27414"/>
                <a:gd name="f334" fmla="val 6165"/>
                <a:gd name="f335" fmla="val 27003"/>
                <a:gd name="f336" fmla="val 5161"/>
                <a:gd name="f337" fmla="val 26364"/>
                <a:gd name="f338" fmla="val 4339"/>
                <a:gd name="f339" fmla="val 26139"/>
                <a:gd name="f340" fmla="val 4045"/>
                <a:gd name="f341" fmla="val 25783"/>
                <a:gd name="f342" fmla="val 3764"/>
                <a:gd name="f343" fmla="val 25455"/>
                <a:gd name="f344" fmla="val 25350"/>
                <a:gd name="f345" fmla="val 25248"/>
                <a:gd name="f346" fmla="val 3793"/>
                <a:gd name="f347" fmla="val 25154"/>
                <a:gd name="f348" fmla="val 3859"/>
                <a:gd name="f349" fmla="val 24834"/>
                <a:gd name="f350" fmla="val 4065"/>
                <a:gd name="f351" fmla="val 24880"/>
                <a:gd name="f352" fmla="val 25108"/>
                <a:gd name="f353" fmla="val 7192"/>
                <a:gd name="f354" fmla="val 25930"/>
                <a:gd name="f355" fmla="val 9474"/>
                <a:gd name="f356" fmla="val 27528"/>
                <a:gd name="f357" fmla="val 11346"/>
                <a:gd name="f358" fmla="val 24720"/>
                <a:gd name="f359" fmla="val 15820"/>
                <a:gd name="f360" fmla="val 21068"/>
                <a:gd name="f361" fmla="val 19700"/>
                <a:gd name="f362" fmla="val 18124"/>
                <a:gd name="f363" fmla="val 24105"/>
                <a:gd name="f364" fmla="val 17256"/>
                <a:gd name="f365" fmla="val 25429"/>
                <a:gd name="f366" fmla="val 16435"/>
                <a:gd name="f367" fmla="val 26776"/>
                <a:gd name="f368" fmla="val 15704"/>
                <a:gd name="f369" fmla="val 28191"/>
                <a:gd name="f370" fmla="val 16982"/>
                <a:gd name="f371" fmla="val 24562"/>
                <a:gd name="f372" fmla="val 17918"/>
                <a:gd name="f373" fmla="val 20819"/>
                <a:gd name="f374" fmla="val 18512"/>
                <a:gd name="f375" fmla="val 17030"/>
                <a:gd name="f376" fmla="val 19196"/>
                <a:gd name="f377" fmla="val 12602"/>
                <a:gd name="f378" fmla="val 19402"/>
                <a:gd name="f379" fmla="val 8059"/>
                <a:gd name="f380" fmla="val 18420"/>
                <a:gd name="f381" fmla="val 3723"/>
                <a:gd name="f382" fmla="val 18010"/>
                <a:gd name="f383" fmla="val 2011"/>
                <a:gd name="f384" fmla="val 17028"/>
                <a:gd name="f385" fmla="val 25"/>
                <a:gd name="f386" fmla="val 15271"/>
                <a:gd name="f387" fmla="val 2"/>
                <a:gd name="f388" fmla="*/ f0 1 43985"/>
                <a:gd name="f389" fmla="*/ f1 1 78741"/>
                <a:gd name="f390" fmla="+- f4 0 f2"/>
                <a:gd name="f391" fmla="+- f3 0 f2"/>
                <a:gd name="f392" fmla="*/ f391 1 43985"/>
                <a:gd name="f393" fmla="*/ f390 1 78741"/>
                <a:gd name="f394" fmla="*/ f2 1 f392"/>
                <a:gd name="f395" fmla="*/ f3 1 f392"/>
                <a:gd name="f396" fmla="*/ f2 1 f393"/>
                <a:gd name="f397" fmla="*/ f4 1 f393"/>
                <a:gd name="f398" fmla="*/ f394 f388 1"/>
                <a:gd name="f399" fmla="*/ f395 f388 1"/>
                <a:gd name="f400" fmla="*/ f397 f389 1"/>
                <a:gd name="f401" fmla="*/ f396 f38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98" t="f401" r="f399" b="f400"/>
              <a:pathLst>
                <a:path w="43985" h="78741">
                  <a:moveTo>
                    <a:pt x="f5" y="f6"/>
                  </a:moveTo>
                  <a:cubicBezTo>
                    <a:pt x="f7" y="f6"/>
                    <a:pt x="f8" y="f9"/>
                    <a:pt x="f10" y="f11"/>
                  </a:cubicBezTo>
                  <a:cubicBezTo>
                    <a:pt x="f12" y="f13"/>
                    <a:pt x="f14" y="f15"/>
                    <a:pt x="f16" y="f17"/>
                  </a:cubicBezTo>
                  <a:cubicBezTo>
                    <a:pt x="f18" y="f19"/>
                    <a:pt x="f20" y="f21"/>
                    <a:pt x="f22" y="f23"/>
                  </a:cubicBezTo>
                  <a:cubicBezTo>
                    <a:pt x="f24" y="f25"/>
                    <a:pt x="f26" y="f27"/>
                    <a:pt x="f28" y="f29"/>
                  </a:cubicBezTo>
                  <a:cubicBezTo>
                    <a:pt x="f16" y="f30"/>
                    <a:pt x="f31" y="f32"/>
                    <a:pt x="f33" y="f34"/>
                  </a:cubicBezTo>
                  <a:cubicBezTo>
                    <a:pt x="f35" y="f36"/>
                    <a:pt x="f37" y="f38"/>
                    <a:pt x="f39" y="f40"/>
                  </a:cubicBez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0"/>
                  </a:cubicBezTo>
                  <a:cubicBezTo>
                    <a:pt x="f52" y="f50"/>
                    <a:pt x="f53" y="f54"/>
                    <a:pt x="f55" y="f56"/>
                  </a:cubicBezTo>
                  <a:cubicBezTo>
                    <a:pt x="f57" y="f58"/>
                    <a:pt x="f59" y="f60"/>
                    <a:pt x="f61" y="f62"/>
                  </a:cubicBezTo>
                  <a:cubicBezTo>
                    <a:pt x="f63" y="f64"/>
                    <a:pt x="f65" y="f66"/>
                    <a:pt x="f67" y="f68"/>
                  </a:cubicBezTo>
                  <a:cubicBezTo>
                    <a:pt x="f69" y="f70"/>
                    <a:pt x="f71" y="f72"/>
                    <a:pt x="f73" y="f74"/>
                  </a:cubicBezTo>
                  <a:cubicBezTo>
                    <a:pt x="f75" y="f76"/>
                    <a:pt x="f77" y="f78"/>
                    <a:pt x="f79" y="f80"/>
                  </a:cubicBezTo>
                  <a:cubicBezTo>
                    <a:pt x="f35" y="f81"/>
                    <a:pt x="f82" y="f83"/>
                    <a:pt x="f84" y="f85"/>
                  </a:cubicBezTo>
                  <a:cubicBezTo>
                    <a:pt x="f14" y="f86"/>
                    <a:pt x="f87" y="f88"/>
                    <a:pt x="f89" y="f90"/>
                  </a:cubicBezTo>
                  <a:cubicBezTo>
                    <a:pt x="f91" y="f92"/>
                    <a:pt x="f93" y="f94"/>
                    <a:pt x="f95" y="f96"/>
                  </a:cubicBezTo>
                  <a:cubicBezTo>
                    <a:pt x="f97" y="f98"/>
                    <a:pt x="f99" y="f100"/>
                    <a:pt x="f101" y="f102"/>
                  </a:cubicBezTo>
                  <a:cubicBezTo>
                    <a:pt x="f103" y="f104"/>
                    <a:pt x="f105" y="f106"/>
                    <a:pt x="f107" y="f106"/>
                  </a:cubicBezTo>
                  <a:cubicBezTo>
                    <a:pt x="f108" y="f106"/>
                    <a:pt x="f109" y="f110"/>
                    <a:pt x="f111" y="f112"/>
                  </a:cubicBezTo>
                  <a:cubicBezTo>
                    <a:pt x="f113" y="f114"/>
                    <a:pt x="f115" y="f116"/>
                    <a:pt x="f117" y="f118"/>
                  </a:cubicBezTo>
                  <a:cubicBezTo>
                    <a:pt x="f2" y="f119"/>
                    <a:pt x="f120" y="f121"/>
                    <a:pt x="f122" y="f123"/>
                  </a:cubicBezTo>
                  <a:cubicBezTo>
                    <a:pt x="f124" y="f125"/>
                    <a:pt x="f126" y="f127"/>
                    <a:pt x="f128" y="f129"/>
                  </a:cubicBezTo>
                  <a:cubicBezTo>
                    <a:pt x="f130" y="f131"/>
                    <a:pt x="f132" y="f133"/>
                    <a:pt x="f134" y="f135"/>
                  </a:cubicBezTo>
                  <a:cubicBezTo>
                    <a:pt x="f136" y="f137"/>
                    <a:pt x="f138" y="f139"/>
                    <a:pt x="f140" y="f139"/>
                  </a:cubicBezTo>
                  <a:cubicBezTo>
                    <a:pt x="f141" y="f139"/>
                    <a:pt x="f142" y="f143"/>
                    <a:pt x="f144" y="f145"/>
                  </a:cubicBezTo>
                  <a:cubicBezTo>
                    <a:pt x="f146" y="f147"/>
                    <a:pt x="f148" y="f149"/>
                    <a:pt x="f150" y="f151"/>
                  </a:cubicBezTo>
                  <a:cubicBezTo>
                    <a:pt x="f152" y="f153"/>
                    <a:pt x="f154" y="f155"/>
                    <a:pt x="f156" y="f157"/>
                  </a:cubicBezTo>
                  <a:cubicBezTo>
                    <a:pt x="f12" y="f119"/>
                    <a:pt x="f158" y="f159"/>
                    <a:pt x="f160" y="f161"/>
                  </a:cubicBezTo>
                  <a:cubicBezTo>
                    <a:pt x="f162" y="f163"/>
                    <a:pt x="f164" y="f165"/>
                    <a:pt x="f166" y="f167"/>
                  </a:cubicBezTo>
                  <a:cubicBezTo>
                    <a:pt x="f168" y="f169"/>
                    <a:pt x="f170" y="f171"/>
                    <a:pt x="f172" y="f173"/>
                  </a:cubicBezTo>
                  <a:cubicBezTo>
                    <a:pt x="f174" y="f175"/>
                    <a:pt x="f176" y="f177"/>
                    <a:pt x="f178" y="f177"/>
                  </a:cubicBezTo>
                  <a:cubicBezTo>
                    <a:pt x="f179" y="f177"/>
                    <a:pt x="f180" y="f181"/>
                    <a:pt x="f182" y="f183"/>
                  </a:cubicBezTo>
                  <a:cubicBezTo>
                    <a:pt x="f184" y="f185"/>
                    <a:pt x="f186" y="f187"/>
                    <a:pt x="f188" y="f189"/>
                  </a:cubicBezTo>
                  <a:cubicBezTo>
                    <a:pt x="f190" y="f191"/>
                    <a:pt x="f192" y="f193"/>
                    <a:pt x="f194" y="f195"/>
                  </a:cubicBezTo>
                  <a:cubicBezTo>
                    <a:pt x="f196" y="f197"/>
                    <a:pt x="f16" y="f198"/>
                    <a:pt x="f199" y="f200"/>
                  </a:cubicBezTo>
                  <a:cubicBezTo>
                    <a:pt x="f201" y="f202"/>
                    <a:pt x="f203" y="f204"/>
                    <a:pt x="f205" y="f206"/>
                  </a:cubicBezTo>
                  <a:cubicBezTo>
                    <a:pt x="f207" y="f208"/>
                    <a:pt x="f209" y="f210"/>
                    <a:pt x="f211" y="f212"/>
                  </a:cubicBezTo>
                  <a:cubicBezTo>
                    <a:pt x="f213" y="f214"/>
                    <a:pt x="f215" y="f216"/>
                    <a:pt x="f217" y="f218"/>
                  </a:cubicBezTo>
                  <a:cubicBezTo>
                    <a:pt x="f219" y="f220"/>
                    <a:pt x="f3" y="f221"/>
                    <a:pt x="f222" y="f223"/>
                  </a:cubicBezTo>
                  <a:cubicBezTo>
                    <a:pt x="f224" y="f225"/>
                    <a:pt x="f226" y="f227"/>
                    <a:pt x="f228" y="f229"/>
                  </a:cubicBezTo>
                  <a:cubicBezTo>
                    <a:pt x="f230" y="f231"/>
                    <a:pt x="f232" y="f233"/>
                    <a:pt x="f234" y="f233"/>
                  </a:cubicBezTo>
                  <a:cubicBezTo>
                    <a:pt x="f235" y="f233"/>
                    <a:pt x="f236" y="f237"/>
                    <a:pt x="f238" y="f239"/>
                  </a:cubicBezTo>
                  <a:cubicBezTo>
                    <a:pt x="f240" y="f241"/>
                    <a:pt x="f176" y="f214"/>
                    <a:pt x="f242" y="f46"/>
                  </a:cubicBezTo>
                  <a:cubicBezTo>
                    <a:pt x="f243" y="f244"/>
                    <a:pt x="f245" y="f246"/>
                    <a:pt x="f247" y="f248"/>
                  </a:cubicBezTo>
                  <a:cubicBezTo>
                    <a:pt x="f249" y="f250"/>
                    <a:pt x="f251" y="f5"/>
                    <a:pt x="f252" y="f253"/>
                  </a:cubicBezTo>
                  <a:cubicBezTo>
                    <a:pt x="f254" y="f255"/>
                    <a:pt x="f256" y="f257"/>
                    <a:pt x="f258" y="f259"/>
                  </a:cubicBezTo>
                  <a:cubicBezTo>
                    <a:pt x="f260" y="f261"/>
                    <a:pt x="f262" y="f263"/>
                    <a:pt x="f264" y="f265"/>
                  </a:cubicBezTo>
                  <a:cubicBezTo>
                    <a:pt x="f266" y="f267"/>
                    <a:pt x="f268" y="f269"/>
                    <a:pt x="f270" y="f271"/>
                  </a:cubicBezTo>
                  <a:cubicBezTo>
                    <a:pt x="f272" y="f273"/>
                    <a:pt x="f274" y="f275"/>
                    <a:pt x="f276" y="f275"/>
                  </a:cubicBezTo>
                  <a:cubicBezTo>
                    <a:pt x="f277" y="f275"/>
                    <a:pt x="f278" y="f279"/>
                    <a:pt x="f280" y="f281"/>
                  </a:cubicBezTo>
                  <a:cubicBezTo>
                    <a:pt x="f282" y="f283"/>
                    <a:pt x="f284" y="f285"/>
                    <a:pt x="f286" y="f287"/>
                  </a:cubicBezTo>
                  <a:cubicBezTo>
                    <a:pt x="f288" y="f289"/>
                    <a:pt x="f290" y="f291"/>
                    <a:pt x="f292" y="f293"/>
                  </a:cubicBezTo>
                  <a:cubicBezTo>
                    <a:pt x="f294" y="f295"/>
                    <a:pt x="f296" y="f297"/>
                    <a:pt x="f298" y="f297"/>
                  </a:cubicBezTo>
                  <a:cubicBezTo>
                    <a:pt x="f299" y="f297"/>
                    <a:pt x="f300" y="f301"/>
                    <a:pt x="f302" y="f303"/>
                  </a:cubicBezTo>
                  <a:cubicBezTo>
                    <a:pt x="f304" y="f305"/>
                    <a:pt x="f306" y="f307"/>
                    <a:pt x="f240" y="f308"/>
                  </a:cubicBezTo>
                  <a:cubicBezTo>
                    <a:pt x="f309" y="f310"/>
                    <a:pt x="f311" y="f312"/>
                    <a:pt x="f313" y="f314"/>
                  </a:cubicBezTo>
                  <a:cubicBezTo>
                    <a:pt x="f315" y="f316"/>
                    <a:pt x="f317" y="f318"/>
                    <a:pt x="f319" y="f320"/>
                  </a:cubicBezTo>
                  <a:cubicBezTo>
                    <a:pt x="f321" y="f322"/>
                    <a:pt x="f323" y="f324"/>
                    <a:pt x="f325" y="f324"/>
                  </a:cubicBezTo>
                  <a:cubicBezTo>
                    <a:pt x="f326" y="f324"/>
                    <a:pt x="f327" y="f328"/>
                    <a:pt x="f329" y="f330"/>
                  </a:cubicBezTo>
                  <a:cubicBezTo>
                    <a:pt x="f254" y="f15"/>
                    <a:pt x="f331" y="f310"/>
                    <a:pt x="f332" y="f283"/>
                  </a:cubicBezTo>
                  <a:cubicBezTo>
                    <a:pt x="f333" y="f334"/>
                    <a:pt x="f335" y="f336"/>
                    <a:pt x="f337" y="f338"/>
                  </a:cubicBezTo>
                  <a:cubicBezTo>
                    <a:pt x="f339" y="f340"/>
                    <a:pt x="f341" y="f342"/>
                    <a:pt x="f343" y="f342"/>
                  </a:cubicBezTo>
                  <a:cubicBezTo>
                    <a:pt x="f344" y="f342"/>
                    <a:pt x="f345" y="f346"/>
                    <a:pt x="f347" y="f348"/>
                  </a:cubicBezTo>
                  <a:cubicBezTo>
                    <a:pt x="f349" y="f350"/>
                    <a:pt x="f349" y="f289"/>
                    <a:pt x="f351" y="f305"/>
                  </a:cubicBezTo>
                  <a:cubicBezTo>
                    <a:pt x="f352" y="f353"/>
                    <a:pt x="f354" y="f355"/>
                    <a:pt x="f356" y="f357"/>
                  </a:cubicBezTo>
                  <a:cubicBezTo>
                    <a:pt x="f358" y="f359"/>
                    <a:pt x="f360" y="f361"/>
                    <a:pt x="f362" y="f363"/>
                  </a:cubicBezTo>
                  <a:cubicBezTo>
                    <a:pt x="f364" y="f365"/>
                    <a:pt x="f366" y="f367"/>
                    <a:pt x="f368" y="f369"/>
                  </a:cubicBezTo>
                  <a:cubicBezTo>
                    <a:pt x="f370" y="f371"/>
                    <a:pt x="f372" y="f373"/>
                    <a:pt x="f374" y="f375"/>
                  </a:cubicBezTo>
                  <a:cubicBezTo>
                    <a:pt x="f376" y="f377"/>
                    <a:pt x="f378" y="f379"/>
                    <a:pt x="f380" y="f381"/>
                  </a:cubicBezTo>
                  <a:cubicBezTo>
                    <a:pt x="f382" y="f383"/>
                    <a:pt x="f384" y="f385"/>
                    <a:pt x="f386" y="f387"/>
                  </a:cubicBezTo>
                  <a:cubicBezTo>
                    <a:pt x="f26" y="f6"/>
                    <a:pt x="f221" y="f6"/>
                    <a:pt x="f5" y="f6"/>
                  </a:cubicBezTo>
                  <a:close/>
                </a:path>
              </a:pathLst>
            </a:custGeom>
            <a:solidFill>
              <a:srgbClr val="A3B745"/>
            </a:solidFill>
            <a:ln cap="flat">
              <a:noFill/>
              <a:prstDash val="solid"/>
            </a:ln>
          </p:spPr>
          <p:txBody>
            <a:bodyPr vert="horz" wrap="square" lIns="91421" tIns="91421" rIns="91421" bIns="91421" anchor="ctr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67" b="0" i="0" u="none" strike="noStrike" kern="1200" cap="none" spc="0" baseline="0">
                <a:solidFill>
                  <a:srgbClr val="444C55"/>
                </a:solidFill>
                <a:uFillTx/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2761948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147;p15">
            <a:extLst>
              <a:ext uri="{FF2B5EF4-FFF2-40B4-BE49-F238E27FC236}">
                <a16:creationId xmlns:a16="http://schemas.microsoft.com/office/drawing/2014/main" id="{77F098E0-A6BA-E079-FC2F-4363D34904BD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Google Shape;148;p15">
              <a:extLst>
                <a:ext uri="{FF2B5EF4-FFF2-40B4-BE49-F238E27FC236}">
                  <a16:creationId xmlns:a16="http://schemas.microsoft.com/office/drawing/2014/main" id="{41F6CC59-F613-4A68-35CF-61A10400C7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</a:blip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oogle Shape;149;p15">
              <a:extLst>
                <a:ext uri="{FF2B5EF4-FFF2-40B4-BE49-F238E27FC236}">
                  <a16:creationId xmlns:a16="http://schemas.microsoft.com/office/drawing/2014/main" id="{5951439B-6D9D-4152-8C8D-1D3E9D22215A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Google Shape;150;p15">
                <a:extLst>
                  <a:ext uri="{FF2B5EF4-FFF2-40B4-BE49-F238E27FC236}">
                    <a16:creationId xmlns:a16="http://schemas.microsoft.com/office/drawing/2014/main" id="{E3121566-10B0-A708-5E4D-FCB3409A1434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5005729"/>
                  <a:gd name="f4" fmla="val 1427495"/>
                  <a:gd name="f5" fmla="val 165533"/>
                  <a:gd name="f6" fmla="val 215699"/>
                  <a:gd name="f7" fmla="val 35841"/>
                  <a:gd name="f8" fmla="val 434496"/>
                  <a:gd name="f9" fmla="val 193047"/>
                  <a:gd name="f10" fmla="val 652894"/>
                  <a:gd name="f11" fmla="val 349789"/>
                  <a:gd name="f12" fmla="val 876476"/>
                  <a:gd name="f13" fmla="val 498295"/>
                  <a:gd name="f14" fmla="val 1099792"/>
                  <a:gd name="f15" fmla="val 647067"/>
                  <a:gd name="f16" fmla="val 1328957"/>
                  <a:gd name="f17" fmla="val 787337"/>
                  <a:gd name="f18" fmla="val 1566628"/>
                  <a:gd name="f19" fmla="val 910605"/>
                  <a:gd name="f20" fmla="val 1804301"/>
                  <a:gd name="f21" fmla="val 1033874"/>
                  <a:gd name="f22" fmla="val 2051544"/>
                  <a:gd name="f23" fmla="val 1139076"/>
                  <a:gd name="f24" fmla="val 2307294"/>
                  <a:gd name="f25" fmla="val 1218776"/>
                  <a:gd name="f26" fmla="val 2434903"/>
                  <a:gd name="f27" fmla="val 1258625"/>
                  <a:gd name="f28" fmla="val 2565171"/>
                  <a:gd name="f29" fmla="val 1291568"/>
                  <a:gd name="f30" fmla="val 2696502"/>
                  <a:gd name="f31" fmla="val 1318134"/>
                  <a:gd name="f32" fmla="val 2827833"/>
                  <a:gd name="f33" fmla="val 1344700"/>
                  <a:gd name="f34" fmla="val 2960760"/>
                  <a:gd name="f35" fmla="val 1363297"/>
                  <a:gd name="f36" fmla="val 3094217"/>
                  <a:gd name="f37" fmla="val 1375517"/>
                  <a:gd name="f38" fmla="val 3227675"/>
                  <a:gd name="f39" fmla="val 1387738"/>
                  <a:gd name="f40" fmla="val 3361665"/>
                  <a:gd name="f41" fmla="val 1393051"/>
                  <a:gd name="f42" fmla="val 3496186"/>
                  <a:gd name="f43" fmla="val 1391457"/>
                  <a:gd name="f44" fmla="val 3596679"/>
                  <a:gd name="f45" fmla="val 1388800"/>
                  <a:gd name="f46" fmla="val 3613693"/>
                  <a:gd name="f47" fmla="val 1388269"/>
                  <a:gd name="f48" fmla="val 3630176"/>
                  <a:gd name="f49" fmla="val 3647191"/>
                  <a:gd name="f50" fmla="val 1387207"/>
                  <a:gd name="f51" fmla="val 3697703"/>
                  <a:gd name="f52" fmla="val 1384018"/>
                  <a:gd name="f53" fmla="val 3798195"/>
                  <a:gd name="f54" fmla="val 1377643"/>
                  <a:gd name="f55" fmla="val 3898687"/>
                  <a:gd name="f56" fmla="val 1367547"/>
                  <a:gd name="f57" fmla="val 3948667"/>
                  <a:gd name="f58" fmla="val 1362234"/>
                  <a:gd name="f59" fmla="val 3998648"/>
                  <a:gd name="f60" fmla="val 1355327"/>
                  <a:gd name="f61" fmla="val 4032146"/>
                  <a:gd name="f62" fmla="val 1350545"/>
                  <a:gd name="f63" fmla="val 4065111"/>
                  <a:gd name="f64" fmla="val 1346294"/>
                  <a:gd name="f65" fmla="val 4098609"/>
                  <a:gd name="f66" fmla="val 1341512"/>
                  <a:gd name="f67" fmla="val 4198037"/>
                  <a:gd name="f68" fmla="val 1324510"/>
                  <a:gd name="f69" fmla="val 4223027"/>
                  <a:gd name="f70" fmla="val 1320259"/>
                  <a:gd name="f71" fmla="val 4231535"/>
                  <a:gd name="f72" fmla="val 1318665"/>
                  <a:gd name="f73" fmla="val 4239511"/>
                  <a:gd name="f74" fmla="val 1317602"/>
                  <a:gd name="f75" fmla="val 4248017"/>
                  <a:gd name="f76" fmla="val 1315477"/>
                  <a:gd name="f77" fmla="val 4297466"/>
                  <a:gd name="f78" fmla="val 1305382"/>
                  <a:gd name="f79" fmla="val 4346915"/>
                  <a:gd name="f80" fmla="val 1295287"/>
                  <a:gd name="f81" fmla="val 4371374"/>
                  <a:gd name="f82" fmla="val 1289974"/>
                  <a:gd name="f83" fmla="val 4379349"/>
                  <a:gd name="f84" fmla="val 1288379"/>
                  <a:gd name="f85" fmla="val 4387856"/>
                  <a:gd name="f86" fmla="val 1286254"/>
                  <a:gd name="f87" fmla="val 4395831"/>
                  <a:gd name="f88" fmla="val 1284129"/>
                  <a:gd name="f89" fmla="val 4494197"/>
                  <a:gd name="f90" fmla="val 1260751"/>
                  <a:gd name="f91" fmla="val 4506426"/>
                  <a:gd name="f92" fmla="val 1258094"/>
                  <a:gd name="f93" fmla="val 4518656"/>
                  <a:gd name="f94" fmla="val 1254906"/>
                  <a:gd name="f95" fmla="val 4543113"/>
                  <a:gd name="f96" fmla="val 1248530"/>
                  <a:gd name="f97" fmla="val 4592031"/>
                  <a:gd name="f98" fmla="val 1235247"/>
                  <a:gd name="f99" fmla="val 4607983"/>
                  <a:gd name="f100" fmla="val 1230996"/>
                  <a:gd name="f101" fmla="val 4624465"/>
                  <a:gd name="f102" fmla="val 1226746"/>
                  <a:gd name="f103" fmla="val 4640948"/>
                  <a:gd name="f104" fmla="val 1221963"/>
                  <a:gd name="f105" fmla="val 4689332"/>
                  <a:gd name="f106" fmla="val 1207618"/>
                  <a:gd name="f107" fmla="val 4753935"/>
                  <a:gd name="f108" fmla="val 1188490"/>
                  <a:gd name="f109" fmla="val 4818038"/>
                  <a:gd name="f110" fmla="val 1167901"/>
                  <a:gd name="f111" fmla="val 4881644"/>
                  <a:gd name="f112" fmla="val 1145934"/>
                  <a:gd name="f113" fmla="val 1100085"/>
                  <a:gd name="f114" fmla="val 1108460"/>
                  <a:gd name="f115" fmla="val 4884859"/>
                  <a:gd name="f116" fmla="val 1155423"/>
                  <a:gd name="f117" fmla="val 4821462"/>
                  <a:gd name="f118" fmla="val 1178495"/>
                  <a:gd name="f119" fmla="val 4757524"/>
                  <a:gd name="f120" fmla="val 1200180"/>
                  <a:gd name="f121" fmla="val 4693055"/>
                  <a:gd name="f122" fmla="val 1220370"/>
                  <a:gd name="f123" fmla="val 4644670"/>
                  <a:gd name="f124" fmla="val 1235778"/>
                  <a:gd name="f125" fmla="val 4628719"/>
                  <a:gd name="f126" fmla="val 1240560"/>
                  <a:gd name="f127" fmla="val 4612235"/>
                  <a:gd name="f128" fmla="val 1245342"/>
                  <a:gd name="f129" fmla="val 4596284"/>
                  <a:gd name="f130" fmla="val 1250124"/>
                  <a:gd name="f131" fmla="val 4547367"/>
                  <a:gd name="f132" fmla="val 1263938"/>
                  <a:gd name="f133" fmla="val 4522910"/>
                  <a:gd name="f134" fmla="val 1270846"/>
                  <a:gd name="f135" fmla="val 4510680"/>
                  <a:gd name="f136" fmla="val 1274565"/>
                  <a:gd name="f137" fmla="val 4498451"/>
                  <a:gd name="f138" fmla="val 1277753"/>
                  <a:gd name="f139" fmla="val 4400085"/>
                  <a:gd name="f140" fmla="val 1302725"/>
                  <a:gd name="f141" fmla="val 4392110"/>
                  <a:gd name="f142" fmla="val 1304851"/>
                  <a:gd name="f143" fmla="val 4383602"/>
                  <a:gd name="f144" fmla="val 1306976"/>
                  <a:gd name="f145" fmla="val 4375626"/>
                  <a:gd name="f146" fmla="val 1309101"/>
                  <a:gd name="f147" fmla="val 4351169"/>
                  <a:gd name="f148" fmla="val 1314415"/>
                  <a:gd name="f149" fmla="val 4301720"/>
                  <a:gd name="f150" fmla="val 1325572"/>
                  <a:gd name="f151" fmla="val 4252271"/>
                  <a:gd name="f152" fmla="val 1336730"/>
                  <a:gd name="f153" fmla="val 4244295"/>
                  <a:gd name="f154" fmla="val 1338856"/>
                  <a:gd name="f155" fmla="val 4235789"/>
                  <a:gd name="f156" fmla="val 1340450"/>
                  <a:gd name="f157" fmla="val 4227281"/>
                  <a:gd name="f158" fmla="val 1342044"/>
                  <a:gd name="f159" fmla="val 4202291"/>
                  <a:gd name="f160" fmla="val 1346825"/>
                  <a:gd name="f161" fmla="val 4102862"/>
                  <a:gd name="f162" fmla="val 1365422"/>
                  <a:gd name="f163" fmla="val 4069365"/>
                  <a:gd name="f164" fmla="val 1370735"/>
                  <a:gd name="f165" fmla="val 4035867"/>
                  <a:gd name="f166" fmla="val 4002902"/>
                  <a:gd name="f167" fmla="val 1380831"/>
                  <a:gd name="f168" fmla="val 3952921"/>
                  <a:gd name="f169" fmla="val 3902409"/>
                  <a:gd name="f170" fmla="val 1394645"/>
                  <a:gd name="f171" fmla="val 3801917"/>
                  <a:gd name="f172" fmla="val 1406334"/>
                  <a:gd name="f173" fmla="val 3700893"/>
                  <a:gd name="f174" fmla="val 1414836"/>
                  <a:gd name="f175" fmla="val 3650381"/>
                  <a:gd name="f176" fmla="val 1419086"/>
                  <a:gd name="f177" fmla="val 3633367"/>
                  <a:gd name="f178" fmla="val 1420680"/>
                  <a:gd name="f179" fmla="val 3616352"/>
                  <a:gd name="f180" fmla="val 3599869"/>
                  <a:gd name="f181" fmla="val 1421743"/>
                  <a:gd name="f182" fmla="val 3498313"/>
                  <a:gd name="f183" fmla="val 1425993"/>
                  <a:gd name="f184" fmla="val 3363260"/>
                  <a:gd name="f185" fmla="val 1429713"/>
                  <a:gd name="f186" fmla="val 1426525"/>
                  <a:gd name="f187" fmla="val 3092622"/>
                  <a:gd name="f188" fmla="val 1416430"/>
                  <a:gd name="f189" fmla="val 2957569"/>
                  <a:gd name="f190" fmla="val 2823048"/>
                  <a:gd name="f191" fmla="val 1389863"/>
                  <a:gd name="f192" fmla="val 2689590"/>
                  <a:gd name="f193" fmla="val 1364891"/>
                  <a:gd name="f194" fmla="val 2556131"/>
                  <a:gd name="f195" fmla="val 2424269"/>
                  <a:gd name="f196" fmla="val 1308570"/>
                  <a:gd name="f197" fmla="val 2294001"/>
                  <a:gd name="f198" fmla="val 2033466"/>
                  <a:gd name="f199" fmla="val 1194866"/>
                  <a:gd name="f200" fmla="val 1781438"/>
                  <a:gd name="f201" fmla="val 1091788"/>
                  <a:gd name="f202" fmla="val 1538448"/>
                  <a:gd name="f203" fmla="val 971177"/>
                  <a:gd name="f204" fmla="val 1295459"/>
                  <a:gd name="f205" fmla="val 850565"/>
                  <a:gd name="f206" fmla="val 1062040"/>
                  <a:gd name="f207" fmla="val 712420"/>
                  <a:gd name="f208" fmla="val 834471"/>
                  <a:gd name="f209" fmla="val 566305"/>
                  <a:gd name="f210" fmla="val 606901"/>
                  <a:gd name="f211" fmla="val 420190"/>
                  <a:gd name="f212" fmla="val 384914"/>
                  <a:gd name="f213" fmla="val 266371"/>
                  <a:gd name="f214" fmla="val 163459"/>
                  <a:gd name="f215" fmla="val 112750"/>
                  <a:gd name="f216" fmla="*/ f0 1 5005729"/>
                  <a:gd name="f217" fmla="*/ f1 1 1427495"/>
                  <a:gd name="f218" fmla="+- f4 0 f2"/>
                  <a:gd name="f219" fmla="+- f3 0 f2"/>
                  <a:gd name="f220" fmla="*/ f219 1 5005729"/>
                  <a:gd name="f221" fmla="*/ f218 1 1427495"/>
                  <a:gd name="f222" fmla="*/ f2 1 f220"/>
                  <a:gd name="f223" fmla="*/ f3 1 f220"/>
                  <a:gd name="f224" fmla="*/ f2 1 f221"/>
                  <a:gd name="f225" fmla="*/ f4 1 f221"/>
                  <a:gd name="f226" fmla="*/ f222 f216 1"/>
                  <a:gd name="f227" fmla="*/ f223 f216 1"/>
                  <a:gd name="f228" fmla="*/ f225 f217 1"/>
                  <a:gd name="f229" fmla="*/ f224 f2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226" t="f229" r="f227" b="f228"/>
                <a:pathLst>
                  <a:path w="5005729" h="1427495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cubicBezTo>
                      <a:pt x="f38" y="f39"/>
                      <a:pt x="f40" y="f41"/>
                      <a:pt x="f42" y="f43"/>
                    </a:cubicBezTo>
                    <a:lnTo>
                      <a:pt x="f44" y="f45"/>
                    </a:lnTo>
                    <a:cubicBezTo>
                      <a:pt x="f46" y="f47"/>
                      <a:pt x="f48" y="f47"/>
                      <a:pt x="f49" y="f50"/>
                    </a:cubicBez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cubicBezTo>
                      <a:pt x="f61" y="f62"/>
                      <a:pt x="f63" y="f64"/>
                      <a:pt x="f65" y="f66"/>
                    </a:cubicBezTo>
                    <a:lnTo>
                      <a:pt x="f67" y="f68"/>
                    </a:lnTo>
                    <a:lnTo>
                      <a:pt x="f69" y="f70"/>
                    </a:lnTo>
                    <a:cubicBezTo>
                      <a:pt x="f71" y="f72"/>
                      <a:pt x="f73" y="f74"/>
                      <a:pt x="f75" y="f76"/>
                    </a:cubicBez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cubicBezTo>
                      <a:pt x="f83" y="f84"/>
                      <a:pt x="f85" y="f86"/>
                      <a:pt x="f87" y="f88"/>
                    </a:cubicBez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cubicBezTo>
                      <a:pt x="f99" y="f100"/>
                      <a:pt x="f101" y="f102"/>
                      <a:pt x="f103" y="f104"/>
                    </a:cubicBezTo>
                    <a:lnTo>
                      <a:pt x="f105" y="f106"/>
                    </a:lnTo>
                    <a:cubicBezTo>
                      <a:pt x="f107" y="f108"/>
                      <a:pt x="f109" y="f110"/>
                      <a:pt x="f111" y="f112"/>
                    </a:cubicBezTo>
                    <a:lnTo>
                      <a:pt x="f3" y="f113"/>
                    </a:lnTo>
                    <a:lnTo>
                      <a:pt x="f3" y="f114"/>
                    </a:lnTo>
                    <a:lnTo>
                      <a:pt x="f115" y="f116"/>
                    </a:lnTo>
                    <a:cubicBezTo>
                      <a:pt x="f117" y="f118"/>
                      <a:pt x="f119" y="f120"/>
                      <a:pt x="f121" y="f122"/>
                    </a:cubicBezTo>
                    <a:lnTo>
                      <a:pt x="f123" y="f124"/>
                    </a:lnTo>
                    <a:cubicBezTo>
                      <a:pt x="f125" y="f126"/>
                      <a:pt x="f127" y="f128"/>
                      <a:pt x="f129" y="f130"/>
                    </a:cubicBez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cubicBezTo>
                      <a:pt x="f141" y="f142"/>
                      <a:pt x="f143" y="f144"/>
                      <a:pt x="f145" y="f146"/>
                    </a:cubicBez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cubicBezTo>
                      <a:pt x="f153" y="f154"/>
                      <a:pt x="f155" y="f156"/>
                      <a:pt x="f157" y="f158"/>
                    </a:cubicBezTo>
                    <a:lnTo>
                      <a:pt x="f159" y="f160"/>
                    </a:lnTo>
                    <a:lnTo>
                      <a:pt x="f161" y="f162"/>
                    </a:lnTo>
                    <a:cubicBezTo>
                      <a:pt x="f163" y="f164"/>
                      <a:pt x="f165" y="f37"/>
                      <a:pt x="f166" y="f167"/>
                    </a:cubicBezTo>
                    <a:lnTo>
                      <a:pt x="f168" y="f45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cubicBezTo>
                      <a:pt x="f177" y="f178"/>
                      <a:pt x="f179" y="f178"/>
                      <a:pt x="f180" y="f181"/>
                    </a:cubicBezTo>
                    <a:lnTo>
                      <a:pt x="f182" y="f183"/>
                    </a:lnTo>
                    <a:cubicBezTo>
                      <a:pt x="f184" y="f185"/>
                      <a:pt x="f38" y="f186"/>
                      <a:pt x="f187" y="f188"/>
                    </a:cubicBezTo>
                    <a:cubicBezTo>
                      <a:pt x="f189" y="f172"/>
                      <a:pt x="f190" y="f191"/>
                      <a:pt x="f192" y="f193"/>
                    </a:cubicBezTo>
                    <a:cubicBezTo>
                      <a:pt x="f194" y="f156"/>
                      <a:pt x="f195" y="f196"/>
                      <a:pt x="f197" y="f134"/>
                    </a:cubicBezTo>
                    <a:cubicBezTo>
                      <a:pt x="f198" y="f199"/>
                      <a:pt x="f200" y="f201"/>
                      <a:pt x="f202" y="f203"/>
                    </a:cubicBezTo>
                    <a:cubicBezTo>
                      <a:pt x="f204" y="f205"/>
                      <a:pt x="f206" y="f207"/>
                      <a:pt x="f208" y="f209"/>
                    </a:cubicBezTo>
                    <a:cubicBezTo>
                      <a:pt x="f210" y="f211"/>
                      <a:pt x="f212" y="f213"/>
                      <a:pt x="f214" y="f215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6" name="Google Shape;151;p15">
                <a:extLst>
                  <a:ext uri="{FF2B5EF4-FFF2-40B4-BE49-F238E27FC236}">
                    <a16:creationId xmlns:a16="http://schemas.microsoft.com/office/drawing/2014/main" id="{A87C625E-2974-548C-EDF8-D0A60140A367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w"/>
                  <a:gd name="f1" fmla="val h"/>
                  <a:gd name="f2" fmla="val 0"/>
                  <a:gd name="f3" fmla="val 4861820"/>
                  <a:gd name="f4" fmla="val 1389331"/>
                  <a:gd name="f5" fmla="val 229890"/>
                  <a:gd name="f6" fmla="val 373317"/>
                  <a:gd name="f7" fmla="val 108292"/>
                  <a:gd name="f8" fmla="val 482267"/>
                  <a:gd name="f9" fmla="val 189793"/>
                  <a:gd name="f10" fmla="val 591665"/>
                  <a:gd name="f11" fmla="val 270356"/>
                  <a:gd name="f12" fmla="val 702260"/>
                  <a:gd name="f13" fmla="val 348992"/>
                  <a:gd name="f14" fmla="val 923449"/>
                  <a:gd name="f15" fmla="val 506265"/>
                  <a:gd name="f16" fmla="val 1149423"/>
                  <a:gd name="f17" fmla="val 656099"/>
                  <a:gd name="f18" fmla="val 1384969"/>
                  <a:gd name="f19" fmla="val 788400"/>
                  <a:gd name="f20" fmla="val 1620515"/>
                  <a:gd name="f21" fmla="val 921232"/>
                  <a:gd name="f22" fmla="val 1866162"/>
                  <a:gd name="f23" fmla="val 1035999"/>
                  <a:gd name="f24" fmla="val 2120849"/>
                  <a:gd name="f25" fmla="val 1125262"/>
                  <a:gd name="f26" fmla="val 2630754"/>
                  <a:gd name="f27" fmla="val 1304850"/>
                  <a:gd name="f28" fmla="val 3179474"/>
                  <a:gd name="f29" fmla="val 1371798"/>
                  <a:gd name="f30" fmla="val 3720750"/>
                  <a:gd name="f31" fmla="val 1329823"/>
                  <a:gd name="f32" fmla="val 3737764"/>
                  <a:gd name="f33" fmla="val 1328760"/>
                  <a:gd name="f34" fmla="val 3754779"/>
                  <a:gd name="f35" fmla="val 1327698"/>
                  <a:gd name="f36" fmla="val 3771794"/>
                  <a:gd name="f37" fmla="val 1326104"/>
                  <a:gd name="f38" fmla="val 3822306"/>
                  <a:gd name="f39" fmla="val 1320790"/>
                  <a:gd name="f40" fmla="val 3872818"/>
                  <a:gd name="f41" fmla="val 1315477"/>
                  <a:gd name="f42" fmla="val 3898339"/>
                  <a:gd name="f43" fmla="val 1312820"/>
                  <a:gd name="f44" fmla="val 3906847"/>
                  <a:gd name="f45" fmla="val 1311758"/>
                  <a:gd name="f46" fmla="val 3915354"/>
                  <a:gd name="f47" fmla="val 1311226"/>
                  <a:gd name="f48" fmla="val 3923861"/>
                  <a:gd name="f49" fmla="val 1309632"/>
                  <a:gd name="f50" fmla="val 4024885"/>
                  <a:gd name="f51" fmla="val 1295818"/>
                  <a:gd name="f52" fmla="val 4050407"/>
                  <a:gd name="f53" fmla="val 1292630"/>
                  <a:gd name="f54" fmla="val 4058914"/>
                  <a:gd name="f55" fmla="val 1291567"/>
                  <a:gd name="f56" fmla="val 4067422"/>
                  <a:gd name="f57" fmla="val 1289973"/>
                  <a:gd name="f58" fmla="val 4075397"/>
                  <a:gd name="f59" fmla="val 1288379"/>
                  <a:gd name="f60" fmla="val 4125909"/>
                  <a:gd name="f61" fmla="val 1279878"/>
                  <a:gd name="f62" fmla="val 4159407"/>
                  <a:gd name="f63" fmla="val 1274034"/>
                  <a:gd name="f64" fmla="val 4192904"/>
                  <a:gd name="f65" fmla="val 1269251"/>
                  <a:gd name="f66" fmla="val 4226401"/>
                  <a:gd name="f67" fmla="val 1261813"/>
                  <a:gd name="f68" fmla="val 4326362"/>
                  <a:gd name="f69" fmla="val 1241622"/>
                  <a:gd name="f70" fmla="val 4425790"/>
                  <a:gd name="f71" fmla="val 1218775"/>
                  <a:gd name="f72" fmla="val 4450781"/>
                  <a:gd name="f73" fmla="val 1212931"/>
                  <a:gd name="f74" fmla="val 4475239"/>
                  <a:gd name="f75" fmla="val 1206555"/>
                  <a:gd name="f76" fmla="val 4524688"/>
                  <a:gd name="f77" fmla="val 1193803"/>
                  <a:gd name="f78" fmla="val 4590620"/>
                  <a:gd name="f79" fmla="val 1176535"/>
                  <a:gd name="f80" fmla="val 4656152"/>
                  <a:gd name="f81" fmla="val 1157939"/>
                  <a:gd name="f82" fmla="val 4721220"/>
                  <a:gd name="f83" fmla="val 1137947"/>
                  <a:gd name="f84" fmla="val 1091339"/>
                  <a:gd name="f85" fmla="val 1102902"/>
                  <a:gd name="f86" fmla="val 4725208"/>
                  <a:gd name="f87" fmla="val 1151761"/>
                  <a:gd name="f88" fmla="val 4660406"/>
                  <a:gd name="f89" fmla="val 1173347"/>
                  <a:gd name="f90" fmla="val 4595139"/>
                  <a:gd name="f91" fmla="val 1193537"/>
                  <a:gd name="f92" fmla="val 4529473"/>
                  <a:gd name="f93" fmla="val 1212399"/>
                  <a:gd name="f94" fmla="val 4480025"/>
                  <a:gd name="f95" fmla="val 1226214"/>
                  <a:gd name="f96" fmla="val 4455566"/>
                  <a:gd name="f97" fmla="val 1233121"/>
                  <a:gd name="f98" fmla="val 4430576"/>
                  <a:gd name="f99" fmla="val 1239497"/>
                  <a:gd name="f100" fmla="val 4331148"/>
                  <a:gd name="f101" fmla="val 1265001"/>
                  <a:gd name="f102" fmla="val 4231187"/>
                  <a:gd name="f103" fmla="val 1287848"/>
                  <a:gd name="f104" fmla="val 4197689"/>
                  <a:gd name="f105" fmla="val 4164192"/>
                  <a:gd name="f106" fmla="val 1301662"/>
                  <a:gd name="f107" fmla="val 4130694"/>
                  <a:gd name="f108" fmla="val 1308570"/>
                  <a:gd name="f109" fmla="val 4080182"/>
                  <a:gd name="f110" fmla="val 1318134"/>
                  <a:gd name="f111" fmla="val 4071675"/>
                  <a:gd name="f112" fmla="val 1319728"/>
                  <a:gd name="f113" fmla="val 4063168"/>
                  <a:gd name="f114" fmla="val 1321322"/>
                  <a:gd name="f115" fmla="val 4055192"/>
                  <a:gd name="f116" fmla="val 1322915"/>
                  <a:gd name="f117" fmla="val 4029670"/>
                  <a:gd name="f118" fmla="val 1327166"/>
                  <a:gd name="f119" fmla="val 3928115"/>
                  <a:gd name="f120" fmla="val 1343637"/>
                  <a:gd name="f121" fmla="val 3919607"/>
                  <a:gd name="f122" fmla="val 1345231"/>
                  <a:gd name="f123" fmla="val 3911100"/>
                  <a:gd name="f124" fmla="val 1346294"/>
                  <a:gd name="f125" fmla="val 3902593"/>
                  <a:gd name="f126" fmla="val 1347357"/>
                  <a:gd name="f127" fmla="val 3877071"/>
                  <a:gd name="f128" fmla="val 1350545"/>
                  <a:gd name="f129" fmla="val 3826027"/>
                  <a:gd name="f130" fmla="val 1356921"/>
                  <a:gd name="f131" fmla="val 3774984"/>
                  <a:gd name="f132" fmla="val 1363297"/>
                  <a:gd name="f133" fmla="val 3757969"/>
                  <a:gd name="f134" fmla="val 1364890"/>
                  <a:gd name="f135" fmla="val 3740954"/>
                  <a:gd name="f136" fmla="val 1366484"/>
                  <a:gd name="f137" fmla="val 3723940"/>
                  <a:gd name="f138" fmla="val 1368078"/>
                  <a:gd name="f139" fmla="val 3621321"/>
                  <a:gd name="f140" fmla="val 1377642"/>
                  <a:gd name="f141" fmla="val 3518702"/>
                  <a:gd name="f142" fmla="val 1383487"/>
                  <a:gd name="f143" fmla="val 3467126"/>
                  <a:gd name="f144" fmla="val 1386144"/>
                  <a:gd name="f145" fmla="val 3415551"/>
                  <a:gd name="f146" fmla="val 1387206"/>
                  <a:gd name="f147" fmla="val 3312400"/>
                  <a:gd name="f148" fmla="val 3175220"/>
                  <a:gd name="f149" fmla="val 3038040"/>
                  <a:gd name="f150" fmla="val 1382424"/>
                  <a:gd name="f151" fmla="val 2900860"/>
                  <a:gd name="f152" fmla="val 1368610"/>
                  <a:gd name="f153" fmla="val 2627564"/>
                  <a:gd name="f154" fmla="val 1340981"/>
                  <a:gd name="f155" fmla="val 2356394"/>
                  <a:gd name="f156" fmla="val 1284129"/>
                  <a:gd name="f157" fmla="val 2094264"/>
                  <a:gd name="f158" fmla="val 1199648"/>
                  <a:gd name="f159" fmla="val 1832133"/>
                  <a:gd name="f160" fmla="val 1115166"/>
                  <a:gd name="f161" fmla="val 1578510"/>
                  <a:gd name="f162" fmla="val 1003588"/>
                  <a:gd name="f163" fmla="val 1335520"/>
                  <a:gd name="f164" fmla="val 875006"/>
                  <a:gd name="f165" fmla="val 1092531"/>
                  <a:gd name="f166" fmla="val 745894"/>
                  <a:gd name="f167" fmla="val 859113"/>
                  <a:gd name="f168" fmla="val 599778"/>
                  <a:gd name="f169" fmla="val 632075"/>
                  <a:gd name="f170" fmla="val 446225"/>
                  <a:gd name="f171" fmla="val 518556"/>
                  <a:gd name="f172" fmla="val 369448"/>
                  <a:gd name="f173" fmla="val 406366"/>
                  <a:gd name="f174" fmla="val 290944"/>
                  <a:gd name="f175" fmla="val 294907"/>
                  <a:gd name="f176" fmla="val 211710"/>
                  <a:gd name="f177" fmla="*/ f0 1 4861820"/>
                  <a:gd name="f178" fmla="*/ f1 1 1389331"/>
                  <a:gd name="f179" fmla="+- f4 0 f2"/>
                  <a:gd name="f180" fmla="+- f3 0 f2"/>
                  <a:gd name="f181" fmla="*/ f180 1 4861820"/>
                  <a:gd name="f182" fmla="*/ f179 1 1389331"/>
                  <a:gd name="f183" fmla="*/ f2 1 f181"/>
                  <a:gd name="f184" fmla="*/ f3 1 f181"/>
                  <a:gd name="f185" fmla="*/ f2 1 f182"/>
                  <a:gd name="f186" fmla="*/ f4 1 f182"/>
                  <a:gd name="f187" fmla="*/ f183 f177 1"/>
                  <a:gd name="f188" fmla="*/ f184 f177 1"/>
                  <a:gd name="f189" fmla="*/ f186 f178 1"/>
                  <a:gd name="f190" fmla="*/ f185 f1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</a:cxnLst>
                <a:rect l="f187" t="f190" r="f188" b="f189"/>
                <a:pathLst>
                  <a:path w="4861820" h="1389331">
                    <a:moveTo>
                      <a:pt x="f2" y="f2"/>
                    </a:moveTo>
                    <a:lnTo>
                      <a:pt x="f5" y="f2"/>
                    </a:lnTo>
                    <a:lnTo>
                      <a:pt x="f6" y="f7"/>
                    </a:lnTo>
                    <a:cubicBezTo>
                      <a:pt x="f8" y="f9"/>
                      <a:pt x="f10" y="f11"/>
                      <a:pt x="f12" y="f13"/>
                    </a:cubicBezTo>
                    <a:cubicBezTo>
                      <a:pt x="f14" y="f15"/>
                      <a:pt x="f16" y="f17"/>
                      <a:pt x="f18" y="f19"/>
                    </a:cubicBezTo>
                    <a:cubicBezTo>
                      <a:pt x="f20" y="f21"/>
                      <a:pt x="f22" y="f23"/>
                      <a:pt x="f24" y="f25"/>
                    </a:cubicBezTo>
                    <a:cubicBezTo>
                      <a:pt x="f26" y="f27"/>
                      <a:pt x="f28" y="f29"/>
                      <a:pt x="f30" y="f31"/>
                    </a:cubicBezTo>
                    <a:cubicBezTo>
                      <a:pt x="f32" y="f33"/>
                      <a:pt x="f34" y="f35"/>
                      <a:pt x="f36" y="f37"/>
                    </a:cubicBez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cubicBezTo>
                      <a:pt x="f44" y="f45"/>
                      <a:pt x="f46" y="f47"/>
                      <a:pt x="f48" y="f49"/>
                    </a:cubicBezTo>
                    <a:lnTo>
                      <a:pt x="f50" y="f51"/>
                    </a:lnTo>
                    <a:lnTo>
                      <a:pt x="f52" y="f53"/>
                    </a:lnTo>
                    <a:cubicBezTo>
                      <a:pt x="f54" y="f55"/>
                      <a:pt x="f56" y="f57"/>
                      <a:pt x="f58" y="f59"/>
                    </a:cubicBezTo>
                    <a:lnTo>
                      <a:pt x="f60" y="f61"/>
                    </a:lnTo>
                    <a:cubicBezTo>
                      <a:pt x="f62" y="f63"/>
                      <a:pt x="f64" y="f65"/>
                      <a:pt x="f66" y="f67"/>
                    </a:cubicBez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cubicBezTo>
                      <a:pt x="f78" y="f79"/>
                      <a:pt x="f80" y="f81"/>
                      <a:pt x="f82" y="f83"/>
                    </a:cubicBezTo>
                    <a:lnTo>
                      <a:pt x="f3" y="f84"/>
                    </a:lnTo>
                    <a:lnTo>
                      <a:pt x="f3" y="f85"/>
                    </a:lnTo>
                    <a:lnTo>
                      <a:pt x="f86" y="f87"/>
                    </a:lnTo>
                    <a:cubicBezTo>
                      <a:pt x="f88" y="f89"/>
                      <a:pt x="f90" y="f91"/>
                      <a:pt x="f92" y="f93"/>
                    </a:cubicBez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cubicBezTo>
                      <a:pt x="f104" y="f51"/>
                      <a:pt x="f105" y="f106"/>
                      <a:pt x="f107" y="f108"/>
                    </a:cubicBezTo>
                    <a:lnTo>
                      <a:pt x="f109" y="f110"/>
                    </a:lnTo>
                    <a:cubicBezTo>
                      <a:pt x="f111" y="f112"/>
                      <a:pt x="f113" y="f114"/>
                      <a:pt x="f115" y="f116"/>
                    </a:cubicBezTo>
                    <a:lnTo>
                      <a:pt x="f117" y="f118"/>
                    </a:lnTo>
                    <a:lnTo>
                      <a:pt x="f119" y="f120"/>
                    </a:lnTo>
                    <a:cubicBezTo>
                      <a:pt x="f121" y="f122"/>
                      <a:pt x="f123" y="f124"/>
                      <a:pt x="f125" y="f126"/>
                    </a:cubicBez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cubicBezTo>
                      <a:pt x="f133" y="f134"/>
                      <a:pt x="f135" y="f136"/>
                      <a:pt x="f137" y="f138"/>
                    </a:cubicBez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4"/>
                    </a:lnTo>
                    <a:cubicBezTo>
                      <a:pt x="f148" y="f4"/>
                      <a:pt x="f149" y="f150"/>
                      <a:pt x="f151" y="f152"/>
                    </a:cubicBezTo>
                    <a:cubicBezTo>
                      <a:pt x="f153" y="f154"/>
                      <a:pt x="f155" y="f156"/>
                      <a:pt x="f157" y="f158"/>
                    </a:cubicBezTo>
                    <a:cubicBezTo>
                      <a:pt x="f159" y="f160"/>
                      <a:pt x="f161" y="f162"/>
                      <a:pt x="f163" y="f164"/>
                    </a:cubicBezTo>
                    <a:cubicBezTo>
                      <a:pt x="f165" y="f166"/>
                      <a:pt x="f167" y="f168"/>
                      <a:pt x="f169" y="f170"/>
                    </a:cubicBezTo>
                    <a:cubicBezTo>
                      <a:pt x="f171" y="f172"/>
                      <a:pt x="f173" y="f174"/>
                      <a:pt x="f175" y="f176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21" tIns="45701" rIns="91421" bIns="45701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  <a:ea typeface="Calibri"/>
                  <a:cs typeface="Calibri"/>
                </a:endParaRPr>
              </a:p>
            </p:txBody>
          </p:sp>
        </p:grpSp>
      </p:grpSp>
      <p:sp>
        <p:nvSpPr>
          <p:cNvPr id="7" name="Google Shape;152;p15">
            <a:extLst>
              <a:ext uri="{FF2B5EF4-FFF2-40B4-BE49-F238E27FC236}">
                <a16:creationId xmlns:a16="http://schemas.microsoft.com/office/drawing/2014/main" id="{DF860B79-6A19-2077-79F6-9BBF5CC9EAAC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8" name="Google Shape;153;p15">
            <a:extLst>
              <a:ext uri="{FF2B5EF4-FFF2-40B4-BE49-F238E27FC236}">
                <a16:creationId xmlns:a16="http://schemas.microsoft.com/office/drawing/2014/main" id="{B45FC277-4792-73DC-225E-78A0D8DF6D7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/>
        <p:txBody>
          <a:bodyPr/>
          <a:lstStyle>
            <a:lvl1pPr indent="-342900">
              <a:buSzPts val="1800"/>
              <a:defRPr/>
            </a:lvl1pPr>
          </a:lstStyle>
          <a:p>
            <a:pPr lvl="0"/>
            <a:endParaRPr lang="en-US"/>
          </a:p>
        </p:txBody>
      </p:sp>
      <p:sp>
        <p:nvSpPr>
          <p:cNvPr id="9" name="Google Shape;154;p15">
            <a:extLst>
              <a:ext uri="{FF2B5EF4-FFF2-40B4-BE49-F238E27FC236}">
                <a16:creationId xmlns:a16="http://schemas.microsoft.com/office/drawing/2014/main" id="{2918FCF8-9C0B-8029-DFBE-E6D6CC2FBAB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EB3B7"/>
                </a:solidFill>
              </a:defRPr>
            </a:lvl1pPr>
          </a:lstStyle>
          <a:p>
            <a:pPr lvl="0"/>
            <a:fld id="{C907DB51-C67A-42B9-BE4E-38D7B46F20E1}" type="slidenum">
              <a:t>‹#›</a:t>
            </a:fld>
            <a:endParaRPr lang="en-US"/>
          </a:p>
        </p:txBody>
      </p:sp>
      <p:cxnSp>
        <p:nvCxnSpPr>
          <p:cNvPr id="10" name="Google Shape;155;p15">
            <a:extLst>
              <a:ext uri="{FF2B5EF4-FFF2-40B4-BE49-F238E27FC236}">
                <a16:creationId xmlns:a16="http://schemas.microsoft.com/office/drawing/2014/main" id="{8BF3EC5F-6C51-A996-C16F-EC789C46E74A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9528" cap="flat">
            <a:solidFill>
              <a:srgbClr val="AEB3B7"/>
            </a:solidFill>
            <a:prstDash val="solid"/>
            <a:miter/>
          </a:ln>
        </p:spPr>
      </p:cxnSp>
      <p:sp>
        <p:nvSpPr>
          <p:cNvPr id="11" name="Google Shape;156;p15">
            <a:extLst>
              <a:ext uri="{FF2B5EF4-FFF2-40B4-BE49-F238E27FC236}">
                <a16:creationId xmlns:a16="http://schemas.microsoft.com/office/drawing/2014/main" id="{CD471410-CA1C-443F-04F2-6DCC5896CA8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90514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79062829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64D5FC5-61A8-04C9-F62C-B5EF1A73EF9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57200" y="1146255"/>
            <a:ext cx="2350172" cy="2971800"/>
          </a:xfrm>
        </p:spPr>
        <p:txBody>
          <a:bodyPr lIns="91440" rIns="9144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" name="Straight Connector 5">
            <a:extLst>
              <a:ext uri="{FF2B5EF4-FFF2-40B4-BE49-F238E27FC236}">
                <a16:creationId xmlns:a16="http://schemas.microsoft.com/office/drawing/2014/main" id="{83B6F9F3-DEBB-5D94-00E5-71B63E11F204}"/>
              </a:ext>
            </a:extLst>
          </p:cNvPr>
          <p:cNvCxnSpPr/>
          <p:nvPr/>
        </p:nvCxnSpPr>
        <p:spPr>
          <a:xfrm>
            <a:off x="457200" y="947985"/>
            <a:ext cx="2350163" cy="0"/>
          </a:xfrm>
          <a:prstGeom prst="straightConnector1">
            <a:avLst/>
          </a:prstGeom>
          <a:noFill/>
          <a:ln w="31747" cap="flat">
            <a:solidFill>
              <a:srgbClr val="F58366"/>
            </a:solidFill>
            <a:prstDash val="solid"/>
            <a:miter/>
          </a:ln>
        </p:spPr>
      </p:cxnSp>
      <p:grpSp>
        <p:nvGrpSpPr>
          <p:cNvPr id="4" name="Group 2">
            <a:extLst>
              <a:ext uri="{FF2B5EF4-FFF2-40B4-BE49-F238E27FC236}">
                <a16:creationId xmlns:a16="http://schemas.microsoft.com/office/drawing/2014/main" id="{91DE5804-0915-2338-A5E5-8F13C93F851F}"/>
              </a:ext>
            </a:extLst>
          </p:cNvPr>
          <p:cNvGrpSpPr/>
          <p:nvPr/>
        </p:nvGrpSpPr>
        <p:grpSpPr>
          <a:xfrm>
            <a:off x="0" y="5379424"/>
            <a:ext cx="2807363" cy="753895"/>
            <a:chOff x="0" y="5379424"/>
            <a:chExt cx="2807363" cy="753895"/>
          </a:xfrm>
        </p:grpSpPr>
        <p:sp>
          <p:nvSpPr>
            <p:cNvPr id="5" name="Freeform 21">
              <a:extLst>
                <a:ext uri="{FF2B5EF4-FFF2-40B4-BE49-F238E27FC236}">
                  <a16:creationId xmlns:a16="http://schemas.microsoft.com/office/drawing/2014/main" id="{7C23870F-DE5C-C14B-4681-9DA9E4ACC5C6}"/>
                </a:ext>
              </a:extLst>
            </p:cNvPr>
            <p:cNvSpPr/>
            <p:nvPr/>
          </p:nvSpPr>
          <p:spPr>
            <a:xfrm>
              <a:off x="0" y="5532513"/>
              <a:ext cx="2807363" cy="60080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807368"/>
                <a:gd name="f7" fmla="val 600807"/>
                <a:gd name="f8" fmla="val 429971"/>
                <a:gd name="f9" fmla="val 123998"/>
                <a:gd name="f10" fmla="val 1184765"/>
                <a:gd name="f11" fmla="val 325331"/>
                <a:gd name="f12" fmla="val 2014184"/>
                <a:gd name="f13" fmla="val 392492"/>
                <a:gd name="f14" fmla="val 2790212"/>
                <a:gd name="f15" fmla="val 235402"/>
                <a:gd name="f16" fmla="val 231522"/>
                <a:gd name="f17" fmla="val 566106"/>
                <a:gd name="f18" fmla="val 2593885"/>
                <a:gd name="f19" fmla="val 587498"/>
                <a:gd name="f20" fmla="val 1673646"/>
                <a:gd name="f21" fmla="val 651184"/>
                <a:gd name="f22" fmla="val 884869"/>
                <a:gd name="f23" fmla="val 479260"/>
                <a:gd name="f24" fmla="val 100844"/>
                <a:gd name="f25" fmla="val 222653"/>
                <a:gd name="f26" fmla="val 188389"/>
                <a:gd name="f27" fmla="+- 0 0 -90"/>
                <a:gd name="f28" fmla="*/ f3 1 2807368"/>
                <a:gd name="f29" fmla="*/ f4 1 600807"/>
                <a:gd name="f30" fmla="+- f7 0 f5"/>
                <a:gd name="f31" fmla="+- f6 0 f5"/>
                <a:gd name="f32" fmla="*/ f27 f0 1"/>
                <a:gd name="f33" fmla="*/ f31 1 2807368"/>
                <a:gd name="f34" fmla="*/ f30 1 600807"/>
                <a:gd name="f35" fmla="*/ 0 f31 1"/>
                <a:gd name="f36" fmla="*/ 0 f30 1"/>
                <a:gd name="f37" fmla="*/ 429971 f31 1"/>
                <a:gd name="f38" fmla="*/ 123998 f30 1"/>
                <a:gd name="f39" fmla="*/ 2790212 f31 1"/>
                <a:gd name="f40" fmla="*/ 235402 f30 1"/>
                <a:gd name="f41" fmla="*/ 2807368 f31 1"/>
                <a:gd name="f42" fmla="*/ 231522 f30 1"/>
                <a:gd name="f43" fmla="*/ 566106 f30 1"/>
                <a:gd name="f44" fmla="*/ 2593885 f31 1"/>
                <a:gd name="f45" fmla="*/ 587498 f30 1"/>
                <a:gd name="f46" fmla="*/ 100844 f31 1"/>
                <a:gd name="f47" fmla="*/ 222653 f30 1"/>
                <a:gd name="f48" fmla="*/ 188389 f30 1"/>
                <a:gd name="f49" fmla="*/ f32 1 f2"/>
                <a:gd name="f50" fmla="*/ f35 1 2807368"/>
                <a:gd name="f51" fmla="*/ f36 1 600807"/>
                <a:gd name="f52" fmla="*/ f37 1 2807368"/>
                <a:gd name="f53" fmla="*/ f38 1 600807"/>
                <a:gd name="f54" fmla="*/ f39 1 2807368"/>
                <a:gd name="f55" fmla="*/ f40 1 600807"/>
                <a:gd name="f56" fmla="*/ f41 1 2807368"/>
                <a:gd name="f57" fmla="*/ f42 1 600807"/>
                <a:gd name="f58" fmla="*/ f43 1 600807"/>
                <a:gd name="f59" fmla="*/ f44 1 2807368"/>
                <a:gd name="f60" fmla="*/ f45 1 600807"/>
                <a:gd name="f61" fmla="*/ f46 1 2807368"/>
                <a:gd name="f62" fmla="*/ f47 1 600807"/>
                <a:gd name="f63" fmla="*/ f48 1 600807"/>
                <a:gd name="f64" fmla="*/ f5 1 f33"/>
                <a:gd name="f65" fmla="*/ f6 1 f33"/>
                <a:gd name="f66" fmla="*/ f5 1 f34"/>
                <a:gd name="f67" fmla="*/ f7 1 f34"/>
                <a:gd name="f68" fmla="+- f49 0 f1"/>
                <a:gd name="f69" fmla="*/ f50 1 f33"/>
                <a:gd name="f70" fmla="*/ f51 1 f34"/>
                <a:gd name="f71" fmla="*/ f52 1 f33"/>
                <a:gd name="f72" fmla="*/ f53 1 f34"/>
                <a:gd name="f73" fmla="*/ f54 1 f33"/>
                <a:gd name="f74" fmla="*/ f55 1 f34"/>
                <a:gd name="f75" fmla="*/ f56 1 f33"/>
                <a:gd name="f76" fmla="*/ f57 1 f34"/>
                <a:gd name="f77" fmla="*/ f58 1 f34"/>
                <a:gd name="f78" fmla="*/ f59 1 f33"/>
                <a:gd name="f79" fmla="*/ f60 1 f34"/>
                <a:gd name="f80" fmla="*/ f61 1 f33"/>
                <a:gd name="f81" fmla="*/ f62 1 f34"/>
                <a:gd name="f82" fmla="*/ f63 1 f34"/>
                <a:gd name="f83" fmla="*/ f64 f28 1"/>
                <a:gd name="f84" fmla="*/ f65 f28 1"/>
                <a:gd name="f85" fmla="*/ f67 f29 1"/>
                <a:gd name="f86" fmla="*/ f66 f29 1"/>
                <a:gd name="f87" fmla="*/ f69 f28 1"/>
                <a:gd name="f88" fmla="*/ f70 f29 1"/>
                <a:gd name="f89" fmla="*/ f71 f28 1"/>
                <a:gd name="f90" fmla="*/ f72 f29 1"/>
                <a:gd name="f91" fmla="*/ f73 f28 1"/>
                <a:gd name="f92" fmla="*/ f74 f29 1"/>
                <a:gd name="f93" fmla="*/ f75 f28 1"/>
                <a:gd name="f94" fmla="*/ f76 f29 1"/>
                <a:gd name="f95" fmla="*/ f77 f29 1"/>
                <a:gd name="f96" fmla="*/ f78 f28 1"/>
                <a:gd name="f97" fmla="*/ f79 f29 1"/>
                <a:gd name="f98" fmla="*/ f80 f28 1"/>
                <a:gd name="f99" fmla="*/ f81 f29 1"/>
                <a:gd name="f100" fmla="*/ f82 f2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68">
                  <a:pos x="f87" y="f88"/>
                </a:cxn>
                <a:cxn ang="f68">
                  <a:pos x="f89" y="f90"/>
                </a:cxn>
                <a:cxn ang="f68">
                  <a:pos x="f91" y="f92"/>
                </a:cxn>
                <a:cxn ang="f68">
                  <a:pos x="f93" y="f94"/>
                </a:cxn>
                <a:cxn ang="f68">
                  <a:pos x="f93" y="f95"/>
                </a:cxn>
                <a:cxn ang="f68">
                  <a:pos x="f96" y="f97"/>
                </a:cxn>
                <a:cxn ang="f68">
                  <a:pos x="f98" y="f99"/>
                </a:cxn>
                <a:cxn ang="f68">
                  <a:pos x="f87" y="f100"/>
                </a:cxn>
              </a:cxnLst>
              <a:rect l="f83" t="f86" r="f84" b="f85"/>
              <a:pathLst>
                <a:path w="2807368" h="600807">
                  <a:moveTo>
                    <a:pt x="f5" y="f5"/>
                  </a:moveTo>
                  <a:lnTo>
                    <a:pt x="f8" y="f9"/>
                  </a:lnTo>
                  <a:cubicBezTo>
                    <a:pt x="f10" y="f11"/>
                    <a:pt x="f12" y="f13"/>
                    <a:pt x="f14" y="f15"/>
                  </a:cubicBezTo>
                  <a:lnTo>
                    <a:pt x="f6" y="f16"/>
                  </a:lnTo>
                  <a:lnTo>
                    <a:pt x="f6" y="f17"/>
                  </a:lnTo>
                  <a:lnTo>
                    <a:pt x="f18" y="f19"/>
                  </a:lnTo>
                  <a:cubicBezTo>
                    <a:pt x="f20" y="f21"/>
                    <a:pt x="f22" y="f23"/>
                    <a:pt x="f24" y="f25"/>
                  </a:cubicBezTo>
                  <a:lnTo>
                    <a:pt x="f5" y="f26"/>
                  </a:ln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04115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rial"/>
              </a:endParaRPr>
            </a:p>
          </p:txBody>
        </p:sp>
        <p:sp>
          <p:nvSpPr>
            <p:cNvPr id="6" name="Freeform 19">
              <a:extLst>
                <a:ext uri="{FF2B5EF4-FFF2-40B4-BE49-F238E27FC236}">
                  <a16:creationId xmlns:a16="http://schemas.microsoft.com/office/drawing/2014/main" id="{8156E9FD-5035-2A08-4629-BF11623A1ADE}"/>
                </a:ext>
              </a:extLst>
            </p:cNvPr>
            <p:cNvSpPr/>
            <p:nvPr/>
          </p:nvSpPr>
          <p:spPr>
            <a:xfrm>
              <a:off x="0" y="5379424"/>
              <a:ext cx="2807363" cy="64980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807368"/>
                <a:gd name="f7" fmla="val 649803"/>
                <a:gd name="f8" fmla="val 282676"/>
                <a:gd name="f9" fmla="val 70799"/>
                <a:gd name="f10" fmla="val 435964"/>
                <a:gd name="f11" fmla="val 106085"/>
                <a:gd name="f12" fmla="val 588770"/>
                <a:gd name="f13" fmla="val 137629"/>
                <a:gd name="f14" fmla="val 740881"/>
                <a:gd name="f15" fmla="val 163828"/>
                <a:gd name="f16" fmla="val 1362800"/>
                <a:gd name="f17" fmla="val 270912"/>
                <a:gd name="f18" fmla="val 2067879"/>
                <a:gd name="f19" fmla="val 253759"/>
                <a:gd name="f20" fmla="val 2706471"/>
                <a:gd name="f21" fmla="val 96397"/>
                <a:gd name="f22" fmla="val 67250"/>
                <a:gd name="f23" fmla="val 605551"/>
                <a:gd name="f24" fmla="val 2602685"/>
                <a:gd name="f25" fmla="val 629466"/>
                <a:gd name="f26" fmla="val 1684237"/>
                <a:gd name="f27" fmla="val 708219"/>
                <a:gd name="f28" fmla="val 893252"/>
                <a:gd name="f29" fmla="val 549395"/>
                <a:gd name="f30" fmla="val 105614"/>
                <a:gd name="f31" fmla="val 305882"/>
                <a:gd name="f32" fmla="val 271926"/>
                <a:gd name="f33" fmla="+- 0 0 -90"/>
                <a:gd name="f34" fmla="*/ f3 1 2807368"/>
                <a:gd name="f35" fmla="*/ f4 1 649803"/>
                <a:gd name="f36" fmla="+- f7 0 f5"/>
                <a:gd name="f37" fmla="+- f6 0 f5"/>
                <a:gd name="f38" fmla="*/ f33 f0 1"/>
                <a:gd name="f39" fmla="*/ f37 1 2807368"/>
                <a:gd name="f40" fmla="*/ f36 1 649803"/>
                <a:gd name="f41" fmla="*/ 0 f37 1"/>
                <a:gd name="f42" fmla="*/ 0 f36 1"/>
                <a:gd name="f43" fmla="*/ 282676 f37 1"/>
                <a:gd name="f44" fmla="*/ 70799 f36 1"/>
                <a:gd name="f45" fmla="*/ 740881 f37 1"/>
                <a:gd name="f46" fmla="*/ 163828 f36 1"/>
                <a:gd name="f47" fmla="*/ 2706471 f37 1"/>
                <a:gd name="f48" fmla="*/ 96397 f36 1"/>
                <a:gd name="f49" fmla="*/ 2807368 f37 1"/>
                <a:gd name="f50" fmla="*/ 67250 f36 1"/>
                <a:gd name="f51" fmla="*/ 605551 f36 1"/>
                <a:gd name="f52" fmla="*/ 2602685 f37 1"/>
                <a:gd name="f53" fmla="*/ 629466 f36 1"/>
                <a:gd name="f54" fmla="*/ 105614 f37 1"/>
                <a:gd name="f55" fmla="*/ 305882 f36 1"/>
                <a:gd name="f56" fmla="*/ 271926 f36 1"/>
                <a:gd name="f57" fmla="*/ f38 1 f2"/>
                <a:gd name="f58" fmla="*/ f41 1 2807368"/>
                <a:gd name="f59" fmla="*/ f42 1 649803"/>
                <a:gd name="f60" fmla="*/ f43 1 2807368"/>
                <a:gd name="f61" fmla="*/ f44 1 649803"/>
                <a:gd name="f62" fmla="*/ f45 1 2807368"/>
                <a:gd name="f63" fmla="*/ f46 1 649803"/>
                <a:gd name="f64" fmla="*/ f47 1 2807368"/>
                <a:gd name="f65" fmla="*/ f48 1 649803"/>
                <a:gd name="f66" fmla="*/ f49 1 2807368"/>
                <a:gd name="f67" fmla="*/ f50 1 649803"/>
                <a:gd name="f68" fmla="*/ f51 1 649803"/>
                <a:gd name="f69" fmla="*/ f52 1 2807368"/>
                <a:gd name="f70" fmla="*/ f53 1 649803"/>
                <a:gd name="f71" fmla="*/ f54 1 2807368"/>
                <a:gd name="f72" fmla="*/ f55 1 649803"/>
                <a:gd name="f73" fmla="*/ f56 1 649803"/>
                <a:gd name="f74" fmla="*/ f5 1 f39"/>
                <a:gd name="f75" fmla="*/ f6 1 f39"/>
                <a:gd name="f76" fmla="*/ f5 1 f40"/>
                <a:gd name="f77" fmla="*/ f7 1 f40"/>
                <a:gd name="f78" fmla="+- f57 0 f1"/>
                <a:gd name="f79" fmla="*/ f58 1 f39"/>
                <a:gd name="f80" fmla="*/ f59 1 f40"/>
                <a:gd name="f81" fmla="*/ f60 1 f39"/>
                <a:gd name="f82" fmla="*/ f61 1 f40"/>
                <a:gd name="f83" fmla="*/ f62 1 f39"/>
                <a:gd name="f84" fmla="*/ f63 1 f40"/>
                <a:gd name="f85" fmla="*/ f64 1 f39"/>
                <a:gd name="f86" fmla="*/ f65 1 f40"/>
                <a:gd name="f87" fmla="*/ f66 1 f39"/>
                <a:gd name="f88" fmla="*/ f67 1 f40"/>
                <a:gd name="f89" fmla="*/ f68 1 f40"/>
                <a:gd name="f90" fmla="*/ f69 1 f39"/>
                <a:gd name="f91" fmla="*/ f70 1 f40"/>
                <a:gd name="f92" fmla="*/ f71 1 f39"/>
                <a:gd name="f93" fmla="*/ f72 1 f40"/>
                <a:gd name="f94" fmla="*/ f73 1 f40"/>
                <a:gd name="f95" fmla="*/ f74 f34 1"/>
                <a:gd name="f96" fmla="*/ f75 f34 1"/>
                <a:gd name="f97" fmla="*/ f77 f35 1"/>
                <a:gd name="f98" fmla="*/ f76 f35 1"/>
                <a:gd name="f99" fmla="*/ f79 f34 1"/>
                <a:gd name="f100" fmla="*/ f80 f35 1"/>
                <a:gd name="f101" fmla="*/ f81 f34 1"/>
                <a:gd name="f102" fmla="*/ f82 f35 1"/>
                <a:gd name="f103" fmla="*/ f83 f34 1"/>
                <a:gd name="f104" fmla="*/ f84 f35 1"/>
                <a:gd name="f105" fmla="*/ f85 f34 1"/>
                <a:gd name="f106" fmla="*/ f86 f35 1"/>
                <a:gd name="f107" fmla="*/ f87 f34 1"/>
                <a:gd name="f108" fmla="*/ f88 f35 1"/>
                <a:gd name="f109" fmla="*/ f89 f35 1"/>
                <a:gd name="f110" fmla="*/ f90 f34 1"/>
                <a:gd name="f111" fmla="*/ f91 f35 1"/>
                <a:gd name="f112" fmla="*/ f92 f34 1"/>
                <a:gd name="f113" fmla="*/ f93 f35 1"/>
                <a:gd name="f114" fmla="*/ f94 f3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78">
                  <a:pos x="f99" y="f100"/>
                </a:cxn>
                <a:cxn ang="f78">
                  <a:pos x="f101" y="f102"/>
                </a:cxn>
                <a:cxn ang="f78">
                  <a:pos x="f103" y="f104"/>
                </a:cxn>
                <a:cxn ang="f78">
                  <a:pos x="f105" y="f106"/>
                </a:cxn>
                <a:cxn ang="f78">
                  <a:pos x="f107" y="f108"/>
                </a:cxn>
                <a:cxn ang="f78">
                  <a:pos x="f107" y="f109"/>
                </a:cxn>
                <a:cxn ang="f78">
                  <a:pos x="f110" y="f111"/>
                </a:cxn>
                <a:cxn ang="f78">
                  <a:pos x="f112" y="f113"/>
                </a:cxn>
                <a:cxn ang="f78">
                  <a:pos x="f99" y="f114"/>
                </a:cxn>
              </a:cxnLst>
              <a:rect l="f95" t="f98" r="f96" b="f97"/>
              <a:pathLst>
                <a:path w="2807368" h="649803">
                  <a:moveTo>
                    <a:pt x="f5" y="f5"/>
                  </a:moveTo>
                  <a:lnTo>
                    <a:pt x="f8" y="f9"/>
                  </a:lnTo>
                  <a:cubicBezTo>
                    <a:pt x="f10" y="f11"/>
                    <a:pt x="f12" y="f13"/>
                    <a:pt x="f14" y="f15"/>
                  </a:cubicBezTo>
                  <a:cubicBezTo>
                    <a:pt x="f16" y="f17"/>
                    <a:pt x="f18" y="f19"/>
                    <a:pt x="f20" y="f21"/>
                  </a:cubicBezTo>
                  <a:lnTo>
                    <a:pt x="f6" y="f22"/>
                  </a:lnTo>
                  <a:lnTo>
                    <a:pt x="f6" y="f23"/>
                  </a:lnTo>
                  <a:lnTo>
                    <a:pt x="f24" y="f25"/>
                  </a:lnTo>
                  <a:cubicBezTo>
                    <a:pt x="f26" y="f27"/>
                    <a:pt x="f28" y="f29"/>
                    <a:pt x="f30" y="f31"/>
                  </a:cubicBezTo>
                  <a:lnTo>
                    <a:pt x="f5" y="f32"/>
                  </a:ln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Arial"/>
              </a:endParaRPr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B389414-B60F-CC5A-8737-8C599B259097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2807363" y="457200"/>
            <a:ext cx="8915400" cy="5943600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pic>
        <p:nvPicPr>
          <p:cNvPr id="8" name="Picture 14">
            <a:extLst>
              <a:ext uri="{FF2B5EF4-FFF2-40B4-BE49-F238E27FC236}">
                <a16:creationId xmlns:a16="http://schemas.microsoft.com/office/drawing/2014/main" id="{B04CB5C1-ED47-986B-ECB6-8FCE2BE2428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513344" y="4385535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64422756"/>
      </p:ext>
    </p:extLst>
  </p:cSld>
  <p:clrMapOvr>
    <a:masterClrMapping/>
  </p:clrMapOvr>
  <p:hf sldNum="0" hdr="0" ftr="0" dt="0"/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1BFB96-B209-B245-8059-C9A876BB58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3903" y="6370016"/>
            <a:ext cx="4258300" cy="365125"/>
          </a:xfrm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5731D-9F93-2B4F-BB58-9A3694406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11" y="6370016"/>
            <a:ext cx="3305463" cy="365125"/>
          </a:xfrm>
        </p:spPr>
        <p:txBody>
          <a:bodyPr/>
          <a:lstStyle>
            <a:lvl1pPr>
              <a:defRPr sz="110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</a:lstStyle>
          <a:p>
            <a:fld id="{96ACBB43-5C7B-084B-877B-5EF90931306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B1DDA7C-0811-7C49-A098-BFE5C5646B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flipV="1">
            <a:off x="1199649" y="5081783"/>
            <a:ext cx="803739" cy="11318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DF96C8F-3EA2-F446-82B5-EB7F6B8E25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9865" y="1322310"/>
            <a:ext cx="7347488" cy="2850879"/>
          </a:xfrm>
        </p:spPr>
        <p:txBody>
          <a:bodyPr bIns="0" anchor="b" anchorCtr="0">
            <a:noAutofit/>
          </a:bodyPr>
          <a:lstStyle>
            <a:lvl1pPr fontAlgn="base">
              <a:lnSpc>
                <a:spcPct val="85000"/>
              </a:lnSpc>
              <a:defRPr sz="6600" b="1" i="0" spc="-150">
                <a:solidFill>
                  <a:schemeClr val="accent1">
                    <a:lumMod val="50000"/>
                  </a:schemeClr>
                </a:solidFill>
                <a:latin typeface="Spectral ExtraBold" panose="02020502060000000000" pitchFamily="18" charset="77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0F84FE7-0540-3B41-8011-E3E03A7CCB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9877" y="4339543"/>
            <a:ext cx="5626639" cy="457199"/>
          </a:xfrm>
        </p:spPr>
        <p:txBody>
          <a:bodyPr>
            <a:normAutofit/>
          </a:bodyPr>
          <a:lstStyle>
            <a:lvl1pPr marL="0" indent="0">
              <a:buNone/>
              <a:defRPr sz="1430" spc="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A5CF0F-7E2D-4728-A880-39884FE2B2B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5943" y="6369829"/>
            <a:ext cx="1664793" cy="2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8288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40">
          <p15:clr>
            <a:srgbClr val="FBAE40"/>
          </p15:clr>
        </p15:guide>
        <p15:guide id="2" pos="768">
          <p15:clr>
            <a:srgbClr val="FBAE40"/>
          </p15:clr>
        </p15:guide>
      </p15:sldGuideLst>
    </p:ext>
  </p:extLst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D4AA46-A5E1-D542-8104-A09FED725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9321" y="681149"/>
            <a:ext cx="9854317" cy="390523"/>
          </a:xfrm>
        </p:spPr>
        <p:txBody>
          <a:bodyPr/>
          <a:lstStyle>
            <a:lvl1pPr>
              <a:defRPr sz="2000" b="1" spc="20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82797D-D6FC-5140-AF46-C6F6A647688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89321" y="1477151"/>
            <a:ext cx="9854317" cy="4307435"/>
          </a:xfrm>
        </p:spPr>
        <p:txBody>
          <a:bodyPr lIns="0" tIns="0"/>
          <a:lstStyle>
            <a:lvl1pPr marL="571500" indent="-571500">
              <a:buSzPct val="140000"/>
              <a:buFont typeface="Courier New" panose="02070309020205020404" pitchFamily="49" charset="0"/>
              <a:buChar char="o"/>
              <a:defRPr sz="2800"/>
            </a:lvl1pPr>
            <a:lvl2pPr marL="974725" indent="-346075">
              <a:defRPr sz="2800"/>
            </a:lvl2pPr>
            <a:lvl3pPr marL="1371600" indent="-304800">
              <a:defRPr/>
            </a:lvl3pPr>
            <a:lvl4pPr marL="1768475" indent="-342900">
              <a:defRPr/>
            </a:lvl4pPr>
            <a:lvl5pPr marL="2117725" indent="-292100"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549E54-A108-1C4D-9843-175CDBDF3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61104" y="6356368"/>
            <a:ext cx="4648720" cy="365125"/>
          </a:xfrm>
        </p:spPr>
        <p:txBody>
          <a:bodyPr/>
          <a:lstStyle>
            <a:lvl1pPr algn="l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E4767A-6F26-144D-9550-0D521B79F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05276" y="6356368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96ACBB43-5C7B-084B-877B-5EF90931306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2AAAF3C-23D9-B549-BAAB-9BBAF141E0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0385" t="-44474" r="17431" b="-56261"/>
          <a:stretch/>
        </p:blipFill>
        <p:spPr>
          <a:xfrm>
            <a:off x="0" y="1542079"/>
            <a:ext cx="1177871" cy="63543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B42511C-F166-40BE-A84C-4AA83A0B812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5943" y="6369829"/>
            <a:ext cx="1664793" cy="2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735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864">
          <p15:clr>
            <a:srgbClr val="FBAE40"/>
          </p15:clr>
        </p15:guide>
      </p15:sldGuideLst>
    </p:ext>
  </p:extLst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Title Slide (Light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98AFDD-2CC6-8049-A544-11AF67749A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2464" y="2624131"/>
            <a:ext cx="7471347" cy="1763902"/>
          </a:xfrm>
        </p:spPr>
        <p:txBody>
          <a:bodyPr tIns="0" bIns="0" anchor="ctr" anchorCtr="0">
            <a:normAutofit/>
          </a:bodyPr>
          <a:lstStyle>
            <a:lvl1pPr>
              <a:lnSpc>
                <a:spcPct val="80000"/>
              </a:lnSpc>
              <a:defRPr lang="en-US" sz="5800" b="1" i="0" kern="0" spc="-150" baseline="0" dirty="0">
                <a:solidFill>
                  <a:schemeClr val="accent1">
                    <a:lumMod val="75000"/>
                  </a:schemeClr>
                </a:solidFill>
                <a:latin typeface="Spectral ExtraBold" panose="02020902060000000000" pitchFamily="18" charset="77"/>
                <a:ea typeface="SimSun" panose="02010600030101010101" pitchFamily="2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C06BC0-24B0-BD4A-A607-3DA9A22B78E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74925" y="1798926"/>
            <a:ext cx="7471347" cy="812800"/>
          </a:xfrm>
        </p:spPr>
        <p:txBody>
          <a:bodyPr lIns="0" tIns="0" bIns="0" anchor="b">
            <a:noAutofit/>
          </a:bodyPr>
          <a:lstStyle>
            <a:lvl1pPr marL="0" indent="0">
              <a:buNone/>
              <a:defRPr sz="1600" b="0" i="0" spc="300">
                <a:solidFill>
                  <a:schemeClr val="accent2"/>
                </a:solidFill>
                <a:latin typeface="Metropolis Extra Light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4256CC-84D5-0646-BD44-02191960D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60685" y="6356368"/>
            <a:ext cx="3392715" cy="365125"/>
          </a:xfrm>
        </p:spPr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E73A40-A8F0-E143-80BC-A0AC4AAF2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96ACBB43-5C7B-084B-877B-5EF90931306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A42C5F1-2F01-BC45-B052-0E2591C3E04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flipV="1">
            <a:off x="2584152" y="4684991"/>
            <a:ext cx="591257" cy="8325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237F76B-1F52-40AF-9DDD-885F465F4DA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5943" y="6369829"/>
            <a:ext cx="1664793" cy="2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97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608">
          <p15:clr>
            <a:srgbClr val="FBAE40"/>
          </p15:clr>
        </p15:guide>
      </p15:sldGuideLst>
    </p:ext>
  </p:extLst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Title Slide (Dark)">
    <p:bg>
      <p:bgPr>
        <a:blipFill dpi="0" rotWithShape="1">
          <a:blip r:embed="rId2">
            <a:lum/>
          </a:blip>
          <a:srcRect/>
          <a:stretch>
            <a:fillRect t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98AFDD-2CC6-8049-A544-11AF67749A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8628" y="2701383"/>
            <a:ext cx="7489159" cy="1679599"/>
          </a:xfrm>
        </p:spPr>
        <p:txBody>
          <a:bodyPr tIns="0" bIns="0" anchor="ctr" anchorCtr="0">
            <a:normAutofit/>
          </a:bodyPr>
          <a:lstStyle>
            <a:lvl1pPr>
              <a:lnSpc>
                <a:spcPct val="80000"/>
              </a:lnSpc>
              <a:defRPr lang="en-US" sz="5500" b="1" i="0" kern="0" spc="-150" baseline="0" dirty="0">
                <a:solidFill>
                  <a:srgbClr val="FFECE6"/>
                </a:solidFill>
                <a:latin typeface="Spectral ExtraBold" panose="02020902060000000000" pitchFamily="18" charset="77"/>
                <a:ea typeface="SimSun" panose="02010600030101010101" pitchFamily="2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C06BC0-24B0-BD4A-A607-3DA9A22B78E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628628" y="1798675"/>
            <a:ext cx="7489159" cy="812800"/>
          </a:xfrm>
        </p:spPr>
        <p:txBody>
          <a:bodyPr lIns="0" anchor="b">
            <a:normAutofit/>
          </a:bodyPr>
          <a:lstStyle>
            <a:lvl1pPr marL="0" indent="0">
              <a:buNone/>
              <a:defRPr sz="1600" b="0" i="0" spc="300">
                <a:solidFill>
                  <a:srgbClr val="FFECE6"/>
                </a:solidFill>
                <a:latin typeface="Metropolis Extra Light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4256CC-84D5-0646-BD44-02191960D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60685" y="6356368"/>
            <a:ext cx="3392715" cy="365125"/>
          </a:xfrm>
        </p:spPr>
        <p:txBody>
          <a:bodyPr/>
          <a:lstStyle>
            <a:lvl1pPr>
              <a:defRPr>
                <a:solidFill>
                  <a:srgbClr val="FFECE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E73A40-A8F0-E143-80BC-A0AC4AAF2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ECE6"/>
                </a:solidFill>
              </a:defRPr>
            </a:lvl1pPr>
          </a:lstStyle>
          <a:p>
            <a:fld id="{96ACBB43-5C7B-084B-877B-5EF90931306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F69981D-893B-9B47-A36C-4AEE6DF3CF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lum bright="47000"/>
          </a:blip>
          <a:stretch>
            <a:fillRect/>
          </a:stretch>
        </p:blipFill>
        <p:spPr>
          <a:xfrm flipV="1">
            <a:off x="2628632" y="4688659"/>
            <a:ext cx="591257" cy="8325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23B65CD-19D2-48DC-94CB-A629454124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100000"/>
          </a:blip>
          <a:stretch>
            <a:fillRect/>
          </a:stretch>
        </p:blipFill>
        <p:spPr>
          <a:xfrm>
            <a:off x="275943" y="6369829"/>
            <a:ext cx="1664793" cy="2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106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656">
          <p15:clr>
            <a:srgbClr val="FBAE40"/>
          </p15:clr>
        </p15:guide>
      </p15:sldGuideLst>
    </p:ext>
  </p:extLst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1F221-2BC3-E54F-B0FA-0E997C82FF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7651" y="677144"/>
            <a:ext cx="9356368" cy="390523"/>
          </a:xfrm>
        </p:spPr>
        <p:txBody>
          <a:bodyPr/>
          <a:lstStyle>
            <a:lvl1pPr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38DE30-E2CF-F94F-BA4F-A647229E91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A18297-ED40-AE4D-B8E3-4B14EACD6F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96ACBB43-5C7B-084B-877B-5EF9093130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54F4AF3-3E0A-D14B-AFA1-1B60797F5DA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17651" y="1394850"/>
            <a:ext cx="10398412" cy="4734491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/>
            </a:lvl1pPr>
            <a:lvl2pPr marL="854075" indent="-393700">
              <a:defRPr/>
            </a:lvl2pPr>
            <a:lvl3pPr marL="1203325" indent="-365125">
              <a:defRPr/>
            </a:lvl3pPr>
            <a:lvl4pPr marL="1539875" indent="-342900">
              <a:defRPr/>
            </a:lvl4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Level 2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</a:t>
            </a:r>
          </a:p>
          <a:p>
            <a:pPr lvl="2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81DECFA-CB67-4136-92B7-52DD0D6F4EA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5943" y="6369829"/>
            <a:ext cx="1664793" cy="2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687021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F0DD66-77C0-7241-9B19-FF637C83DC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578429" y="4221016"/>
            <a:ext cx="3494315" cy="1319814"/>
          </a:xfrm>
        </p:spPr>
        <p:txBody>
          <a:bodyPr lIns="0"/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EDD8F-91EE-B741-8CC7-A1B75474A3C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277531" y="675864"/>
            <a:ext cx="6927256" cy="5907131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BA8FBA-0F69-7E4B-8131-B8C9E5AC4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436919"/>
            <a:ext cx="5060080" cy="2597299"/>
          </a:xfrm>
        </p:spPr>
        <p:txBody>
          <a:bodyPr anchor="b">
            <a:noAutofit/>
          </a:bodyPr>
          <a:lstStyle>
            <a:lvl1pPr>
              <a:defRPr sz="5000" b="1" i="0" spc="-150">
                <a:solidFill>
                  <a:schemeClr val="accent1">
                    <a:lumMod val="50000"/>
                  </a:schemeClr>
                </a:solidFill>
                <a:latin typeface="Spectral ExtraBold" panose="02020502060000000000" pitchFamily="18" charset="77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8FAF02-950B-4B1B-AC2A-4C83655E8D1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5943" y="6369829"/>
            <a:ext cx="1664793" cy="2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852642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A0BC1-E26E-F348-8264-AE55E0867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7467" y="600034"/>
            <a:ext cx="10163196" cy="275647"/>
          </a:xfrm>
        </p:spPr>
        <p:txBody>
          <a:bodyPr/>
          <a:lstStyle>
            <a:lvl1pPr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515E8F-7CC1-7A45-9C9D-F49BF2CAE0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63880" y="1324554"/>
            <a:ext cx="5157787" cy="537177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77B413C-B2A5-2B49-A4B8-E9FFD6BBEF5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1184779" y="2200533"/>
            <a:ext cx="5136889" cy="3356642"/>
          </a:xfrm>
        </p:spPr>
        <p:txBody>
          <a:bodyPr/>
          <a:lstStyle>
            <a:lvl1pPr>
              <a:defRPr sz="2800"/>
            </a:lvl1pPr>
            <a:lvl3pPr marL="800100" indent="-34290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0C7541-396E-B04E-BA5F-78A114E037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519452" y="1324554"/>
            <a:ext cx="5160039" cy="537177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68678F0-C2AA-FE49-BABD-8E84BFBA8868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542589" y="2200533"/>
            <a:ext cx="5160040" cy="3356642"/>
          </a:xfrm>
        </p:spPr>
        <p:txBody>
          <a:bodyPr/>
          <a:lstStyle>
            <a:lvl1pPr>
              <a:defRPr sz="2800"/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6CF3B6-96DD-354B-9D35-097AC7F6B8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5B91E0-4870-CD48-8ECC-1DBCDBF283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96ACBB43-5C7B-084B-877B-5EF90931306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882155A-D15F-6441-98DD-4C50FAA1A628}"/>
              </a:ext>
            </a:extLst>
          </p:cNvPr>
          <p:cNvCxnSpPr/>
          <p:nvPr userDrawn="1"/>
        </p:nvCxnSpPr>
        <p:spPr>
          <a:xfrm>
            <a:off x="1163880" y="1183938"/>
            <a:ext cx="5157787" cy="0"/>
          </a:xfrm>
          <a:prstGeom prst="line">
            <a:avLst/>
          </a:prstGeom>
          <a:ln w="47625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42D5B9-E51E-504A-A069-E877528889DD}"/>
              </a:ext>
            </a:extLst>
          </p:cNvPr>
          <p:cNvCxnSpPr>
            <a:cxnSpLocks/>
          </p:cNvCxnSpPr>
          <p:nvPr userDrawn="1"/>
        </p:nvCxnSpPr>
        <p:spPr>
          <a:xfrm>
            <a:off x="6496295" y="1183938"/>
            <a:ext cx="5183188" cy="0"/>
          </a:xfrm>
          <a:prstGeom prst="line">
            <a:avLst/>
          </a:prstGeom>
          <a:ln w="47625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C1C28F0-BE87-4D4C-8ABB-585C9A7178AB}"/>
              </a:ext>
            </a:extLst>
          </p:cNvPr>
          <p:cNvCxnSpPr/>
          <p:nvPr userDrawn="1"/>
        </p:nvCxnSpPr>
        <p:spPr>
          <a:xfrm>
            <a:off x="1163880" y="2075189"/>
            <a:ext cx="5157787" cy="0"/>
          </a:xfrm>
          <a:prstGeom prst="line">
            <a:avLst/>
          </a:prstGeom>
          <a:ln w="15875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F103DE9-94D1-6845-BD4E-842135DC9FF6}"/>
              </a:ext>
            </a:extLst>
          </p:cNvPr>
          <p:cNvCxnSpPr>
            <a:cxnSpLocks/>
          </p:cNvCxnSpPr>
          <p:nvPr userDrawn="1"/>
        </p:nvCxnSpPr>
        <p:spPr>
          <a:xfrm>
            <a:off x="6519440" y="2075189"/>
            <a:ext cx="5160040" cy="0"/>
          </a:xfrm>
          <a:prstGeom prst="line">
            <a:avLst/>
          </a:prstGeom>
          <a:ln w="15875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9B66F85-9BD7-4043-B761-2BAD2FFD09F6}"/>
              </a:ext>
            </a:extLst>
          </p:cNvPr>
          <p:cNvCxnSpPr>
            <a:cxnSpLocks/>
          </p:cNvCxnSpPr>
          <p:nvPr userDrawn="1"/>
        </p:nvCxnSpPr>
        <p:spPr>
          <a:xfrm>
            <a:off x="1187032" y="5956762"/>
            <a:ext cx="5134639" cy="0"/>
          </a:xfrm>
          <a:prstGeom prst="line">
            <a:avLst/>
          </a:prstGeom>
          <a:ln w="15875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ABBB607-D0F6-8148-93DE-AB163FE92524}"/>
              </a:ext>
            </a:extLst>
          </p:cNvPr>
          <p:cNvCxnSpPr>
            <a:cxnSpLocks/>
          </p:cNvCxnSpPr>
          <p:nvPr userDrawn="1"/>
        </p:nvCxnSpPr>
        <p:spPr>
          <a:xfrm>
            <a:off x="6542589" y="5956762"/>
            <a:ext cx="5160040" cy="0"/>
          </a:xfrm>
          <a:prstGeom prst="line">
            <a:avLst/>
          </a:prstGeom>
          <a:ln w="15875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21" name="Picture 20">
            <a:extLst>
              <a:ext uri="{FF2B5EF4-FFF2-40B4-BE49-F238E27FC236}">
                <a16:creationId xmlns:a16="http://schemas.microsoft.com/office/drawing/2014/main" id="{E176AB45-BDCE-4010-ABA8-DAC438A4C0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5943" y="6369829"/>
            <a:ext cx="1664793" cy="2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569896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With Anim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560286"/>
            <a:ext cx="10515600" cy="391286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2700" baseline="0">
                <a:latin typeface="Arial"/>
                <a:cs typeface="Arial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800" b="0" i="0" baseline="0">
                <a:solidFill>
                  <a:schemeClr val="bg1">
                    <a:lumMod val="50000"/>
                  </a:schemeClr>
                </a:solidFill>
                <a:latin typeface="Arial"/>
                <a:ea typeface="Gotham-Book" charset="0"/>
                <a:cs typeface="Arial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200" baseline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838199" y="344715"/>
            <a:ext cx="10515600" cy="879928"/>
          </a:xfrm>
        </p:spPr>
        <p:txBody>
          <a:bodyPr/>
          <a:lstStyle>
            <a:lvl1pPr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1768295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1853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551474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1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712897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517740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6416254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7030728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3186812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9422092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15704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93244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82497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65175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8128487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254553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7207733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463828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68419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5171831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197185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4153233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51256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1425662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3798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820842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30.xml"/><Relationship Id="rId299" Type="http://schemas.openxmlformats.org/officeDocument/2006/relationships/slideLayout" Target="../slideLayouts/slideLayout312.xml"/><Relationship Id="rId21" Type="http://schemas.openxmlformats.org/officeDocument/2006/relationships/slideLayout" Target="../slideLayouts/slideLayout34.xml"/><Relationship Id="rId63" Type="http://schemas.openxmlformats.org/officeDocument/2006/relationships/slideLayout" Target="../slideLayouts/slideLayout76.xml"/><Relationship Id="rId159" Type="http://schemas.openxmlformats.org/officeDocument/2006/relationships/slideLayout" Target="../slideLayouts/slideLayout172.xml"/><Relationship Id="rId324" Type="http://schemas.openxmlformats.org/officeDocument/2006/relationships/slideLayout" Target="../slideLayouts/slideLayout337.xml"/><Relationship Id="rId366" Type="http://schemas.openxmlformats.org/officeDocument/2006/relationships/slideLayout" Target="../slideLayouts/slideLayout379.xml"/><Relationship Id="rId170" Type="http://schemas.openxmlformats.org/officeDocument/2006/relationships/slideLayout" Target="../slideLayouts/slideLayout183.xml"/><Relationship Id="rId226" Type="http://schemas.openxmlformats.org/officeDocument/2006/relationships/slideLayout" Target="../slideLayouts/slideLayout239.xml"/><Relationship Id="rId433" Type="http://schemas.openxmlformats.org/officeDocument/2006/relationships/slideLayout" Target="../slideLayouts/slideLayout446.xml"/><Relationship Id="rId268" Type="http://schemas.openxmlformats.org/officeDocument/2006/relationships/slideLayout" Target="../slideLayouts/slideLayout281.xml"/><Relationship Id="rId32" Type="http://schemas.openxmlformats.org/officeDocument/2006/relationships/slideLayout" Target="../slideLayouts/slideLayout45.xml"/><Relationship Id="rId74" Type="http://schemas.openxmlformats.org/officeDocument/2006/relationships/slideLayout" Target="../slideLayouts/slideLayout87.xml"/><Relationship Id="rId128" Type="http://schemas.openxmlformats.org/officeDocument/2006/relationships/slideLayout" Target="../slideLayouts/slideLayout141.xml"/><Relationship Id="rId335" Type="http://schemas.openxmlformats.org/officeDocument/2006/relationships/slideLayout" Target="../slideLayouts/slideLayout348.xml"/><Relationship Id="rId377" Type="http://schemas.openxmlformats.org/officeDocument/2006/relationships/slideLayout" Target="../slideLayouts/slideLayout390.xml"/><Relationship Id="rId5" Type="http://schemas.openxmlformats.org/officeDocument/2006/relationships/slideLayout" Target="../slideLayouts/slideLayout18.xml"/><Relationship Id="rId181" Type="http://schemas.openxmlformats.org/officeDocument/2006/relationships/slideLayout" Target="../slideLayouts/slideLayout194.xml"/><Relationship Id="rId237" Type="http://schemas.openxmlformats.org/officeDocument/2006/relationships/slideLayout" Target="../slideLayouts/slideLayout250.xml"/><Relationship Id="rId402" Type="http://schemas.openxmlformats.org/officeDocument/2006/relationships/slideLayout" Target="../slideLayouts/slideLayout415.xml"/><Relationship Id="rId279" Type="http://schemas.openxmlformats.org/officeDocument/2006/relationships/slideLayout" Target="../slideLayouts/slideLayout292.xml"/><Relationship Id="rId444" Type="http://schemas.openxmlformats.org/officeDocument/2006/relationships/slideLayout" Target="../slideLayouts/slideLayout457.xml"/><Relationship Id="rId43" Type="http://schemas.openxmlformats.org/officeDocument/2006/relationships/slideLayout" Target="../slideLayouts/slideLayout56.xml"/><Relationship Id="rId139" Type="http://schemas.openxmlformats.org/officeDocument/2006/relationships/slideLayout" Target="../slideLayouts/slideLayout152.xml"/><Relationship Id="rId290" Type="http://schemas.openxmlformats.org/officeDocument/2006/relationships/slideLayout" Target="../slideLayouts/slideLayout303.xml"/><Relationship Id="rId304" Type="http://schemas.openxmlformats.org/officeDocument/2006/relationships/slideLayout" Target="../slideLayouts/slideLayout317.xml"/><Relationship Id="rId346" Type="http://schemas.openxmlformats.org/officeDocument/2006/relationships/slideLayout" Target="../slideLayouts/slideLayout359.xml"/><Relationship Id="rId388" Type="http://schemas.openxmlformats.org/officeDocument/2006/relationships/slideLayout" Target="../slideLayouts/slideLayout401.xml"/><Relationship Id="rId85" Type="http://schemas.openxmlformats.org/officeDocument/2006/relationships/slideLayout" Target="../slideLayouts/slideLayout98.xml"/><Relationship Id="rId150" Type="http://schemas.openxmlformats.org/officeDocument/2006/relationships/slideLayout" Target="../slideLayouts/slideLayout163.xml"/><Relationship Id="rId192" Type="http://schemas.openxmlformats.org/officeDocument/2006/relationships/slideLayout" Target="../slideLayouts/slideLayout205.xml"/><Relationship Id="rId206" Type="http://schemas.openxmlformats.org/officeDocument/2006/relationships/slideLayout" Target="../slideLayouts/slideLayout219.xml"/><Relationship Id="rId413" Type="http://schemas.openxmlformats.org/officeDocument/2006/relationships/slideLayout" Target="../slideLayouts/slideLayout426.xml"/><Relationship Id="rId248" Type="http://schemas.openxmlformats.org/officeDocument/2006/relationships/slideLayout" Target="../slideLayouts/slideLayout261.xml"/><Relationship Id="rId12" Type="http://schemas.openxmlformats.org/officeDocument/2006/relationships/slideLayout" Target="../slideLayouts/slideLayout25.xml"/><Relationship Id="rId108" Type="http://schemas.openxmlformats.org/officeDocument/2006/relationships/slideLayout" Target="../slideLayouts/slideLayout121.xml"/><Relationship Id="rId315" Type="http://schemas.openxmlformats.org/officeDocument/2006/relationships/slideLayout" Target="../slideLayouts/slideLayout328.xml"/><Relationship Id="rId357" Type="http://schemas.openxmlformats.org/officeDocument/2006/relationships/slideLayout" Target="../slideLayouts/slideLayout370.xml"/><Relationship Id="rId54" Type="http://schemas.openxmlformats.org/officeDocument/2006/relationships/slideLayout" Target="../slideLayouts/slideLayout67.xml"/><Relationship Id="rId96" Type="http://schemas.openxmlformats.org/officeDocument/2006/relationships/slideLayout" Target="../slideLayouts/slideLayout109.xml"/><Relationship Id="rId161" Type="http://schemas.openxmlformats.org/officeDocument/2006/relationships/slideLayout" Target="../slideLayouts/slideLayout174.xml"/><Relationship Id="rId217" Type="http://schemas.openxmlformats.org/officeDocument/2006/relationships/slideLayout" Target="../slideLayouts/slideLayout230.xml"/><Relationship Id="rId399" Type="http://schemas.openxmlformats.org/officeDocument/2006/relationships/slideLayout" Target="../slideLayouts/slideLayout412.xml"/><Relationship Id="rId259" Type="http://schemas.openxmlformats.org/officeDocument/2006/relationships/slideLayout" Target="../slideLayouts/slideLayout272.xml"/><Relationship Id="rId424" Type="http://schemas.openxmlformats.org/officeDocument/2006/relationships/slideLayout" Target="../slideLayouts/slideLayout437.xml"/><Relationship Id="rId23" Type="http://schemas.openxmlformats.org/officeDocument/2006/relationships/slideLayout" Target="../slideLayouts/slideLayout36.xml"/><Relationship Id="rId119" Type="http://schemas.openxmlformats.org/officeDocument/2006/relationships/slideLayout" Target="../slideLayouts/slideLayout132.xml"/><Relationship Id="rId270" Type="http://schemas.openxmlformats.org/officeDocument/2006/relationships/slideLayout" Target="../slideLayouts/slideLayout283.xml"/><Relationship Id="rId326" Type="http://schemas.openxmlformats.org/officeDocument/2006/relationships/slideLayout" Target="../slideLayouts/slideLayout339.xml"/><Relationship Id="rId65" Type="http://schemas.openxmlformats.org/officeDocument/2006/relationships/slideLayout" Target="../slideLayouts/slideLayout78.xml"/><Relationship Id="rId130" Type="http://schemas.openxmlformats.org/officeDocument/2006/relationships/slideLayout" Target="../slideLayouts/slideLayout143.xml"/><Relationship Id="rId368" Type="http://schemas.openxmlformats.org/officeDocument/2006/relationships/slideLayout" Target="../slideLayouts/slideLayout381.xml"/><Relationship Id="rId172" Type="http://schemas.openxmlformats.org/officeDocument/2006/relationships/slideLayout" Target="../slideLayouts/slideLayout185.xml"/><Relationship Id="rId228" Type="http://schemas.openxmlformats.org/officeDocument/2006/relationships/slideLayout" Target="../slideLayouts/slideLayout241.xml"/><Relationship Id="rId435" Type="http://schemas.openxmlformats.org/officeDocument/2006/relationships/slideLayout" Target="../slideLayouts/slideLayout448.xml"/><Relationship Id="rId281" Type="http://schemas.openxmlformats.org/officeDocument/2006/relationships/slideLayout" Target="../slideLayouts/slideLayout294.xml"/><Relationship Id="rId337" Type="http://schemas.openxmlformats.org/officeDocument/2006/relationships/slideLayout" Target="../slideLayouts/slideLayout350.xml"/><Relationship Id="rId34" Type="http://schemas.openxmlformats.org/officeDocument/2006/relationships/slideLayout" Target="../slideLayouts/slideLayout47.xml"/><Relationship Id="rId76" Type="http://schemas.openxmlformats.org/officeDocument/2006/relationships/slideLayout" Target="../slideLayouts/slideLayout89.xml"/><Relationship Id="rId141" Type="http://schemas.openxmlformats.org/officeDocument/2006/relationships/slideLayout" Target="../slideLayouts/slideLayout154.xml"/><Relationship Id="rId379" Type="http://schemas.openxmlformats.org/officeDocument/2006/relationships/slideLayout" Target="../slideLayouts/slideLayout392.xml"/><Relationship Id="rId7" Type="http://schemas.openxmlformats.org/officeDocument/2006/relationships/slideLayout" Target="../slideLayouts/slideLayout20.xml"/><Relationship Id="rId183" Type="http://schemas.openxmlformats.org/officeDocument/2006/relationships/slideLayout" Target="../slideLayouts/slideLayout196.xml"/><Relationship Id="rId239" Type="http://schemas.openxmlformats.org/officeDocument/2006/relationships/slideLayout" Target="../slideLayouts/slideLayout252.xml"/><Relationship Id="rId390" Type="http://schemas.openxmlformats.org/officeDocument/2006/relationships/slideLayout" Target="../slideLayouts/slideLayout403.xml"/><Relationship Id="rId404" Type="http://schemas.openxmlformats.org/officeDocument/2006/relationships/slideLayout" Target="../slideLayouts/slideLayout417.xml"/><Relationship Id="rId446" Type="http://schemas.openxmlformats.org/officeDocument/2006/relationships/slideLayout" Target="../slideLayouts/slideLayout459.xml"/><Relationship Id="rId250" Type="http://schemas.openxmlformats.org/officeDocument/2006/relationships/slideLayout" Target="../slideLayouts/slideLayout263.xml"/><Relationship Id="rId292" Type="http://schemas.openxmlformats.org/officeDocument/2006/relationships/slideLayout" Target="../slideLayouts/slideLayout305.xml"/><Relationship Id="rId306" Type="http://schemas.openxmlformats.org/officeDocument/2006/relationships/slideLayout" Target="../slideLayouts/slideLayout319.xml"/><Relationship Id="rId45" Type="http://schemas.openxmlformats.org/officeDocument/2006/relationships/slideLayout" Target="../slideLayouts/slideLayout58.xml"/><Relationship Id="rId87" Type="http://schemas.openxmlformats.org/officeDocument/2006/relationships/slideLayout" Target="../slideLayouts/slideLayout100.xml"/><Relationship Id="rId110" Type="http://schemas.openxmlformats.org/officeDocument/2006/relationships/slideLayout" Target="../slideLayouts/slideLayout123.xml"/><Relationship Id="rId348" Type="http://schemas.openxmlformats.org/officeDocument/2006/relationships/slideLayout" Target="../slideLayouts/slideLayout361.xml"/><Relationship Id="rId152" Type="http://schemas.openxmlformats.org/officeDocument/2006/relationships/slideLayout" Target="../slideLayouts/slideLayout165.xml"/><Relationship Id="rId194" Type="http://schemas.openxmlformats.org/officeDocument/2006/relationships/slideLayout" Target="../slideLayouts/slideLayout207.xml"/><Relationship Id="rId208" Type="http://schemas.openxmlformats.org/officeDocument/2006/relationships/slideLayout" Target="../slideLayouts/slideLayout221.xml"/><Relationship Id="rId415" Type="http://schemas.openxmlformats.org/officeDocument/2006/relationships/slideLayout" Target="../slideLayouts/slideLayout428.xml"/><Relationship Id="rId261" Type="http://schemas.openxmlformats.org/officeDocument/2006/relationships/slideLayout" Target="../slideLayouts/slideLayout274.xml"/><Relationship Id="rId14" Type="http://schemas.openxmlformats.org/officeDocument/2006/relationships/slideLayout" Target="../slideLayouts/slideLayout27.xml"/><Relationship Id="rId56" Type="http://schemas.openxmlformats.org/officeDocument/2006/relationships/slideLayout" Target="../slideLayouts/slideLayout69.xml"/><Relationship Id="rId317" Type="http://schemas.openxmlformats.org/officeDocument/2006/relationships/slideLayout" Target="../slideLayouts/slideLayout330.xml"/><Relationship Id="rId359" Type="http://schemas.openxmlformats.org/officeDocument/2006/relationships/slideLayout" Target="../slideLayouts/slideLayout372.xml"/><Relationship Id="rId98" Type="http://schemas.openxmlformats.org/officeDocument/2006/relationships/slideLayout" Target="../slideLayouts/slideLayout111.xml"/><Relationship Id="rId121" Type="http://schemas.openxmlformats.org/officeDocument/2006/relationships/slideLayout" Target="../slideLayouts/slideLayout134.xml"/><Relationship Id="rId163" Type="http://schemas.openxmlformats.org/officeDocument/2006/relationships/slideLayout" Target="../slideLayouts/slideLayout176.xml"/><Relationship Id="rId219" Type="http://schemas.openxmlformats.org/officeDocument/2006/relationships/slideLayout" Target="../slideLayouts/slideLayout232.xml"/><Relationship Id="rId370" Type="http://schemas.openxmlformats.org/officeDocument/2006/relationships/slideLayout" Target="../slideLayouts/slideLayout383.xml"/><Relationship Id="rId426" Type="http://schemas.openxmlformats.org/officeDocument/2006/relationships/slideLayout" Target="../slideLayouts/slideLayout439.xml"/><Relationship Id="rId230" Type="http://schemas.openxmlformats.org/officeDocument/2006/relationships/slideLayout" Target="../slideLayouts/slideLayout243.xml"/><Relationship Id="rId25" Type="http://schemas.openxmlformats.org/officeDocument/2006/relationships/slideLayout" Target="../slideLayouts/slideLayout38.xml"/><Relationship Id="rId67" Type="http://schemas.openxmlformats.org/officeDocument/2006/relationships/slideLayout" Target="../slideLayouts/slideLayout80.xml"/><Relationship Id="rId272" Type="http://schemas.openxmlformats.org/officeDocument/2006/relationships/slideLayout" Target="../slideLayouts/slideLayout285.xml"/><Relationship Id="rId328" Type="http://schemas.openxmlformats.org/officeDocument/2006/relationships/slideLayout" Target="../slideLayouts/slideLayout341.xml"/><Relationship Id="rId132" Type="http://schemas.openxmlformats.org/officeDocument/2006/relationships/slideLayout" Target="../slideLayouts/slideLayout145.xml"/><Relationship Id="rId174" Type="http://schemas.openxmlformats.org/officeDocument/2006/relationships/slideLayout" Target="../slideLayouts/slideLayout187.xml"/><Relationship Id="rId381" Type="http://schemas.openxmlformats.org/officeDocument/2006/relationships/slideLayout" Target="../slideLayouts/slideLayout394.xml"/><Relationship Id="rId241" Type="http://schemas.openxmlformats.org/officeDocument/2006/relationships/slideLayout" Target="../slideLayouts/slideLayout254.xml"/><Relationship Id="rId437" Type="http://schemas.openxmlformats.org/officeDocument/2006/relationships/slideLayout" Target="../slideLayouts/slideLayout450.xml"/><Relationship Id="rId36" Type="http://schemas.openxmlformats.org/officeDocument/2006/relationships/slideLayout" Target="../slideLayouts/slideLayout49.xml"/><Relationship Id="rId283" Type="http://schemas.openxmlformats.org/officeDocument/2006/relationships/slideLayout" Target="../slideLayouts/slideLayout296.xml"/><Relationship Id="rId339" Type="http://schemas.openxmlformats.org/officeDocument/2006/relationships/slideLayout" Target="../slideLayouts/slideLayout352.xml"/><Relationship Id="rId78" Type="http://schemas.openxmlformats.org/officeDocument/2006/relationships/slideLayout" Target="../slideLayouts/slideLayout91.xml"/><Relationship Id="rId101" Type="http://schemas.openxmlformats.org/officeDocument/2006/relationships/slideLayout" Target="../slideLayouts/slideLayout114.xml"/><Relationship Id="rId143" Type="http://schemas.openxmlformats.org/officeDocument/2006/relationships/slideLayout" Target="../slideLayouts/slideLayout156.xml"/><Relationship Id="rId185" Type="http://schemas.openxmlformats.org/officeDocument/2006/relationships/slideLayout" Target="../slideLayouts/slideLayout198.xml"/><Relationship Id="rId350" Type="http://schemas.openxmlformats.org/officeDocument/2006/relationships/slideLayout" Target="../slideLayouts/slideLayout363.xml"/><Relationship Id="rId406" Type="http://schemas.openxmlformats.org/officeDocument/2006/relationships/slideLayout" Target="../slideLayouts/slideLayout419.xml"/><Relationship Id="rId9" Type="http://schemas.openxmlformats.org/officeDocument/2006/relationships/slideLayout" Target="../slideLayouts/slideLayout22.xml"/><Relationship Id="rId210" Type="http://schemas.openxmlformats.org/officeDocument/2006/relationships/slideLayout" Target="../slideLayouts/slideLayout223.xml"/><Relationship Id="rId392" Type="http://schemas.openxmlformats.org/officeDocument/2006/relationships/slideLayout" Target="../slideLayouts/slideLayout405.xml"/><Relationship Id="rId448" Type="http://schemas.openxmlformats.org/officeDocument/2006/relationships/slideLayout" Target="../slideLayouts/slideLayout461.xml"/><Relationship Id="rId252" Type="http://schemas.openxmlformats.org/officeDocument/2006/relationships/slideLayout" Target="../slideLayouts/slideLayout265.xml"/><Relationship Id="rId294" Type="http://schemas.openxmlformats.org/officeDocument/2006/relationships/slideLayout" Target="../slideLayouts/slideLayout307.xml"/><Relationship Id="rId308" Type="http://schemas.openxmlformats.org/officeDocument/2006/relationships/slideLayout" Target="../slideLayouts/slideLayout321.xml"/><Relationship Id="rId47" Type="http://schemas.openxmlformats.org/officeDocument/2006/relationships/slideLayout" Target="../slideLayouts/slideLayout60.xml"/><Relationship Id="rId89" Type="http://schemas.openxmlformats.org/officeDocument/2006/relationships/slideLayout" Target="../slideLayouts/slideLayout102.xml"/><Relationship Id="rId112" Type="http://schemas.openxmlformats.org/officeDocument/2006/relationships/slideLayout" Target="../slideLayouts/slideLayout125.xml"/><Relationship Id="rId154" Type="http://schemas.openxmlformats.org/officeDocument/2006/relationships/slideLayout" Target="../slideLayouts/slideLayout167.xml"/><Relationship Id="rId361" Type="http://schemas.openxmlformats.org/officeDocument/2006/relationships/slideLayout" Target="../slideLayouts/slideLayout374.xml"/><Relationship Id="rId196" Type="http://schemas.openxmlformats.org/officeDocument/2006/relationships/slideLayout" Target="../slideLayouts/slideLayout209.xml"/><Relationship Id="rId417" Type="http://schemas.openxmlformats.org/officeDocument/2006/relationships/slideLayout" Target="../slideLayouts/slideLayout430.xml"/><Relationship Id="rId16" Type="http://schemas.openxmlformats.org/officeDocument/2006/relationships/slideLayout" Target="../slideLayouts/slideLayout29.xml"/><Relationship Id="rId221" Type="http://schemas.openxmlformats.org/officeDocument/2006/relationships/slideLayout" Target="../slideLayouts/slideLayout234.xml"/><Relationship Id="rId263" Type="http://schemas.openxmlformats.org/officeDocument/2006/relationships/slideLayout" Target="../slideLayouts/slideLayout276.xml"/><Relationship Id="rId319" Type="http://schemas.openxmlformats.org/officeDocument/2006/relationships/slideLayout" Target="../slideLayouts/slideLayout332.xml"/><Relationship Id="rId58" Type="http://schemas.openxmlformats.org/officeDocument/2006/relationships/slideLayout" Target="../slideLayouts/slideLayout71.xml"/><Relationship Id="rId123" Type="http://schemas.openxmlformats.org/officeDocument/2006/relationships/slideLayout" Target="../slideLayouts/slideLayout136.xml"/><Relationship Id="rId330" Type="http://schemas.openxmlformats.org/officeDocument/2006/relationships/slideLayout" Target="../slideLayouts/slideLayout343.xml"/><Relationship Id="rId165" Type="http://schemas.openxmlformats.org/officeDocument/2006/relationships/slideLayout" Target="../slideLayouts/slideLayout178.xml"/><Relationship Id="rId372" Type="http://schemas.openxmlformats.org/officeDocument/2006/relationships/slideLayout" Target="../slideLayouts/slideLayout385.xml"/><Relationship Id="rId428" Type="http://schemas.openxmlformats.org/officeDocument/2006/relationships/slideLayout" Target="../slideLayouts/slideLayout441.xml"/><Relationship Id="rId232" Type="http://schemas.openxmlformats.org/officeDocument/2006/relationships/slideLayout" Target="../slideLayouts/slideLayout245.xml"/><Relationship Id="rId274" Type="http://schemas.openxmlformats.org/officeDocument/2006/relationships/slideLayout" Target="../slideLayouts/slideLayout287.xml"/><Relationship Id="rId27" Type="http://schemas.openxmlformats.org/officeDocument/2006/relationships/slideLayout" Target="../slideLayouts/slideLayout40.xml"/><Relationship Id="rId69" Type="http://schemas.openxmlformats.org/officeDocument/2006/relationships/slideLayout" Target="../slideLayouts/slideLayout82.xml"/><Relationship Id="rId134" Type="http://schemas.openxmlformats.org/officeDocument/2006/relationships/slideLayout" Target="../slideLayouts/slideLayout147.xml"/><Relationship Id="rId80" Type="http://schemas.openxmlformats.org/officeDocument/2006/relationships/slideLayout" Target="../slideLayouts/slideLayout93.xml"/><Relationship Id="rId176" Type="http://schemas.openxmlformats.org/officeDocument/2006/relationships/slideLayout" Target="../slideLayouts/slideLayout189.xml"/><Relationship Id="rId341" Type="http://schemas.openxmlformats.org/officeDocument/2006/relationships/slideLayout" Target="../slideLayouts/slideLayout354.xml"/><Relationship Id="rId383" Type="http://schemas.openxmlformats.org/officeDocument/2006/relationships/slideLayout" Target="../slideLayouts/slideLayout396.xml"/><Relationship Id="rId439" Type="http://schemas.openxmlformats.org/officeDocument/2006/relationships/slideLayout" Target="../slideLayouts/slideLayout452.xml"/><Relationship Id="rId201" Type="http://schemas.openxmlformats.org/officeDocument/2006/relationships/slideLayout" Target="../slideLayouts/slideLayout214.xml"/><Relationship Id="rId243" Type="http://schemas.openxmlformats.org/officeDocument/2006/relationships/slideLayout" Target="../slideLayouts/slideLayout256.xml"/><Relationship Id="rId285" Type="http://schemas.openxmlformats.org/officeDocument/2006/relationships/slideLayout" Target="../slideLayouts/slideLayout298.xml"/><Relationship Id="rId450" Type="http://schemas.openxmlformats.org/officeDocument/2006/relationships/slideLayout" Target="../slideLayouts/slideLayout463.xml"/><Relationship Id="rId38" Type="http://schemas.openxmlformats.org/officeDocument/2006/relationships/slideLayout" Target="../slideLayouts/slideLayout51.xml"/><Relationship Id="rId103" Type="http://schemas.openxmlformats.org/officeDocument/2006/relationships/slideLayout" Target="../slideLayouts/slideLayout116.xml"/><Relationship Id="rId310" Type="http://schemas.openxmlformats.org/officeDocument/2006/relationships/slideLayout" Target="../slideLayouts/slideLayout323.xml"/><Relationship Id="rId91" Type="http://schemas.openxmlformats.org/officeDocument/2006/relationships/slideLayout" Target="../slideLayouts/slideLayout104.xml"/><Relationship Id="rId145" Type="http://schemas.openxmlformats.org/officeDocument/2006/relationships/slideLayout" Target="../slideLayouts/slideLayout158.xml"/><Relationship Id="rId187" Type="http://schemas.openxmlformats.org/officeDocument/2006/relationships/slideLayout" Target="../slideLayouts/slideLayout200.xml"/><Relationship Id="rId352" Type="http://schemas.openxmlformats.org/officeDocument/2006/relationships/slideLayout" Target="../slideLayouts/slideLayout365.xml"/><Relationship Id="rId394" Type="http://schemas.openxmlformats.org/officeDocument/2006/relationships/slideLayout" Target="../slideLayouts/slideLayout407.xml"/><Relationship Id="rId408" Type="http://schemas.openxmlformats.org/officeDocument/2006/relationships/slideLayout" Target="../slideLayouts/slideLayout421.xml"/><Relationship Id="rId212" Type="http://schemas.openxmlformats.org/officeDocument/2006/relationships/slideLayout" Target="../slideLayouts/slideLayout225.xml"/><Relationship Id="rId254" Type="http://schemas.openxmlformats.org/officeDocument/2006/relationships/slideLayout" Target="../slideLayouts/slideLayout267.xml"/><Relationship Id="rId49" Type="http://schemas.openxmlformats.org/officeDocument/2006/relationships/slideLayout" Target="../slideLayouts/slideLayout62.xml"/><Relationship Id="rId114" Type="http://schemas.openxmlformats.org/officeDocument/2006/relationships/slideLayout" Target="../slideLayouts/slideLayout127.xml"/><Relationship Id="rId296" Type="http://schemas.openxmlformats.org/officeDocument/2006/relationships/slideLayout" Target="../slideLayouts/slideLayout309.xml"/><Relationship Id="rId60" Type="http://schemas.openxmlformats.org/officeDocument/2006/relationships/slideLayout" Target="../slideLayouts/slideLayout73.xml"/><Relationship Id="rId156" Type="http://schemas.openxmlformats.org/officeDocument/2006/relationships/slideLayout" Target="../slideLayouts/slideLayout169.xml"/><Relationship Id="rId198" Type="http://schemas.openxmlformats.org/officeDocument/2006/relationships/slideLayout" Target="../slideLayouts/slideLayout211.xml"/><Relationship Id="rId321" Type="http://schemas.openxmlformats.org/officeDocument/2006/relationships/slideLayout" Target="../slideLayouts/slideLayout334.xml"/><Relationship Id="rId363" Type="http://schemas.openxmlformats.org/officeDocument/2006/relationships/slideLayout" Target="../slideLayouts/slideLayout376.xml"/><Relationship Id="rId419" Type="http://schemas.openxmlformats.org/officeDocument/2006/relationships/slideLayout" Target="../slideLayouts/slideLayout432.xml"/><Relationship Id="rId223" Type="http://schemas.openxmlformats.org/officeDocument/2006/relationships/slideLayout" Target="../slideLayouts/slideLayout236.xml"/><Relationship Id="rId430" Type="http://schemas.openxmlformats.org/officeDocument/2006/relationships/slideLayout" Target="../slideLayouts/slideLayout443.xml"/><Relationship Id="rId18" Type="http://schemas.openxmlformats.org/officeDocument/2006/relationships/slideLayout" Target="../slideLayouts/slideLayout31.xml"/><Relationship Id="rId265" Type="http://schemas.openxmlformats.org/officeDocument/2006/relationships/slideLayout" Target="../slideLayouts/slideLayout278.xml"/><Relationship Id="rId50" Type="http://schemas.openxmlformats.org/officeDocument/2006/relationships/slideLayout" Target="../slideLayouts/slideLayout63.xml"/><Relationship Id="rId104" Type="http://schemas.openxmlformats.org/officeDocument/2006/relationships/slideLayout" Target="../slideLayouts/slideLayout117.xml"/><Relationship Id="rId125" Type="http://schemas.openxmlformats.org/officeDocument/2006/relationships/slideLayout" Target="../slideLayouts/slideLayout138.xml"/><Relationship Id="rId146" Type="http://schemas.openxmlformats.org/officeDocument/2006/relationships/slideLayout" Target="../slideLayouts/slideLayout159.xml"/><Relationship Id="rId167" Type="http://schemas.openxmlformats.org/officeDocument/2006/relationships/slideLayout" Target="../slideLayouts/slideLayout180.xml"/><Relationship Id="rId188" Type="http://schemas.openxmlformats.org/officeDocument/2006/relationships/slideLayout" Target="../slideLayouts/slideLayout201.xml"/><Relationship Id="rId311" Type="http://schemas.openxmlformats.org/officeDocument/2006/relationships/slideLayout" Target="../slideLayouts/slideLayout324.xml"/><Relationship Id="rId332" Type="http://schemas.openxmlformats.org/officeDocument/2006/relationships/slideLayout" Target="../slideLayouts/slideLayout345.xml"/><Relationship Id="rId353" Type="http://schemas.openxmlformats.org/officeDocument/2006/relationships/slideLayout" Target="../slideLayouts/slideLayout366.xml"/><Relationship Id="rId374" Type="http://schemas.openxmlformats.org/officeDocument/2006/relationships/slideLayout" Target="../slideLayouts/slideLayout387.xml"/><Relationship Id="rId395" Type="http://schemas.openxmlformats.org/officeDocument/2006/relationships/slideLayout" Target="../slideLayouts/slideLayout408.xml"/><Relationship Id="rId409" Type="http://schemas.openxmlformats.org/officeDocument/2006/relationships/slideLayout" Target="../slideLayouts/slideLayout422.xml"/><Relationship Id="rId71" Type="http://schemas.openxmlformats.org/officeDocument/2006/relationships/slideLayout" Target="../slideLayouts/slideLayout84.xml"/><Relationship Id="rId92" Type="http://schemas.openxmlformats.org/officeDocument/2006/relationships/slideLayout" Target="../slideLayouts/slideLayout105.xml"/><Relationship Id="rId213" Type="http://schemas.openxmlformats.org/officeDocument/2006/relationships/slideLayout" Target="../slideLayouts/slideLayout226.xml"/><Relationship Id="rId234" Type="http://schemas.openxmlformats.org/officeDocument/2006/relationships/slideLayout" Target="../slideLayouts/slideLayout247.xml"/><Relationship Id="rId420" Type="http://schemas.openxmlformats.org/officeDocument/2006/relationships/slideLayout" Target="../slideLayouts/slideLayout433.xml"/><Relationship Id="rId2" Type="http://schemas.openxmlformats.org/officeDocument/2006/relationships/slideLayout" Target="../slideLayouts/slideLayout15.xml"/><Relationship Id="rId29" Type="http://schemas.openxmlformats.org/officeDocument/2006/relationships/slideLayout" Target="../slideLayouts/slideLayout42.xml"/><Relationship Id="rId255" Type="http://schemas.openxmlformats.org/officeDocument/2006/relationships/slideLayout" Target="../slideLayouts/slideLayout268.xml"/><Relationship Id="rId276" Type="http://schemas.openxmlformats.org/officeDocument/2006/relationships/slideLayout" Target="../slideLayouts/slideLayout289.xml"/><Relationship Id="rId297" Type="http://schemas.openxmlformats.org/officeDocument/2006/relationships/slideLayout" Target="../slideLayouts/slideLayout310.xml"/><Relationship Id="rId441" Type="http://schemas.openxmlformats.org/officeDocument/2006/relationships/slideLayout" Target="../slideLayouts/slideLayout454.xml"/><Relationship Id="rId40" Type="http://schemas.openxmlformats.org/officeDocument/2006/relationships/slideLayout" Target="../slideLayouts/slideLayout53.xml"/><Relationship Id="rId115" Type="http://schemas.openxmlformats.org/officeDocument/2006/relationships/slideLayout" Target="../slideLayouts/slideLayout128.xml"/><Relationship Id="rId136" Type="http://schemas.openxmlformats.org/officeDocument/2006/relationships/slideLayout" Target="../slideLayouts/slideLayout149.xml"/><Relationship Id="rId157" Type="http://schemas.openxmlformats.org/officeDocument/2006/relationships/slideLayout" Target="../slideLayouts/slideLayout170.xml"/><Relationship Id="rId178" Type="http://schemas.openxmlformats.org/officeDocument/2006/relationships/slideLayout" Target="../slideLayouts/slideLayout191.xml"/><Relationship Id="rId301" Type="http://schemas.openxmlformats.org/officeDocument/2006/relationships/slideLayout" Target="../slideLayouts/slideLayout314.xml"/><Relationship Id="rId322" Type="http://schemas.openxmlformats.org/officeDocument/2006/relationships/slideLayout" Target="../slideLayouts/slideLayout335.xml"/><Relationship Id="rId343" Type="http://schemas.openxmlformats.org/officeDocument/2006/relationships/slideLayout" Target="../slideLayouts/slideLayout356.xml"/><Relationship Id="rId364" Type="http://schemas.openxmlformats.org/officeDocument/2006/relationships/slideLayout" Target="../slideLayouts/slideLayout377.xml"/><Relationship Id="rId61" Type="http://schemas.openxmlformats.org/officeDocument/2006/relationships/slideLayout" Target="../slideLayouts/slideLayout74.xml"/><Relationship Id="rId82" Type="http://schemas.openxmlformats.org/officeDocument/2006/relationships/slideLayout" Target="../slideLayouts/slideLayout95.xml"/><Relationship Id="rId199" Type="http://schemas.openxmlformats.org/officeDocument/2006/relationships/slideLayout" Target="../slideLayouts/slideLayout212.xml"/><Relationship Id="rId203" Type="http://schemas.openxmlformats.org/officeDocument/2006/relationships/slideLayout" Target="../slideLayouts/slideLayout216.xml"/><Relationship Id="rId385" Type="http://schemas.openxmlformats.org/officeDocument/2006/relationships/slideLayout" Target="../slideLayouts/slideLayout398.xml"/><Relationship Id="rId19" Type="http://schemas.openxmlformats.org/officeDocument/2006/relationships/slideLayout" Target="../slideLayouts/slideLayout32.xml"/><Relationship Id="rId224" Type="http://schemas.openxmlformats.org/officeDocument/2006/relationships/slideLayout" Target="../slideLayouts/slideLayout237.xml"/><Relationship Id="rId245" Type="http://schemas.openxmlformats.org/officeDocument/2006/relationships/slideLayout" Target="../slideLayouts/slideLayout258.xml"/><Relationship Id="rId266" Type="http://schemas.openxmlformats.org/officeDocument/2006/relationships/slideLayout" Target="../slideLayouts/slideLayout279.xml"/><Relationship Id="rId287" Type="http://schemas.openxmlformats.org/officeDocument/2006/relationships/slideLayout" Target="../slideLayouts/slideLayout300.xml"/><Relationship Id="rId410" Type="http://schemas.openxmlformats.org/officeDocument/2006/relationships/slideLayout" Target="../slideLayouts/slideLayout423.xml"/><Relationship Id="rId431" Type="http://schemas.openxmlformats.org/officeDocument/2006/relationships/slideLayout" Target="../slideLayouts/slideLayout444.xml"/><Relationship Id="rId452" Type="http://schemas.openxmlformats.org/officeDocument/2006/relationships/theme" Target="../theme/theme2.xml"/><Relationship Id="rId30" Type="http://schemas.openxmlformats.org/officeDocument/2006/relationships/slideLayout" Target="../slideLayouts/slideLayout43.xml"/><Relationship Id="rId105" Type="http://schemas.openxmlformats.org/officeDocument/2006/relationships/slideLayout" Target="../slideLayouts/slideLayout118.xml"/><Relationship Id="rId126" Type="http://schemas.openxmlformats.org/officeDocument/2006/relationships/slideLayout" Target="../slideLayouts/slideLayout139.xml"/><Relationship Id="rId147" Type="http://schemas.openxmlformats.org/officeDocument/2006/relationships/slideLayout" Target="../slideLayouts/slideLayout160.xml"/><Relationship Id="rId168" Type="http://schemas.openxmlformats.org/officeDocument/2006/relationships/slideLayout" Target="../slideLayouts/slideLayout181.xml"/><Relationship Id="rId312" Type="http://schemas.openxmlformats.org/officeDocument/2006/relationships/slideLayout" Target="../slideLayouts/slideLayout325.xml"/><Relationship Id="rId333" Type="http://schemas.openxmlformats.org/officeDocument/2006/relationships/slideLayout" Target="../slideLayouts/slideLayout346.xml"/><Relationship Id="rId354" Type="http://schemas.openxmlformats.org/officeDocument/2006/relationships/slideLayout" Target="../slideLayouts/slideLayout367.xml"/><Relationship Id="rId51" Type="http://schemas.openxmlformats.org/officeDocument/2006/relationships/slideLayout" Target="../slideLayouts/slideLayout64.xml"/><Relationship Id="rId72" Type="http://schemas.openxmlformats.org/officeDocument/2006/relationships/slideLayout" Target="../slideLayouts/slideLayout85.xml"/><Relationship Id="rId93" Type="http://schemas.openxmlformats.org/officeDocument/2006/relationships/slideLayout" Target="../slideLayouts/slideLayout106.xml"/><Relationship Id="rId189" Type="http://schemas.openxmlformats.org/officeDocument/2006/relationships/slideLayout" Target="../slideLayouts/slideLayout202.xml"/><Relationship Id="rId375" Type="http://schemas.openxmlformats.org/officeDocument/2006/relationships/slideLayout" Target="../slideLayouts/slideLayout388.xml"/><Relationship Id="rId396" Type="http://schemas.openxmlformats.org/officeDocument/2006/relationships/slideLayout" Target="../slideLayouts/slideLayout409.xml"/><Relationship Id="rId3" Type="http://schemas.openxmlformats.org/officeDocument/2006/relationships/slideLayout" Target="../slideLayouts/slideLayout16.xml"/><Relationship Id="rId214" Type="http://schemas.openxmlformats.org/officeDocument/2006/relationships/slideLayout" Target="../slideLayouts/slideLayout227.xml"/><Relationship Id="rId235" Type="http://schemas.openxmlformats.org/officeDocument/2006/relationships/slideLayout" Target="../slideLayouts/slideLayout248.xml"/><Relationship Id="rId256" Type="http://schemas.openxmlformats.org/officeDocument/2006/relationships/slideLayout" Target="../slideLayouts/slideLayout269.xml"/><Relationship Id="rId277" Type="http://schemas.openxmlformats.org/officeDocument/2006/relationships/slideLayout" Target="../slideLayouts/slideLayout290.xml"/><Relationship Id="rId298" Type="http://schemas.openxmlformats.org/officeDocument/2006/relationships/slideLayout" Target="../slideLayouts/slideLayout311.xml"/><Relationship Id="rId400" Type="http://schemas.openxmlformats.org/officeDocument/2006/relationships/slideLayout" Target="../slideLayouts/slideLayout413.xml"/><Relationship Id="rId421" Type="http://schemas.openxmlformats.org/officeDocument/2006/relationships/slideLayout" Target="../slideLayouts/slideLayout434.xml"/><Relationship Id="rId442" Type="http://schemas.openxmlformats.org/officeDocument/2006/relationships/slideLayout" Target="../slideLayouts/slideLayout455.xml"/><Relationship Id="rId116" Type="http://schemas.openxmlformats.org/officeDocument/2006/relationships/slideLayout" Target="../slideLayouts/slideLayout129.xml"/><Relationship Id="rId137" Type="http://schemas.openxmlformats.org/officeDocument/2006/relationships/slideLayout" Target="../slideLayouts/slideLayout150.xml"/><Relationship Id="rId158" Type="http://schemas.openxmlformats.org/officeDocument/2006/relationships/slideLayout" Target="../slideLayouts/slideLayout171.xml"/><Relationship Id="rId302" Type="http://schemas.openxmlformats.org/officeDocument/2006/relationships/slideLayout" Target="../slideLayouts/slideLayout315.xml"/><Relationship Id="rId323" Type="http://schemas.openxmlformats.org/officeDocument/2006/relationships/slideLayout" Target="../slideLayouts/slideLayout336.xml"/><Relationship Id="rId344" Type="http://schemas.openxmlformats.org/officeDocument/2006/relationships/slideLayout" Target="../slideLayouts/slideLayout357.xml"/><Relationship Id="rId20" Type="http://schemas.openxmlformats.org/officeDocument/2006/relationships/slideLayout" Target="../slideLayouts/slideLayout33.xml"/><Relationship Id="rId41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96.xml"/><Relationship Id="rId179" Type="http://schemas.openxmlformats.org/officeDocument/2006/relationships/slideLayout" Target="../slideLayouts/slideLayout192.xml"/><Relationship Id="rId365" Type="http://schemas.openxmlformats.org/officeDocument/2006/relationships/slideLayout" Target="../slideLayouts/slideLayout378.xml"/><Relationship Id="rId386" Type="http://schemas.openxmlformats.org/officeDocument/2006/relationships/slideLayout" Target="../slideLayouts/slideLayout399.xml"/><Relationship Id="rId190" Type="http://schemas.openxmlformats.org/officeDocument/2006/relationships/slideLayout" Target="../slideLayouts/slideLayout203.xml"/><Relationship Id="rId204" Type="http://schemas.openxmlformats.org/officeDocument/2006/relationships/slideLayout" Target="../slideLayouts/slideLayout217.xml"/><Relationship Id="rId225" Type="http://schemas.openxmlformats.org/officeDocument/2006/relationships/slideLayout" Target="../slideLayouts/slideLayout238.xml"/><Relationship Id="rId246" Type="http://schemas.openxmlformats.org/officeDocument/2006/relationships/slideLayout" Target="../slideLayouts/slideLayout259.xml"/><Relationship Id="rId267" Type="http://schemas.openxmlformats.org/officeDocument/2006/relationships/slideLayout" Target="../slideLayouts/slideLayout280.xml"/><Relationship Id="rId288" Type="http://schemas.openxmlformats.org/officeDocument/2006/relationships/slideLayout" Target="../slideLayouts/slideLayout301.xml"/><Relationship Id="rId411" Type="http://schemas.openxmlformats.org/officeDocument/2006/relationships/slideLayout" Target="../slideLayouts/slideLayout424.xml"/><Relationship Id="rId432" Type="http://schemas.openxmlformats.org/officeDocument/2006/relationships/slideLayout" Target="../slideLayouts/slideLayout445.xml"/><Relationship Id="rId106" Type="http://schemas.openxmlformats.org/officeDocument/2006/relationships/slideLayout" Target="../slideLayouts/slideLayout119.xml"/><Relationship Id="rId127" Type="http://schemas.openxmlformats.org/officeDocument/2006/relationships/slideLayout" Target="../slideLayouts/slideLayout140.xml"/><Relationship Id="rId313" Type="http://schemas.openxmlformats.org/officeDocument/2006/relationships/slideLayout" Target="../slideLayouts/slideLayout326.xml"/><Relationship Id="rId10" Type="http://schemas.openxmlformats.org/officeDocument/2006/relationships/slideLayout" Target="../slideLayouts/slideLayout23.xml"/><Relationship Id="rId31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107.xml"/><Relationship Id="rId148" Type="http://schemas.openxmlformats.org/officeDocument/2006/relationships/slideLayout" Target="../slideLayouts/slideLayout161.xml"/><Relationship Id="rId169" Type="http://schemas.openxmlformats.org/officeDocument/2006/relationships/slideLayout" Target="../slideLayouts/slideLayout182.xml"/><Relationship Id="rId334" Type="http://schemas.openxmlformats.org/officeDocument/2006/relationships/slideLayout" Target="../slideLayouts/slideLayout347.xml"/><Relationship Id="rId355" Type="http://schemas.openxmlformats.org/officeDocument/2006/relationships/slideLayout" Target="../slideLayouts/slideLayout368.xml"/><Relationship Id="rId376" Type="http://schemas.openxmlformats.org/officeDocument/2006/relationships/slideLayout" Target="../slideLayouts/slideLayout389.xml"/><Relationship Id="rId397" Type="http://schemas.openxmlformats.org/officeDocument/2006/relationships/slideLayout" Target="../slideLayouts/slideLayout410.xml"/><Relationship Id="rId4" Type="http://schemas.openxmlformats.org/officeDocument/2006/relationships/slideLayout" Target="../slideLayouts/slideLayout17.xml"/><Relationship Id="rId180" Type="http://schemas.openxmlformats.org/officeDocument/2006/relationships/slideLayout" Target="../slideLayouts/slideLayout193.xml"/><Relationship Id="rId215" Type="http://schemas.openxmlformats.org/officeDocument/2006/relationships/slideLayout" Target="../slideLayouts/slideLayout228.xml"/><Relationship Id="rId236" Type="http://schemas.openxmlformats.org/officeDocument/2006/relationships/slideLayout" Target="../slideLayouts/slideLayout249.xml"/><Relationship Id="rId257" Type="http://schemas.openxmlformats.org/officeDocument/2006/relationships/slideLayout" Target="../slideLayouts/slideLayout270.xml"/><Relationship Id="rId278" Type="http://schemas.openxmlformats.org/officeDocument/2006/relationships/slideLayout" Target="../slideLayouts/slideLayout291.xml"/><Relationship Id="rId401" Type="http://schemas.openxmlformats.org/officeDocument/2006/relationships/slideLayout" Target="../slideLayouts/slideLayout414.xml"/><Relationship Id="rId422" Type="http://schemas.openxmlformats.org/officeDocument/2006/relationships/slideLayout" Target="../slideLayouts/slideLayout435.xml"/><Relationship Id="rId443" Type="http://schemas.openxmlformats.org/officeDocument/2006/relationships/slideLayout" Target="../slideLayouts/slideLayout456.xml"/><Relationship Id="rId303" Type="http://schemas.openxmlformats.org/officeDocument/2006/relationships/slideLayout" Target="../slideLayouts/slideLayout316.xml"/><Relationship Id="rId42" Type="http://schemas.openxmlformats.org/officeDocument/2006/relationships/slideLayout" Target="../slideLayouts/slideLayout55.xml"/><Relationship Id="rId84" Type="http://schemas.openxmlformats.org/officeDocument/2006/relationships/slideLayout" Target="../slideLayouts/slideLayout97.xml"/><Relationship Id="rId138" Type="http://schemas.openxmlformats.org/officeDocument/2006/relationships/slideLayout" Target="../slideLayouts/slideLayout151.xml"/><Relationship Id="rId345" Type="http://schemas.openxmlformats.org/officeDocument/2006/relationships/slideLayout" Target="../slideLayouts/slideLayout358.xml"/><Relationship Id="rId387" Type="http://schemas.openxmlformats.org/officeDocument/2006/relationships/slideLayout" Target="../slideLayouts/slideLayout400.xml"/><Relationship Id="rId191" Type="http://schemas.openxmlformats.org/officeDocument/2006/relationships/slideLayout" Target="../slideLayouts/slideLayout204.xml"/><Relationship Id="rId205" Type="http://schemas.openxmlformats.org/officeDocument/2006/relationships/slideLayout" Target="../slideLayouts/slideLayout218.xml"/><Relationship Id="rId247" Type="http://schemas.openxmlformats.org/officeDocument/2006/relationships/slideLayout" Target="../slideLayouts/slideLayout260.xml"/><Relationship Id="rId412" Type="http://schemas.openxmlformats.org/officeDocument/2006/relationships/slideLayout" Target="../slideLayouts/slideLayout425.xml"/><Relationship Id="rId107" Type="http://schemas.openxmlformats.org/officeDocument/2006/relationships/slideLayout" Target="../slideLayouts/slideLayout120.xml"/><Relationship Id="rId289" Type="http://schemas.openxmlformats.org/officeDocument/2006/relationships/slideLayout" Target="../slideLayouts/slideLayout302.xml"/><Relationship Id="rId11" Type="http://schemas.openxmlformats.org/officeDocument/2006/relationships/slideLayout" Target="../slideLayouts/slideLayout24.xml"/><Relationship Id="rId53" Type="http://schemas.openxmlformats.org/officeDocument/2006/relationships/slideLayout" Target="../slideLayouts/slideLayout66.xml"/><Relationship Id="rId149" Type="http://schemas.openxmlformats.org/officeDocument/2006/relationships/slideLayout" Target="../slideLayouts/slideLayout162.xml"/><Relationship Id="rId314" Type="http://schemas.openxmlformats.org/officeDocument/2006/relationships/slideLayout" Target="../slideLayouts/slideLayout327.xml"/><Relationship Id="rId356" Type="http://schemas.openxmlformats.org/officeDocument/2006/relationships/slideLayout" Target="../slideLayouts/slideLayout369.xml"/><Relationship Id="rId398" Type="http://schemas.openxmlformats.org/officeDocument/2006/relationships/slideLayout" Target="../slideLayouts/slideLayout411.xml"/><Relationship Id="rId95" Type="http://schemas.openxmlformats.org/officeDocument/2006/relationships/slideLayout" Target="../slideLayouts/slideLayout108.xml"/><Relationship Id="rId160" Type="http://schemas.openxmlformats.org/officeDocument/2006/relationships/slideLayout" Target="../slideLayouts/slideLayout173.xml"/><Relationship Id="rId216" Type="http://schemas.openxmlformats.org/officeDocument/2006/relationships/slideLayout" Target="../slideLayouts/slideLayout229.xml"/><Relationship Id="rId423" Type="http://schemas.openxmlformats.org/officeDocument/2006/relationships/slideLayout" Target="../slideLayouts/slideLayout436.xml"/><Relationship Id="rId258" Type="http://schemas.openxmlformats.org/officeDocument/2006/relationships/slideLayout" Target="../slideLayouts/slideLayout271.xml"/><Relationship Id="rId22" Type="http://schemas.openxmlformats.org/officeDocument/2006/relationships/slideLayout" Target="../slideLayouts/slideLayout35.xml"/><Relationship Id="rId64" Type="http://schemas.openxmlformats.org/officeDocument/2006/relationships/slideLayout" Target="../slideLayouts/slideLayout77.xml"/><Relationship Id="rId118" Type="http://schemas.openxmlformats.org/officeDocument/2006/relationships/slideLayout" Target="../slideLayouts/slideLayout131.xml"/><Relationship Id="rId325" Type="http://schemas.openxmlformats.org/officeDocument/2006/relationships/slideLayout" Target="../slideLayouts/slideLayout338.xml"/><Relationship Id="rId367" Type="http://schemas.openxmlformats.org/officeDocument/2006/relationships/slideLayout" Target="../slideLayouts/slideLayout380.xml"/><Relationship Id="rId171" Type="http://schemas.openxmlformats.org/officeDocument/2006/relationships/slideLayout" Target="../slideLayouts/slideLayout184.xml"/><Relationship Id="rId227" Type="http://schemas.openxmlformats.org/officeDocument/2006/relationships/slideLayout" Target="../slideLayouts/slideLayout240.xml"/><Relationship Id="rId269" Type="http://schemas.openxmlformats.org/officeDocument/2006/relationships/slideLayout" Target="../slideLayouts/slideLayout282.xml"/><Relationship Id="rId434" Type="http://schemas.openxmlformats.org/officeDocument/2006/relationships/slideLayout" Target="../slideLayouts/slideLayout447.xml"/><Relationship Id="rId33" Type="http://schemas.openxmlformats.org/officeDocument/2006/relationships/slideLayout" Target="../slideLayouts/slideLayout46.xml"/><Relationship Id="rId129" Type="http://schemas.openxmlformats.org/officeDocument/2006/relationships/slideLayout" Target="../slideLayouts/slideLayout142.xml"/><Relationship Id="rId280" Type="http://schemas.openxmlformats.org/officeDocument/2006/relationships/slideLayout" Target="../slideLayouts/slideLayout293.xml"/><Relationship Id="rId336" Type="http://schemas.openxmlformats.org/officeDocument/2006/relationships/slideLayout" Target="../slideLayouts/slideLayout349.xml"/><Relationship Id="rId75" Type="http://schemas.openxmlformats.org/officeDocument/2006/relationships/slideLayout" Target="../slideLayouts/slideLayout88.xml"/><Relationship Id="rId140" Type="http://schemas.openxmlformats.org/officeDocument/2006/relationships/slideLayout" Target="../slideLayouts/slideLayout153.xml"/><Relationship Id="rId182" Type="http://schemas.openxmlformats.org/officeDocument/2006/relationships/slideLayout" Target="../slideLayouts/slideLayout195.xml"/><Relationship Id="rId378" Type="http://schemas.openxmlformats.org/officeDocument/2006/relationships/slideLayout" Target="../slideLayouts/slideLayout391.xml"/><Relationship Id="rId403" Type="http://schemas.openxmlformats.org/officeDocument/2006/relationships/slideLayout" Target="../slideLayouts/slideLayout416.xml"/><Relationship Id="rId6" Type="http://schemas.openxmlformats.org/officeDocument/2006/relationships/slideLayout" Target="../slideLayouts/slideLayout19.xml"/><Relationship Id="rId238" Type="http://schemas.openxmlformats.org/officeDocument/2006/relationships/slideLayout" Target="../slideLayouts/slideLayout251.xml"/><Relationship Id="rId445" Type="http://schemas.openxmlformats.org/officeDocument/2006/relationships/slideLayout" Target="../slideLayouts/slideLayout458.xml"/><Relationship Id="rId291" Type="http://schemas.openxmlformats.org/officeDocument/2006/relationships/slideLayout" Target="../slideLayouts/slideLayout304.xml"/><Relationship Id="rId305" Type="http://schemas.openxmlformats.org/officeDocument/2006/relationships/slideLayout" Target="../slideLayouts/slideLayout318.xml"/><Relationship Id="rId347" Type="http://schemas.openxmlformats.org/officeDocument/2006/relationships/slideLayout" Target="../slideLayouts/slideLayout360.xml"/><Relationship Id="rId44" Type="http://schemas.openxmlformats.org/officeDocument/2006/relationships/slideLayout" Target="../slideLayouts/slideLayout57.xml"/><Relationship Id="rId86" Type="http://schemas.openxmlformats.org/officeDocument/2006/relationships/slideLayout" Target="../slideLayouts/slideLayout99.xml"/><Relationship Id="rId151" Type="http://schemas.openxmlformats.org/officeDocument/2006/relationships/slideLayout" Target="../slideLayouts/slideLayout164.xml"/><Relationship Id="rId389" Type="http://schemas.openxmlformats.org/officeDocument/2006/relationships/slideLayout" Target="../slideLayouts/slideLayout402.xml"/><Relationship Id="rId193" Type="http://schemas.openxmlformats.org/officeDocument/2006/relationships/slideLayout" Target="../slideLayouts/slideLayout206.xml"/><Relationship Id="rId207" Type="http://schemas.openxmlformats.org/officeDocument/2006/relationships/slideLayout" Target="../slideLayouts/slideLayout220.xml"/><Relationship Id="rId249" Type="http://schemas.openxmlformats.org/officeDocument/2006/relationships/slideLayout" Target="../slideLayouts/slideLayout262.xml"/><Relationship Id="rId414" Type="http://schemas.openxmlformats.org/officeDocument/2006/relationships/slideLayout" Target="../slideLayouts/slideLayout427.xml"/><Relationship Id="rId13" Type="http://schemas.openxmlformats.org/officeDocument/2006/relationships/slideLayout" Target="../slideLayouts/slideLayout26.xml"/><Relationship Id="rId109" Type="http://schemas.openxmlformats.org/officeDocument/2006/relationships/slideLayout" Target="../slideLayouts/slideLayout122.xml"/><Relationship Id="rId260" Type="http://schemas.openxmlformats.org/officeDocument/2006/relationships/slideLayout" Target="../slideLayouts/slideLayout273.xml"/><Relationship Id="rId316" Type="http://schemas.openxmlformats.org/officeDocument/2006/relationships/slideLayout" Target="../slideLayouts/slideLayout329.xml"/><Relationship Id="rId55" Type="http://schemas.openxmlformats.org/officeDocument/2006/relationships/slideLayout" Target="../slideLayouts/slideLayout68.xml"/><Relationship Id="rId97" Type="http://schemas.openxmlformats.org/officeDocument/2006/relationships/slideLayout" Target="../slideLayouts/slideLayout110.xml"/><Relationship Id="rId120" Type="http://schemas.openxmlformats.org/officeDocument/2006/relationships/slideLayout" Target="../slideLayouts/slideLayout133.xml"/><Relationship Id="rId358" Type="http://schemas.openxmlformats.org/officeDocument/2006/relationships/slideLayout" Target="../slideLayouts/slideLayout371.xml"/><Relationship Id="rId162" Type="http://schemas.openxmlformats.org/officeDocument/2006/relationships/slideLayout" Target="../slideLayouts/slideLayout175.xml"/><Relationship Id="rId218" Type="http://schemas.openxmlformats.org/officeDocument/2006/relationships/slideLayout" Target="../slideLayouts/slideLayout231.xml"/><Relationship Id="rId425" Type="http://schemas.openxmlformats.org/officeDocument/2006/relationships/slideLayout" Target="../slideLayouts/slideLayout438.xml"/><Relationship Id="rId271" Type="http://schemas.openxmlformats.org/officeDocument/2006/relationships/slideLayout" Target="../slideLayouts/slideLayout284.xml"/><Relationship Id="rId24" Type="http://schemas.openxmlformats.org/officeDocument/2006/relationships/slideLayout" Target="../slideLayouts/slideLayout37.xml"/><Relationship Id="rId66" Type="http://schemas.openxmlformats.org/officeDocument/2006/relationships/slideLayout" Target="../slideLayouts/slideLayout79.xml"/><Relationship Id="rId131" Type="http://schemas.openxmlformats.org/officeDocument/2006/relationships/slideLayout" Target="../slideLayouts/slideLayout144.xml"/><Relationship Id="rId327" Type="http://schemas.openxmlformats.org/officeDocument/2006/relationships/slideLayout" Target="../slideLayouts/slideLayout340.xml"/><Relationship Id="rId369" Type="http://schemas.openxmlformats.org/officeDocument/2006/relationships/slideLayout" Target="../slideLayouts/slideLayout382.xml"/><Relationship Id="rId173" Type="http://schemas.openxmlformats.org/officeDocument/2006/relationships/slideLayout" Target="../slideLayouts/slideLayout186.xml"/><Relationship Id="rId229" Type="http://schemas.openxmlformats.org/officeDocument/2006/relationships/slideLayout" Target="../slideLayouts/slideLayout242.xml"/><Relationship Id="rId380" Type="http://schemas.openxmlformats.org/officeDocument/2006/relationships/slideLayout" Target="../slideLayouts/slideLayout393.xml"/><Relationship Id="rId436" Type="http://schemas.openxmlformats.org/officeDocument/2006/relationships/slideLayout" Target="../slideLayouts/slideLayout449.xml"/><Relationship Id="rId240" Type="http://schemas.openxmlformats.org/officeDocument/2006/relationships/slideLayout" Target="../slideLayouts/slideLayout253.xml"/><Relationship Id="rId35" Type="http://schemas.openxmlformats.org/officeDocument/2006/relationships/slideLayout" Target="../slideLayouts/slideLayout48.xml"/><Relationship Id="rId77" Type="http://schemas.openxmlformats.org/officeDocument/2006/relationships/slideLayout" Target="../slideLayouts/slideLayout90.xml"/><Relationship Id="rId100" Type="http://schemas.openxmlformats.org/officeDocument/2006/relationships/slideLayout" Target="../slideLayouts/slideLayout113.xml"/><Relationship Id="rId282" Type="http://schemas.openxmlformats.org/officeDocument/2006/relationships/slideLayout" Target="../slideLayouts/slideLayout295.xml"/><Relationship Id="rId338" Type="http://schemas.openxmlformats.org/officeDocument/2006/relationships/slideLayout" Target="../slideLayouts/slideLayout351.xml"/><Relationship Id="rId8" Type="http://schemas.openxmlformats.org/officeDocument/2006/relationships/slideLayout" Target="../slideLayouts/slideLayout21.xml"/><Relationship Id="rId142" Type="http://schemas.openxmlformats.org/officeDocument/2006/relationships/slideLayout" Target="../slideLayouts/slideLayout155.xml"/><Relationship Id="rId184" Type="http://schemas.openxmlformats.org/officeDocument/2006/relationships/slideLayout" Target="../slideLayouts/slideLayout197.xml"/><Relationship Id="rId391" Type="http://schemas.openxmlformats.org/officeDocument/2006/relationships/slideLayout" Target="../slideLayouts/slideLayout404.xml"/><Relationship Id="rId405" Type="http://schemas.openxmlformats.org/officeDocument/2006/relationships/slideLayout" Target="../slideLayouts/slideLayout418.xml"/><Relationship Id="rId447" Type="http://schemas.openxmlformats.org/officeDocument/2006/relationships/slideLayout" Target="../slideLayouts/slideLayout460.xml"/><Relationship Id="rId251" Type="http://schemas.openxmlformats.org/officeDocument/2006/relationships/slideLayout" Target="../slideLayouts/slideLayout264.xml"/><Relationship Id="rId46" Type="http://schemas.openxmlformats.org/officeDocument/2006/relationships/slideLayout" Target="../slideLayouts/slideLayout59.xml"/><Relationship Id="rId293" Type="http://schemas.openxmlformats.org/officeDocument/2006/relationships/slideLayout" Target="../slideLayouts/slideLayout306.xml"/><Relationship Id="rId307" Type="http://schemas.openxmlformats.org/officeDocument/2006/relationships/slideLayout" Target="../slideLayouts/slideLayout320.xml"/><Relationship Id="rId349" Type="http://schemas.openxmlformats.org/officeDocument/2006/relationships/slideLayout" Target="../slideLayouts/slideLayout362.xml"/><Relationship Id="rId88" Type="http://schemas.openxmlformats.org/officeDocument/2006/relationships/slideLayout" Target="../slideLayouts/slideLayout101.xml"/><Relationship Id="rId111" Type="http://schemas.openxmlformats.org/officeDocument/2006/relationships/slideLayout" Target="../slideLayouts/slideLayout124.xml"/><Relationship Id="rId153" Type="http://schemas.openxmlformats.org/officeDocument/2006/relationships/slideLayout" Target="../slideLayouts/slideLayout166.xml"/><Relationship Id="rId195" Type="http://schemas.openxmlformats.org/officeDocument/2006/relationships/slideLayout" Target="../slideLayouts/slideLayout208.xml"/><Relationship Id="rId209" Type="http://schemas.openxmlformats.org/officeDocument/2006/relationships/slideLayout" Target="../slideLayouts/slideLayout222.xml"/><Relationship Id="rId360" Type="http://schemas.openxmlformats.org/officeDocument/2006/relationships/slideLayout" Target="../slideLayouts/slideLayout373.xml"/><Relationship Id="rId416" Type="http://schemas.openxmlformats.org/officeDocument/2006/relationships/slideLayout" Target="../slideLayouts/slideLayout429.xml"/><Relationship Id="rId220" Type="http://schemas.openxmlformats.org/officeDocument/2006/relationships/slideLayout" Target="../slideLayouts/slideLayout233.xml"/><Relationship Id="rId15" Type="http://schemas.openxmlformats.org/officeDocument/2006/relationships/slideLayout" Target="../slideLayouts/slideLayout28.xml"/><Relationship Id="rId57" Type="http://schemas.openxmlformats.org/officeDocument/2006/relationships/slideLayout" Target="../slideLayouts/slideLayout70.xml"/><Relationship Id="rId262" Type="http://schemas.openxmlformats.org/officeDocument/2006/relationships/slideLayout" Target="../slideLayouts/slideLayout275.xml"/><Relationship Id="rId318" Type="http://schemas.openxmlformats.org/officeDocument/2006/relationships/slideLayout" Target="../slideLayouts/slideLayout331.xml"/><Relationship Id="rId99" Type="http://schemas.openxmlformats.org/officeDocument/2006/relationships/slideLayout" Target="../slideLayouts/slideLayout112.xml"/><Relationship Id="rId122" Type="http://schemas.openxmlformats.org/officeDocument/2006/relationships/slideLayout" Target="../slideLayouts/slideLayout135.xml"/><Relationship Id="rId164" Type="http://schemas.openxmlformats.org/officeDocument/2006/relationships/slideLayout" Target="../slideLayouts/slideLayout177.xml"/><Relationship Id="rId371" Type="http://schemas.openxmlformats.org/officeDocument/2006/relationships/slideLayout" Target="../slideLayouts/slideLayout384.xml"/><Relationship Id="rId427" Type="http://schemas.openxmlformats.org/officeDocument/2006/relationships/slideLayout" Target="../slideLayouts/slideLayout440.xml"/><Relationship Id="rId26" Type="http://schemas.openxmlformats.org/officeDocument/2006/relationships/slideLayout" Target="../slideLayouts/slideLayout39.xml"/><Relationship Id="rId231" Type="http://schemas.openxmlformats.org/officeDocument/2006/relationships/slideLayout" Target="../slideLayouts/slideLayout244.xml"/><Relationship Id="rId273" Type="http://schemas.openxmlformats.org/officeDocument/2006/relationships/slideLayout" Target="../slideLayouts/slideLayout286.xml"/><Relationship Id="rId329" Type="http://schemas.openxmlformats.org/officeDocument/2006/relationships/slideLayout" Target="../slideLayouts/slideLayout342.xml"/><Relationship Id="rId68" Type="http://schemas.openxmlformats.org/officeDocument/2006/relationships/slideLayout" Target="../slideLayouts/slideLayout81.xml"/><Relationship Id="rId133" Type="http://schemas.openxmlformats.org/officeDocument/2006/relationships/slideLayout" Target="../slideLayouts/slideLayout146.xml"/><Relationship Id="rId175" Type="http://schemas.openxmlformats.org/officeDocument/2006/relationships/slideLayout" Target="../slideLayouts/slideLayout188.xml"/><Relationship Id="rId340" Type="http://schemas.openxmlformats.org/officeDocument/2006/relationships/slideLayout" Target="../slideLayouts/slideLayout353.xml"/><Relationship Id="rId200" Type="http://schemas.openxmlformats.org/officeDocument/2006/relationships/slideLayout" Target="../slideLayouts/slideLayout213.xml"/><Relationship Id="rId382" Type="http://schemas.openxmlformats.org/officeDocument/2006/relationships/slideLayout" Target="../slideLayouts/slideLayout395.xml"/><Relationship Id="rId438" Type="http://schemas.openxmlformats.org/officeDocument/2006/relationships/slideLayout" Target="../slideLayouts/slideLayout451.xml"/><Relationship Id="rId242" Type="http://schemas.openxmlformats.org/officeDocument/2006/relationships/slideLayout" Target="../slideLayouts/slideLayout255.xml"/><Relationship Id="rId284" Type="http://schemas.openxmlformats.org/officeDocument/2006/relationships/slideLayout" Target="../slideLayouts/slideLayout297.xml"/><Relationship Id="rId37" Type="http://schemas.openxmlformats.org/officeDocument/2006/relationships/slideLayout" Target="../slideLayouts/slideLayout50.xml"/><Relationship Id="rId79" Type="http://schemas.openxmlformats.org/officeDocument/2006/relationships/slideLayout" Target="../slideLayouts/slideLayout92.xml"/><Relationship Id="rId102" Type="http://schemas.openxmlformats.org/officeDocument/2006/relationships/slideLayout" Target="../slideLayouts/slideLayout115.xml"/><Relationship Id="rId144" Type="http://schemas.openxmlformats.org/officeDocument/2006/relationships/slideLayout" Target="../slideLayouts/slideLayout157.xml"/><Relationship Id="rId90" Type="http://schemas.openxmlformats.org/officeDocument/2006/relationships/slideLayout" Target="../slideLayouts/slideLayout103.xml"/><Relationship Id="rId186" Type="http://schemas.openxmlformats.org/officeDocument/2006/relationships/slideLayout" Target="../slideLayouts/slideLayout199.xml"/><Relationship Id="rId351" Type="http://schemas.openxmlformats.org/officeDocument/2006/relationships/slideLayout" Target="../slideLayouts/slideLayout364.xml"/><Relationship Id="rId393" Type="http://schemas.openxmlformats.org/officeDocument/2006/relationships/slideLayout" Target="../slideLayouts/slideLayout406.xml"/><Relationship Id="rId407" Type="http://schemas.openxmlformats.org/officeDocument/2006/relationships/slideLayout" Target="../slideLayouts/slideLayout420.xml"/><Relationship Id="rId449" Type="http://schemas.openxmlformats.org/officeDocument/2006/relationships/slideLayout" Target="../slideLayouts/slideLayout462.xml"/><Relationship Id="rId211" Type="http://schemas.openxmlformats.org/officeDocument/2006/relationships/slideLayout" Target="../slideLayouts/slideLayout224.xml"/><Relationship Id="rId253" Type="http://schemas.openxmlformats.org/officeDocument/2006/relationships/slideLayout" Target="../slideLayouts/slideLayout266.xml"/><Relationship Id="rId295" Type="http://schemas.openxmlformats.org/officeDocument/2006/relationships/slideLayout" Target="../slideLayouts/slideLayout308.xml"/><Relationship Id="rId309" Type="http://schemas.openxmlformats.org/officeDocument/2006/relationships/slideLayout" Target="../slideLayouts/slideLayout322.xml"/><Relationship Id="rId48" Type="http://schemas.openxmlformats.org/officeDocument/2006/relationships/slideLayout" Target="../slideLayouts/slideLayout61.xml"/><Relationship Id="rId113" Type="http://schemas.openxmlformats.org/officeDocument/2006/relationships/slideLayout" Target="../slideLayouts/slideLayout126.xml"/><Relationship Id="rId320" Type="http://schemas.openxmlformats.org/officeDocument/2006/relationships/slideLayout" Target="../slideLayouts/slideLayout333.xml"/><Relationship Id="rId155" Type="http://schemas.openxmlformats.org/officeDocument/2006/relationships/slideLayout" Target="../slideLayouts/slideLayout168.xml"/><Relationship Id="rId197" Type="http://schemas.openxmlformats.org/officeDocument/2006/relationships/slideLayout" Target="../slideLayouts/slideLayout210.xml"/><Relationship Id="rId362" Type="http://schemas.openxmlformats.org/officeDocument/2006/relationships/slideLayout" Target="../slideLayouts/slideLayout375.xml"/><Relationship Id="rId418" Type="http://schemas.openxmlformats.org/officeDocument/2006/relationships/slideLayout" Target="../slideLayouts/slideLayout431.xml"/><Relationship Id="rId222" Type="http://schemas.openxmlformats.org/officeDocument/2006/relationships/slideLayout" Target="../slideLayouts/slideLayout235.xml"/><Relationship Id="rId264" Type="http://schemas.openxmlformats.org/officeDocument/2006/relationships/slideLayout" Target="../slideLayouts/slideLayout277.xml"/><Relationship Id="rId17" Type="http://schemas.openxmlformats.org/officeDocument/2006/relationships/slideLayout" Target="../slideLayouts/slideLayout30.xml"/><Relationship Id="rId59" Type="http://schemas.openxmlformats.org/officeDocument/2006/relationships/slideLayout" Target="../slideLayouts/slideLayout72.xml"/><Relationship Id="rId124" Type="http://schemas.openxmlformats.org/officeDocument/2006/relationships/slideLayout" Target="../slideLayouts/slideLayout137.xml"/><Relationship Id="rId70" Type="http://schemas.openxmlformats.org/officeDocument/2006/relationships/slideLayout" Target="../slideLayouts/slideLayout83.xml"/><Relationship Id="rId166" Type="http://schemas.openxmlformats.org/officeDocument/2006/relationships/slideLayout" Target="../slideLayouts/slideLayout179.xml"/><Relationship Id="rId331" Type="http://schemas.openxmlformats.org/officeDocument/2006/relationships/slideLayout" Target="../slideLayouts/slideLayout344.xml"/><Relationship Id="rId373" Type="http://schemas.openxmlformats.org/officeDocument/2006/relationships/slideLayout" Target="../slideLayouts/slideLayout386.xml"/><Relationship Id="rId429" Type="http://schemas.openxmlformats.org/officeDocument/2006/relationships/slideLayout" Target="../slideLayouts/slideLayout442.xml"/><Relationship Id="rId1" Type="http://schemas.openxmlformats.org/officeDocument/2006/relationships/slideLayout" Target="../slideLayouts/slideLayout14.xml"/><Relationship Id="rId233" Type="http://schemas.openxmlformats.org/officeDocument/2006/relationships/slideLayout" Target="../slideLayouts/slideLayout246.xml"/><Relationship Id="rId440" Type="http://schemas.openxmlformats.org/officeDocument/2006/relationships/slideLayout" Target="../slideLayouts/slideLayout453.xml"/><Relationship Id="rId28" Type="http://schemas.openxmlformats.org/officeDocument/2006/relationships/slideLayout" Target="../slideLayouts/slideLayout41.xml"/><Relationship Id="rId275" Type="http://schemas.openxmlformats.org/officeDocument/2006/relationships/slideLayout" Target="../slideLayouts/slideLayout288.xml"/><Relationship Id="rId300" Type="http://schemas.openxmlformats.org/officeDocument/2006/relationships/slideLayout" Target="../slideLayouts/slideLayout313.xml"/><Relationship Id="rId81" Type="http://schemas.openxmlformats.org/officeDocument/2006/relationships/slideLayout" Target="../slideLayouts/slideLayout94.xml"/><Relationship Id="rId135" Type="http://schemas.openxmlformats.org/officeDocument/2006/relationships/slideLayout" Target="../slideLayouts/slideLayout148.xml"/><Relationship Id="rId177" Type="http://schemas.openxmlformats.org/officeDocument/2006/relationships/slideLayout" Target="../slideLayouts/slideLayout190.xml"/><Relationship Id="rId342" Type="http://schemas.openxmlformats.org/officeDocument/2006/relationships/slideLayout" Target="../slideLayouts/slideLayout355.xml"/><Relationship Id="rId384" Type="http://schemas.openxmlformats.org/officeDocument/2006/relationships/slideLayout" Target="../slideLayouts/slideLayout397.xml"/><Relationship Id="rId202" Type="http://schemas.openxmlformats.org/officeDocument/2006/relationships/slideLayout" Target="../slideLayouts/slideLayout215.xml"/><Relationship Id="rId244" Type="http://schemas.openxmlformats.org/officeDocument/2006/relationships/slideLayout" Target="../slideLayouts/slideLayout257.xml"/><Relationship Id="rId39" Type="http://schemas.openxmlformats.org/officeDocument/2006/relationships/slideLayout" Target="../slideLayouts/slideLayout52.xml"/><Relationship Id="rId286" Type="http://schemas.openxmlformats.org/officeDocument/2006/relationships/slideLayout" Target="../slideLayouts/slideLayout299.xml"/><Relationship Id="rId451" Type="http://schemas.openxmlformats.org/officeDocument/2006/relationships/slideLayout" Target="../slideLayouts/slideLayout464.xml"/></Relationships>
</file>

<file path=ppt/slideMasters/_rels/slideMaster3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581.xml"/><Relationship Id="rId21" Type="http://schemas.openxmlformats.org/officeDocument/2006/relationships/slideLayout" Target="../slideLayouts/slideLayout485.xml"/><Relationship Id="rId63" Type="http://schemas.openxmlformats.org/officeDocument/2006/relationships/slideLayout" Target="../slideLayouts/slideLayout527.xml"/><Relationship Id="rId159" Type="http://schemas.openxmlformats.org/officeDocument/2006/relationships/slideLayout" Target="../slideLayouts/slideLayout623.xml"/><Relationship Id="rId170" Type="http://schemas.openxmlformats.org/officeDocument/2006/relationships/slideLayout" Target="../slideLayouts/slideLayout634.xml"/><Relationship Id="rId226" Type="http://schemas.openxmlformats.org/officeDocument/2006/relationships/slideLayout" Target="../slideLayouts/slideLayout690.xml"/><Relationship Id="rId268" Type="http://schemas.openxmlformats.org/officeDocument/2006/relationships/slideLayout" Target="../slideLayouts/slideLayout732.xml"/><Relationship Id="rId32" Type="http://schemas.openxmlformats.org/officeDocument/2006/relationships/slideLayout" Target="../slideLayouts/slideLayout496.xml"/><Relationship Id="rId74" Type="http://schemas.openxmlformats.org/officeDocument/2006/relationships/slideLayout" Target="../slideLayouts/slideLayout538.xml"/><Relationship Id="rId128" Type="http://schemas.openxmlformats.org/officeDocument/2006/relationships/slideLayout" Target="../slideLayouts/slideLayout592.xml"/><Relationship Id="rId5" Type="http://schemas.openxmlformats.org/officeDocument/2006/relationships/slideLayout" Target="../slideLayouts/slideLayout469.xml"/><Relationship Id="rId181" Type="http://schemas.openxmlformats.org/officeDocument/2006/relationships/slideLayout" Target="../slideLayouts/slideLayout645.xml"/><Relationship Id="rId237" Type="http://schemas.openxmlformats.org/officeDocument/2006/relationships/slideLayout" Target="../slideLayouts/slideLayout701.xml"/><Relationship Id="rId279" Type="http://schemas.openxmlformats.org/officeDocument/2006/relationships/slideLayout" Target="../slideLayouts/slideLayout743.xml"/><Relationship Id="rId43" Type="http://schemas.openxmlformats.org/officeDocument/2006/relationships/slideLayout" Target="../slideLayouts/slideLayout507.xml"/><Relationship Id="rId139" Type="http://schemas.openxmlformats.org/officeDocument/2006/relationships/slideLayout" Target="../slideLayouts/slideLayout603.xml"/><Relationship Id="rId85" Type="http://schemas.openxmlformats.org/officeDocument/2006/relationships/slideLayout" Target="../slideLayouts/slideLayout549.xml"/><Relationship Id="rId150" Type="http://schemas.openxmlformats.org/officeDocument/2006/relationships/slideLayout" Target="../slideLayouts/slideLayout614.xml"/><Relationship Id="rId171" Type="http://schemas.openxmlformats.org/officeDocument/2006/relationships/slideLayout" Target="../slideLayouts/slideLayout635.xml"/><Relationship Id="rId192" Type="http://schemas.openxmlformats.org/officeDocument/2006/relationships/slideLayout" Target="../slideLayouts/slideLayout656.xml"/><Relationship Id="rId206" Type="http://schemas.openxmlformats.org/officeDocument/2006/relationships/slideLayout" Target="../slideLayouts/slideLayout670.xml"/><Relationship Id="rId227" Type="http://schemas.openxmlformats.org/officeDocument/2006/relationships/slideLayout" Target="../slideLayouts/slideLayout691.xml"/><Relationship Id="rId248" Type="http://schemas.openxmlformats.org/officeDocument/2006/relationships/slideLayout" Target="../slideLayouts/slideLayout712.xml"/><Relationship Id="rId269" Type="http://schemas.openxmlformats.org/officeDocument/2006/relationships/slideLayout" Target="../slideLayouts/slideLayout733.xml"/><Relationship Id="rId12" Type="http://schemas.openxmlformats.org/officeDocument/2006/relationships/slideLayout" Target="../slideLayouts/slideLayout476.xml"/><Relationship Id="rId33" Type="http://schemas.openxmlformats.org/officeDocument/2006/relationships/slideLayout" Target="../slideLayouts/slideLayout497.xml"/><Relationship Id="rId108" Type="http://schemas.openxmlformats.org/officeDocument/2006/relationships/slideLayout" Target="../slideLayouts/slideLayout572.xml"/><Relationship Id="rId129" Type="http://schemas.openxmlformats.org/officeDocument/2006/relationships/slideLayout" Target="../slideLayouts/slideLayout593.xml"/><Relationship Id="rId280" Type="http://schemas.openxmlformats.org/officeDocument/2006/relationships/slideLayout" Target="../slideLayouts/slideLayout744.xml"/><Relationship Id="rId54" Type="http://schemas.openxmlformats.org/officeDocument/2006/relationships/slideLayout" Target="../slideLayouts/slideLayout518.xml"/><Relationship Id="rId75" Type="http://schemas.openxmlformats.org/officeDocument/2006/relationships/slideLayout" Target="../slideLayouts/slideLayout539.xml"/><Relationship Id="rId96" Type="http://schemas.openxmlformats.org/officeDocument/2006/relationships/slideLayout" Target="../slideLayouts/slideLayout560.xml"/><Relationship Id="rId140" Type="http://schemas.openxmlformats.org/officeDocument/2006/relationships/slideLayout" Target="../slideLayouts/slideLayout604.xml"/><Relationship Id="rId161" Type="http://schemas.openxmlformats.org/officeDocument/2006/relationships/slideLayout" Target="../slideLayouts/slideLayout625.xml"/><Relationship Id="rId182" Type="http://schemas.openxmlformats.org/officeDocument/2006/relationships/slideLayout" Target="../slideLayouts/slideLayout646.xml"/><Relationship Id="rId217" Type="http://schemas.openxmlformats.org/officeDocument/2006/relationships/slideLayout" Target="../slideLayouts/slideLayout681.xml"/><Relationship Id="rId6" Type="http://schemas.openxmlformats.org/officeDocument/2006/relationships/slideLayout" Target="../slideLayouts/slideLayout470.xml"/><Relationship Id="rId238" Type="http://schemas.openxmlformats.org/officeDocument/2006/relationships/slideLayout" Target="../slideLayouts/slideLayout702.xml"/><Relationship Id="rId259" Type="http://schemas.openxmlformats.org/officeDocument/2006/relationships/slideLayout" Target="../slideLayouts/slideLayout723.xml"/><Relationship Id="rId23" Type="http://schemas.openxmlformats.org/officeDocument/2006/relationships/slideLayout" Target="../slideLayouts/slideLayout487.xml"/><Relationship Id="rId119" Type="http://schemas.openxmlformats.org/officeDocument/2006/relationships/slideLayout" Target="../slideLayouts/slideLayout583.xml"/><Relationship Id="rId270" Type="http://schemas.openxmlformats.org/officeDocument/2006/relationships/slideLayout" Target="../slideLayouts/slideLayout734.xml"/><Relationship Id="rId44" Type="http://schemas.openxmlformats.org/officeDocument/2006/relationships/slideLayout" Target="../slideLayouts/slideLayout508.xml"/><Relationship Id="rId65" Type="http://schemas.openxmlformats.org/officeDocument/2006/relationships/slideLayout" Target="../slideLayouts/slideLayout529.xml"/><Relationship Id="rId86" Type="http://schemas.openxmlformats.org/officeDocument/2006/relationships/slideLayout" Target="../slideLayouts/slideLayout550.xml"/><Relationship Id="rId130" Type="http://schemas.openxmlformats.org/officeDocument/2006/relationships/slideLayout" Target="../slideLayouts/slideLayout594.xml"/><Relationship Id="rId151" Type="http://schemas.openxmlformats.org/officeDocument/2006/relationships/slideLayout" Target="../slideLayouts/slideLayout615.xml"/><Relationship Id="rId172" Type="http://schemas.openxmlformats.org/officeDocument/2006/relationships/slideLayout" Target="../slideLayouts/slideLayout636.xml"/><Relationship Id="rId193" Type="http://schemas.openxmlformats.org/officeDocument/2006/relationships/slideLayout" Target="../slideLayouts/slideLayout657.xml"/><Relationship Id="rId207" Type="http://schemas.openxmlformats.org/officeDocument/2006/relationships/slideLayout" Target="../slideLayouts/slideLayout671.xml"/><Relationship Id="rId228" Type="http://schemas.openxmlformats.org/officeDocument/2006/relationships/slideLayout" Target="../slideLayouts/slideLayout692.xml"/><Relationship Id="rId249" Type="http://schemas.openxmlformats.org/officeDocument/2006/relationships/slideLayout" Target="../slideLayouts/slideLayout713.xml"/><Relationship Id="rId13" Type="http://schemas.openxmlformats.org/officeDocument/2006/relationships/slideLayout" Target="../slideLayouts/slideLayout477.xml"/><Relationship Id="rId109" Type="http://schemas.openxmlformats.org/officeDocument/2006/relationships/slideLayout" Target="../slideLayouts/slideLayout573.xml"/><Relationship Id="rId260" Type="http://schemas.openxmlformats.org/officeDocument/2006/relationships/slideLayout" Target="../slideLayouts/slideLayout724.xml"/><Relationship Id="rId281" Type="http://schemas.openxmlformats.org/officeDocument/2006/relationships/slideLayout" Target="../slideLayouts/slideLayout745.xml"/><Relationship Id="rId34" Type="http://schemas.openxmlformats.org/officeDocument/2006/relationships/slideLayout" Target="../slideLayouts/slideLayout498.xml"/><Relationship Id="rId55" Type="http://schemas.openxmlformats.org/officeDocument/2006/relationships/slideLayout" Target="../slideLayouts/slideLayout519.xml"/><Relationship Id="rId76" Type="http://schemas.openxmlformats.org/officeDocument/2006/relationships/slideLayout" Target="../slideLayouts/slideLayout540.xml"/><Relationship Id="rId97" Type="http://schemas.openxmlformats.org/officeDocument/2006/relationships/slideLayout" Target="../slideLayouts/slideLayout561.xml"/><Relationship Id="rId120" Type="http://schemas.openxmlformats.org/officeDocument/2006/relationships/slideLayout" Target="../slideLayouts/slideLayout584.xml"/><Relationship Id="rId141" Type="http://schemas.openxmlformats.org/officeDocument/2006/relationships/slideLayout" Target="../slideLayouts/slideLayout605.xml"/><Relationship Id="rId7" Type="http://schemas.openxmlformats.org/officeDocument/2006/relationships/slideLayout" Target="../slideLayouts/slideLayout471.xml"/><Relationship Id="rId162" Type="http://schemas.openxmlformats.org/officeDocument/2006/relationships/slideLayout" Target="../slideLayouts/slideLayout626.xml"/><Relationship Id="rId183" Type="http://schemas.openxmlformats.org/officeDocument/2006/relationships/slideLayout" Target="../slideLayouts/slideLayout647.xml"/><Relationship Id="rId218" Type="http://schemas.openxmlformats.org/officeDocument/2006/relationships/slideLayout" Target="../slideLayouts/slideLayout682.xml"/><Relationship Id="rId239" Type="http://schemas.openxmlformats.org/officeDocument/2006/relationships/slideLayout" Target="../slideLayouts/slideLayout703.xml"/><Relationship Id="rId250" Type="http://schemas.openxmlformats.org/officeDocument/2006/relationships/slideLayout" Target="../slideLayouts/slideLayout714.xml"/><Relationship Id="rId271" Type="http://schemas.openxmlformats.org/officeDocument/2006/relationships/slideLayout" Target="../slideLayouts/slideLayout735.xml"/><Relationship Id="rId24" Type="http://schemas.openxmlformats.org/officeDocument/2006/relationships/slideLayout" Target="../slideLayouts/slideLayout488.xml"/><Relationship Id="rId45" Type="http://schemas.openxmlformats.org/officeDocument/2006/relationships/slideLayout" Target="../slideLayouts/slideLayout509.xml"/><Relationship Id="rId66" Type="http://schemas.openxmlformats.org/officeDocument/2006/relationships/slideLayout" Target="../slideLayouts/slideLayout530.xml"/><Relationship Id="rId87" Type="http://schemas.openxmlformats.org/officeDocument/2006/relationships/slideLayout" Target="../slideLayouts/slideLayout551.xml"/><Relationship Id="rId110" Type="http://schemas.openxmlformats.org/officeDocument/2006/relationships/slideLayout" Target="../slideLayouts/slideLayout574.xml"/><Relationship Id="rId131" Type="http://schemas.openxmlformats.org/officeDocument/2006/relationships/slideLayout" Target="../slideLayouts/slideLayout595.xml"/><Relationship Id="rId152" Type="http://schemas.openxmlformats.org/officeDocument/2006/relationships/slideLayout" Target="../slideLayouts/slideLayout616.xml"/><Relationship Id="rId173" Type="http://schemas.openxmlformats.org/officeDocument/2006/relationships/slideLayout" Target="../slideLayouts/slideLayout637.xml"/><Relationship Id="rId194" Type="http://schemas.openxmlformats.org/officeDocument/2006/relationships/slideLayout" Target="../slideLayouts/slideLayout658.xml"/><Relationship Id="rId208" Type="http://schemas.openxmlformats.org/officeDocument/2006/relationships/slideLayout" Target="../slideLayouts/slideLayout672.xml"/><Relationship Id="rId229" Type="http://schemas.openxmlformats.org/officeDocument/2006/relationships/slideLayout" Target="../slideLayouts/slideLayout693.xml"/><Relationship Id="rId240" Type="http://schemas.openxmlformats.org/officeDocument/2006/relationships/slideLayout" Target="../slideLayouts/slideLayout704.xml"/><Relationship Id="rId261" Type="http://schemas.openxmlformats.org/officeDocument/2006/relationships/slideLayout" Target="../slideLayouts/slideLayout725.xml"/><Relationship Id="rId14" Type="http://schemas.openxmlformats.org/officeDocument/2006/relationships/slideLayout" Target="../slideLayouts/slideLayout478.xml"/><Relationship Id="rId35" Type="http://schemas.openxmlformats.org/officeDocument/2006/relationships/slideLayout" Target="../slideLayouts/slideLayout499.xml"/><Relationship Id="rId56" Type="http://schemas.openxmlformats.org/officeDocument/2006/relationships/slideLayout" Target="../slideLayouts/slideLayout520.xml"/><Relationship Id="rId77" Type="http://schemas.openxmlformats.org/officeDocument/2006/relationships/slideLayout" Target="../slideLayouts/slideLayout541.xml"/><Relationship Id="rId100" Type="http://schemas.openxmlformats.org/officeDocument/2006/relationships/slideLayout" Target="../slideLayouts/slideLayout564.xml"/><Relationship Id="rId282" Type="http://schemas.openxmlformats.org/officeDocument/2006/relationships/slideLayout" Target="../slideLayouts/slideLayout746.xml"/><Relationship Id="rId8" Type="http://schemas.openxmlformats.org/officeDocument/2006/relationships/slideLayout" Target="../slideLayouts/slideLayout472.xml"/><Relationship Id="rId98" Type="http://schemas.openxmlformats.org/officeDocument/2006/relationships/slideLayout" Target="../slideLayouts/slideLayout562.xml"/><Relationship Id="rId121" Type="http://schemas.openxmlformats.org/officeDocument/2006/relationships/slideLayout" Target="../slideLayouts/slideLayout585.xml"/><Relationship Id="rId142" Type="http://schemas.openxmlformats.org/officeDocument/2006/relationships/slideLayout" Target="../slideLayouts/slideLayout606.xml"/><Relationship Id="rId163" Type="http://schemas.openxmlformats.org/officeDocument/2006/relationships/slideLayout" Target="../slideLayouts/slideLayout627.xml"/><Relationship Id="rId184" Type="http://schemas.openxmlformats.org/officeDocument/2006/relationships/slideLayout" Target="../slideLayouts/slideLayout648.xml"/><Relationship Id="rId219" Type="http://schemas.openxmlformats.org/officeDocument/2006/relationships/slideLayout" Target="../slideLayouts/slideLayout683.xml"/><Relationship Id="rId230" Type="http://schemas.openxmlformats.org/officeDocument/2006/relationships/slideLayout" Target="../slideLayouts/slideLayout694.xml"/><Relationship Id="rId251" Type="http://schemas.openxmlformats.org/officeDocument/2006/relationships/slideLayout" Target="../slideLayouts/slideLayout715.xml"/><Relationship Id="rId25" Type="http://schemas.openxmlformats.org/officeDocument/2006/relationships/slideLayout" Target="../slideLayouts/slideLayout489.xml"/><Relationship Id="rId46" Type="http://schemas.openxmlformats.org/officeDocument/2006/relationships/slideLayout" Target="../slideLayouts/slideLayout510.xml"/><Relationship Id="rId67" Type="http://schemas.openxmlformats.org/officeDocument/2006/relationships/slideLayout" Target="../slideLayouts/slideLayout531.xml"/><Relationship Id="rId272" Type="http://schemas.openxmlformats.org/officeDocument/2006/relationships/slideLayout" Target="../slideLayouts/slideLayout736.xml"/><Relationship Id="rId88" Type="http://schemas.openxmlformats.org/officeDocument/2006/relationships/slideLayout" Target="../slideLayouts/slideLayout552.xml"/><Relationship Id="rId111" Type="http://schemas.openxmlformats.org/officeDocument/2006/relationships/slideLayout" Target="../slideLayouts/slideLayout575.xml"/><Relationship Id="rId132" Type="http://schemas.openxmlformats.org/officeDocument/2006/relationships/slideLayout" Target="../slideLayouts/slideLayout596.xml"/><Relationship Id="rId153" Type="http://schemas.openxmlformats.org/officeDocument/2006/relationships/slideLayout" Target="../slideLayouts/slideLayout617.xml"/><Relationship Id="rId174" Type="http://schemas.openxmlformats.org/officeDocument/2006/relationships/slideLayout" Target="../slideLayouts/slideLayout638.xml"/><Relationship Id="rId195" Type="http://schemas.openxmlformats.org/officeDocument/2006/relationships/slideLayout" Target="../slideLayouts/slideLayout659.xml"/><Relationship Id="rId209" Type="http://schemas.openxmlformats.org/officeDocument/2006/relationships/slideLayout" Target="../slideLayouts/slideLayout673.xml"/><Relationship Id="rId220" Type="http://schemas.openxmlformats.org/officeDocument/2006/relationships/slideLayout" Target="../slideLayouts/slideLayout684.xml"/><Relationship Id="rId241" Type="http://schemas.openxmlformats.org/officeDocument/2006/relationships/slideLayout" Target="../slideLayouts/slideLayout705.xml"/><Relationship Id="rId15" Type="http://schemas.openxmlformats.org/officeDocument/2006/relationships/slideLayout" Target="../slideLayouts/slideLayout479.xml"/><Relationship Id="rId36" Type="http://schemas.openxmlformats.org/officeDocument/2006/relationships/slideLayout" Target="../slideLayouts/slideLayout500.xml"/><Relationship Id="rId57" Type="http://schemas.openxmlformats.org/officeDocument/2006/relationships/slideLayout" Target="../slideLayouts/slideLayout521.xml"/><Relationship Id="rId262" Type="http://schemas.openxmlformats.org/officeDocument/2006/relationships/slideLayout" Target="../slideLayouts/slideLayout726.xml"/><Relationship Id="rId283" Type="http://schemas.openxmlformats.org/officeDocument/2006/relationships/slideLayout" Target="../slideLayouts/slideLayout747.xml"/><Relationship Id="rId78" Type="http://schemas.openxmlformats.org/officeDocument/2006/relationships/slideLayout" Target="../slideLayouts/slideLayout542.xml"/><Relationship Id="rId99" Type="http://schemas.openxmlformats.org/officeDocument/2006/relationships/slideLayout" Target="../slideLayouts/slideLayout563.xml"/><Relationship Id="rId101" Type="http://schemas.openxmlformats.org/officeDocument/2006/relationships/slideLayout" Target="../slideLayouts/slideLayout565.xml"/><Relationship Id="rId122" Type="http://schemas.openxmlformats.org/officeDocument/2006/relationships/slideLayout" Target="../slideLayouts/slideLayout586.xml"/><Relationship Id="rId143" Type="http://schemas.openxmlformats.org/officeDocument/2006/relationships/slideLayout" Target="../slideLayouts/slideLayout607.xml"/><Relationship Id="rId164" Type="http://schemas.openxmlformats.org/officeDocument/2006/relationships/slideLayout" Target="../slideLayouts/slideLayout628.xml"/><Relationship Id="rId185" Type="http://schemas.openxmlformats.org/officeDocument/2006/relationships/slideLayout" Target="../slideLayouts/slideLayout649.xml"/><Relationship Id="rId9" Type="http://schemas.openxmlformats.org/officeDocument/2006/relationships/slideLayout" Target="../slideLayouts/slideLayout473.xml"/><Relationship Id="rId210" Type="http://schemas.openxmlformats.org/officeDocument/2006/relationships/slideLayout" Target="../slideLayouts/slideLayout674.xml"/><Relationship Id="rId26" Type="http://schemas.openxmlformats.org/officeDocument/2006/relationships/slideLayout" Target="../slideLayouts/slideLayout490.xml"/><Relationship Id="rId231" Type="http://schemas.openxmlformats.org/officeDocument/2006/relationships/slideLayout" Target="../slideLayouts/slideLayout695.xml"/><Relationship Id="rId252" Type="http://schemas.openxmlformats.org/officeDocument/2006/relationships/slideLayout" Target="../slideLayouts/slideLayout716.xml"/><Relationship Id="rId273" Type="http://schemas.openxmlformats.org/officeDocument/2006/relationships/slideLayout" Target="../slideLayouts/slideLayout737.xml"/><Relationship Id="rId47" Type="http://schemas.openxmlformats.org/officeDocument/2006/relationships/slideLayout" Target="../slideLayouts/slideLayout511.xml"/><Relationship Id="rId68" Type="http://schemas.openxmlformats.org/officeDocument/2006/relationships/slideLayout" Target="../slideLayouts/slideLayout532.xml"/><Relationship Id="rId89" Type="http://schemas.openxmlformats.org/officeDocument/2006/relationships/slideLayout" Target="../slideLayouts/slideLayout553.xml"/><Relationship Id="rId112" Type="http://schemas.openxmlformats.org/officeDocument/2006/relationships/slideLayout" Target="../slideLayouts/slideLayout576.xml"/><Relationship Id="rId133" Type="http://schemas.openxmlformats.org/officeDocument/2006/relationships/slideLayout" Target="../slideLayouts/slideLayout597.xml"/><Relationship Id="rId154" Type="http://schemas.openxmlformats.org/officeDocument/2006/relationships/slideLayout" Target="../slideLayouts/slideLayout618.xml"/><Relationship Id="rId175" Type="http://schemas.openxmlformats.org/officeDocument/2006/relationships/slideLayout" Target="../slideLayouts/slideLayout639.xml"/><Relationship Id="rId196" Type="http://schemas.openxmlformats.org/officeDocument/2006/relationships/slideLayout" Target="../slideLayouts/slideLayout660.xml"/><Relationship Id="rId200" Type="http://schemas.openxmlformats.org/officeDocument/2006/relationships/slideLayout" Target="../slideLayouts/slideLayout664.xml"/><Relationship Id="rId16" Type="http://schemas.openxmlformats.org/officeDocument/2006/relationships/slideLayout" Target="../slideLayouts/slideLayout480.xml"/><Relationship Id="rId221" Type="http://schemas.openxmlformats.org/officeDocument/2006/relationships/slideLayout" Target="../slideLayouts/slideLayout685.xml"/><Relationship Id="rId242" Type="http://schemas.openxmlformats.org/officeDocument/2006/relationships/slideLayout" Target="../slideLayouts/slideLayout706.xml"/><Relationship Id="rId263" Type="http://schemas.openxmlformats.org/officeDocument/2006/relationships/slideLayout" Target="../slideLayouts/slideLayout727.xml"/><Relationship Id="rId284" Type="http://schemas.openxmlformats.org/officeDocument/2006/relationships/slideLayout" Target="../slideLayouts/slideLayout748.xml"/><Relationship Id="rId37" Type="http://schemas.openxmlformats.org/officeDocument/2006/relationships/slideLayout" Target="../slideLayouts/slideLayout501.xml"/><Relationship Id="rId58" Type="http://schemas.openxmlformats.org/officeDocument/2006/relationships/slideLayout" Target="../slideLayouts/slideLayout522.xml"/><Relationship Id="rId79" Type="http://schemas.openxmlformats.org/officeDocument/2006/relationships/slideLayout" Target="../slideLayouts/slideLayout543.xml"/><Relationship Id="rId102" Type="http://schemas.openxmlformats.org/officeDocument/2006/relationships/slideLayout" Target="../slideLayouts/slideLayout566.xml"/><Relationship Id="rId123" Type="http://schemas.openxmlformats.org/officeDocument/2006/relationships/slideLayout" Target="../slideLayouts/slideLayout587.xml"/><Relationship Id="rId144" Type="http://schemas.openxmlformats.org/officeDocument/2006/relationships/slideLayout" Target="../slideLayouts/slideLayout608.xml"/><Relationship Id="rId90" Type="http://schemas.openxmlformats.org/officeDocument/2006/relationships/slideLayout" Target="../slideLayouts/slideLayout554.xml"/><Relationship Id="rId165" Type="http://schemas.openxmlformats.org/officeDocument/2006/relationships/slideLayout" Target="../slideLayouts/slideLayout629.xml"/><Relationship Id="rId186" Type="http://schemas.openxmlformats.org/officeDocument/2006/relationships/slideLayout" Target="../slideLayouts/slideLayout650.xml"/><Relationship Id="rId211" Type="http://schemas.openxmlformats.org/officeDocument/2006/relationships/slideLayout" Target="../slideLayouts/slideLayout675.xml"/><Relationship Id="rId232" Type="http://schemas.openxmlformats.org/officeDocument/2006/relationships/slideLayout" Target="../slideLayouts/slideLayout696.xml"/><Relationship Id="rId253" Type="http://schemas.openxmlformats.org/officeDocument/2006/relationships/slideLayout" Target="../slideLayouts/slideLayout717.xml"/><Relationship Id="rId274" Type="http://schemas.openxmlformats.org/officeDocument/2006/relationships/slideLayout" Target="../slideLayouts/slideLayout738.xml"/><Relationship Id="rId27" Type="http://schemas.openxmlformats.org/officeDocument/2006/relationships/slideLayout" Target="../slideLayouts/slideLayout491.xml"/><Relationship Id="rId48" Type="http://schemas.openxmlformats.org/officeDocument/2006/relationships/slideLayout" Target="../slideLayouts/slideLayout512.xml"/><Relationship Id="rId69" Type="http://schemas.openxmlformats.org/officeDocument/2006/relationships/slideLayout" Target="../slideLayouts/slideLayout533.xml"/><Relationship Id="rId113" Type="http://schemas.openxmlformats.org/officeDocument/2006/relationships/slideLayout" Target="../slideLayouts/slideLayout577.xml"/><Relationship Id="rId134" Type="http://schemas.openxmlformats.org/officeDocument/2006/relationships/slideLayout" Target="../slideLayouts/slideLayout598.xml"/><Relationship Id="rId80" Type="http://schemas.openxmlformats.org/officeDocument/2006/relationships/slideLayout" Target="../slideLayouts/slideLayout544.xml"/><Relationship Id="rId155" Type="http://schemas.openxmlformats.org/officeDocument/2006/relationships/slideLayout" Target="../slideLayouts/slideLayout619.xml"/><Relationship Id="rId176" Type="http://schemas.openxmlformats.org/officeDocument/2006/relationships/slideLayout" Target="../slideLayouts/slideLayout640.xml"/><Relationship Id="rId197" Type="http://schemas.openxmlformats.org/officeDocument/2006/relationships/slideLayout" Target="../slideLayouts/slideLayout661.xml"/><Relationship Id="rId201" Type="http://schemas.openxmlformats.org/officeDocument/2006/relationships/slideLayout" Target="../slideLayouts/slideLayout665.xml"/><Relationship Id="rId222" Type="http://schemas.openxmlformats.org/officeDocument/2006/relationships/slideLayout" Target="../slideLayouts/slideLayout686.xml"/><Relationship Id="rId243" Type="http://schemas.openxmlformats.org/officeDocument/2006/relationships/slideLayout" Target="../slideLayouts/slideLayout707.xml"/><Relationship Id="rId264" Type="http://schemas.openxmlformats.org/officeDocument/2006/relationships/slideLayout" Target="../slideLayouts/slideLayout728.xml"/><Relationship Id="rId285" Type="http://schemas.openxmlformats.org/officeDocument/2006/relationships/slideLayout" Target="../slideLayouts/slideLayout749.xml"/><Relationship Id="rId17" Type="http://schemas.openxmlformats.org/officeDocument/2006/relationships/slideLayout" Target="../slideLayouts/slideLayout481.xml"/><Relationship Id="rId38" Type="http://schemas.openxmlformats.org/officeDocument/2006/relationships/slideLayout" Target="../slideLayouts/slideLayout502.xml"/><Relationship Id="rId59" Type="http://schemas.openxmlformats.org/officeDocument/2006/relationships/slideLayout" Target="../slideLayouts/slideLayout523.xml"/><Relationship Id="rId103" Type="http://schemas.openxmlformats.org/officeDocument/2006/relationships/slideLayout" Target="../slideLayouts/slideLayout567.xml"/><Relationship Id="rId124" Type="http://schemas.openxmlformats.org/officeDocument/2006/relationships/slideLayout" Target="../slideLayouts/slideLayout588.xml"/><Relationship Id="rId70" Type="http://schemas.openxmlformats.org/officeDocument/2006/relationships/slideLayout" Target="../slideLayouts/slideLayout534.xml"/><Relationship Id="rId91" Type="http://schemas.openxmlformats.org/officeDocument/2006/relationships/slideLayout" Target="../slideLayouts/slideLayout555.xml"/><Relationship Id="rId145" Type="http://schemas.openxmlformats.org/officeDocument/2006/relationships/slideLayout" Target="../slideLayouts/slideLayout609.xml"/><Relationship Id="rId166" Type="http://schemas.openxmlformats.org/officeDocument/2006/relationships/slideLayout" Target="../slideLayouts/slideLayout630.xml"/><Relationship Id="rId187" Type="http://schemas.openxmlformats.org/officeDocument/2006/relationships/slideLayout" Target="../slideLayouts/slideLayout651.xml"/><Relationship Id="rId1" Type="http://schemas.openxmlformats.org/officeDocument/2006/relationships/slideLayout" Target="../slideLayouts/slideLayout465.xml"/><Relationship Id="rId212" Type="http://schemas.openxmlformats.org/officeDocument/2006/relationships/slideLayout" Target="../slideLayouts/slideLayout676.xml"/><Relationship Id="rId233" Type="http://schemas.openxmlformats.org/officeDocument/2006/relationships/slideLayout" Target="../slideLayouts/slideLayout697.xml"/><Relationship Id="rId254" Type="http://schemas.openxmlformats.org/officeDocument/2006/relationships/slideLayout" Target="../slideLayouts/slideLayout718.xml"/><Relationship Id="rId28" Type="http://schemas.openxmlformats.org/officeDocument/2006/relationships/slideLayout" Target="../slideLayouts/slideLayout492.xml"/><Relationship Id="rId49" Type="http://schemas.openxmlformats.org/officeDocument/2006/relationships/slideLayout" Target="../slideLayouts/slideLayout513.xml"/><Relationship Id="rId114" Type="http://schemas.openxmlformats.org/officeDocument/2006/relationships/slideLayout" Target="../slideLayouts/slideLayout578.xml"/><Relationship Id="rId275" Type="http://schemas.openxmlformats.org/officeDocument/2006/relationships/slideLayout" Target="../slideLayouts/slideLayout739.xml"/><Relationship Id="rId60" Type="http://schemas.openxmlformats.org/officeDocument/2006/relationships/slideLayout" Target="../slideLayouts/slideLayout524.xml"/><Relationship Id="rId81" Type="http://schemas.openxmlformats.org/officeDocument/2006/relationships/slideLayout" Target="../slideLayouts/slideLayout545.xml"/><Relationship Id="rId135" Type="http://schemas.openxmlformats.org/officeDocument/2006/relationships/slideLayout" Target="../slideLayouts/slideLayout599.xml"/><Relationship Id="rId156" Type="http://schemas.openxmlformats.org/officeDocument/2006/relationships/slideLayout" Target="../slideLayouts/slideLayout620.xml"/><Relationship Id="rId177" Type="http://schemas.openxmlformats.org/officeDocument/2006/relationships/slideLayout" Target="../slideLayouts/slideLayout641.xml"/><Relationship Id="rId198" Type="http://schemas.openxmlformats.org/officeDocument/2006/relationships/slideLayout" Target="../slideLayouts/slideLayout662.xml"/><Relationship Id="rId202" Type="http://schemas.openxmlformats.org/officeDocument/2006/relationships/slideLayout" Target="../slideLayouts/slideLayout666.xml"/><Relationship Id="rId223" Type="http://schemas.openxmlformats.org/officeDocument/2006/relationships/slideLayout" Target="../slideLayouts/slideLayout687.xml"/><Relationship Id="rId244" Type="http://schemas.openxmlformats.org/officeDocument/2006/relationships/slideLayout" Target="../slideLayouts/slideLayout708.xml"/><Relationship Id="rId18" Type="http://schemas.openxmlformats.org/officeDocument/2006/relationships/slideLayout" Target="../slideLayouts/slideLayout482.xml"/><Relationship Id="rId39" Type="http://schemas.openxmlformats.org/officeDocument/2006/relationships/slideLayout" Target="../slideLayouts/slideLayout503.xml"/><Relationship Id="rId265" Type="http://schemas.openxmlformats.org/officeDocument/2006/relationships/slideLayout" Target="../slideLayouts/slideLayout729.xml"/><Relationship Id="rId286" Type="http://schemas.openxmlformats.org/officeDocument/2006/relationships/slideLayout" Target="../slideLayouts/slideLayout750.xml"/><Relationship Id="rId50" Type="http://schemas.openxmlformats.org/officeDocument/2006/relationships/slideLayout" Target="../slideLayouts/slideLayout514.xml"/><Relationship Id="rId104" Type="http://schemas.openxmlformats.org/officeDocument/2006/relationships/slideLayout" Target="../slideLayouts/slideLayout568.xml"/><Relationship Id="rId125" Type="http://schemas.openxmlformats.org/officeDocument/2006/relationships/slideLayout" Target="../slideLayouts/slideLayout589.xml"/><Relationship Id="rId146" Type="http://schemas.openxmlformats.org/officeDocument/2006/relationships/slideLayout" Target="../slideLayouts/slideLayout610.xml"/><Relationship Id="rId167" Type="http://schemas.openxmlformats.org/officeDocument/2006/relationships/slideLayout" Target="../slideLayouts/slideLayout631.xml"/><Relationship Id="rId188" Type="http://schemas.openxmlformats.org/officeDocument/2006/relationships/slideLayout" Target="../slideLayouts/slideLayout652.xml"/><Relationship Id="rId71" Type="http://schemas.openxmlformats.org/officeDocument/2006/relationships/slideLayout" Target="../slideLayouts/slideLayout535.xml"/><Relationship Id="rId92" Type="http://schemas.openxmlformats.org/officeDocument/2006/relationships/slideLayout" Target="../slideLayouts/slideLayout556.xml"/><Relationship Id="rId213" Type="http://schemas.openxmlformats.org/officeDocument/2006/relationships/slideLayout" Target="../slideLayouts/slideLayout677.xml"/><Relationship Id="rId234" Type="http://schemas.openxmlformats.org/officeDocument/2006/relationships/slideLayout" Target="../slideLayouts/slideLayout698.xml"/><Relationship Id="rId2" Type="http://schemas.openxmlformats.org/officeDocument/2006/relationships/slideLayout" Target="../slideLayouts/slideLayout466.xml"/><Relationship Id="rId29" Type="http://schemas.openxmlformats.org/officeDocument/2006/relationships/slideLayout" Target="../slideLayouts/slideLayout493.xml"/><Relationship Id="rId255" Type="http://schemas.openxmlformats.org/officeDocument/2006/relationships/slideLayout" Target="../slideLayouts/slideLayout719.xml"/><Relationship Id="rId276" Type="http://schemas.openxmlformats.org/officeDocument/2006/relationships/slideLayout" Target="../slideLayouts/slideLayout740.xml"/><Relationship Id="rId40" Type="http://schemas.openxmlformats.org/officeDocument/2006/relationships/slideLayout" Target="../slideLayouts/slideLayout504.xml"/><Relationship Id="rId115" Type="http://schemas.openxmlformats.org/officeDocument/2006/relationships/slideLayout" Target="../slideLayouts/slideLayout579.xml"/><Relationship Id="rId136" Type="http://schemas.openxmlformats.org/officeDocument/2006/relationships/slideLayout" Target="../slideLayouts/slideLayout600.xml"/><Relationship Id="rId157" Type="http://schemas.openxmlformats.org/officeDocument/2006/relationships/slideLayout" Target="../slideLayouts/slideLayout621.xml"/><Relationship Id="rId178" Type="http://schemas.openxmlformats.org/officeDocument/2006/relationships/slideLayout" Target="../slideLayouts/slideLayout642.xml"/><Relationship Id="rId61" Type="http://schemas.openxmlformats.org/officeDocument/2006/relationships/slideLayout" Target="../slideLayouts/slideLayout525.xml"/><Relationship Id="rId82" Type="http://schemas.openxmlformats.org/officeDocument/2006/relationships/slideLayout" Target="../slideLayouts/slideLayout546.xml"/><Relationship Id="rId199" Type="http://schemas.openxmlformats.org/officeDocument/2006/relationships/slideLayout" Target="../slideLayouts/slideLayout663.xml"/><Relationship Id="rId203" Type="http://schemas.openxmlformats.org/officeDocument/2006/relationships/slideLayout" Target="../slideLayouts/slideLayout667.xml"/><Relationship Id="rId19" Type="http://schemas.openxmlformats.org/officeDocument/2006/relationships/slideLayout" Target="../slideLayouts/slideLayout483.xml"/><Relationship Id="rId224" Type="http://schemas.openxmlformats.org/officeDocument/2006/relationships/slideLayout" Target="../slideLayouts/slideLayout688.xml"/><Relationship Id="rId245" Type="http://schemas.openxmlformats.org/officeDocument/2006/relationships/slideLayout" Target="../slideLayouts/slideLayout709.xml"/><Relationship Id="rId266" Type="http://schemas.openxmlformats.org/officeDocument/2006/relationships/slideLayout" Target="../slideLayouts/slideLayout730.xml"/><Relationship Id="rId287" Type="http://schemas.openxmlformats.org/officeDocument/2006/relationships/theme" Target="../theme/theme3.xml"/><Relationship Id="rId30" Type="http://schemas.openxmlformats.org/officeDocument/2006/relationships/slideLayout" Target="../slideLayouts/slideLayout494.xml"/><Relationship Id="rId105" Type="http://schemas.openxmlformats.org/officeDocument/2006/relationships/slideLayout" Target="../slideLayouts/slideLayout569.xml"/><Relationship Id="rId126" Type="http://schemas.openxmlformats.org/officeDocument/2006/relationships/slideLayout" Target="../slideLayouts/slideLayout590.xml"/><Relationship Id="rId147" Type="http://schemas.openxmlformats.org/officeDocument/2006/relationships/slideLayout" Target="../slideLayouts/slideLayout611.xml"/><Relationship Id="rId168" Type="http://schemas.openxmlformats.org/officeDocument/2006/relationships/slideLayout" Target="../slideLayouts/slideLayout632.xml"/><Relationship Id="rId51" Type="http://schemas.openxmlformats.org/officeDocument/2006/relationships/slideLayout" Target="../slideLayouts/slideLayout515.xml"/><Relationship Id="rId72" Type="http://schemas.openxmlformats.org/officeDocument/2006/relationships/slideLayout" Target="../slideLayouts/slideLayout536.xml"/><Relationship Id="rId93" Type="http://schemas.openxmlformats.org/officeDocument/2006/relationships/slideLayout" Target="../slideLayouts/slideLayout557.xml"/><Relationship Id="rId189" Type="http://schemas.openxmlformats.org/officeDocument/2006/relationships/slideLayout" Target="../slideLayouts/slideLayout653.xml"/><Relationship Id="rId3" Type="http://schemas.openxmlformats.org/officeDocument/2006/relationships/slideLayout" Target="../slideLayouts/slideLayout467.xml"/><Relationship Id="rId214" Type="http://schemas.openxmlformats.org/officeDocument/2006/relationships/slideLayout" Target="../slideLayouts/slideLayout678.xml"/><Relationship Id="rId235" Type="http://schemas.openxmlformats.org/officeDocument/2006/relationships/slideLayout" Target="../slideLayouts/slideLayout699.xml"/><Relationship Id="rId256" Type="http://schemas.openxmlformats.org/officeDocument/2006/relationships/slideLayout" Target="../slideLayouts/slideLayout720.xml"/><Relationship Id="rId277" Type="http://schemas.openxmlformats.org/officeDocument/2006/relationships/slideLayout" Target="../slideLayouts/slideLayout741.xml"/><Relationship Id="rId116" Type="http://schemas.openxmlformats.org/officeDocument/2006/relationships/slideLayout" Target="../slideLayouts/slideLayout580.xml"/><Relationship Id="rId137" Type="http://schemas.openxmlformats.org/officeDocument/2006/relationships/slideLayout" Target="../slideLayouts/slideLayout601.xml"/><Relationship Id="rId158" Type="http://schemas.openxmlformats.org/officeDocument/2006/relationships/slideLayout" Target="../slideLayouts/slideLayout622.xml"/><Relationship Id="rId20" Type="http://schemas.openxmlformats.org/officeDocument/2006/relationships/slideLayout" Target="../slideLayouts/slideLayout484.xml"/><Relationship Id="rId41" Type="http://schemas.openxmlformats.org/officeDocument/2006/relationships/slideLayout" Target="../slideLayouts/slideLayout505.xml"/><Relationship Id="rId62" Type="http://schemas.openxmlformats.org/officeDocument/2006/relationships/slideLayout" Target="../slideLayouts/slideLayout526.xml"/><Relationship Id="rId83" Type="http://schemas.openxmlformats.org/officeDocument/2006/relationships/slideLayout" Target="../slideLayouts/slideLayout547.xml"/><Relationship Id="rId179" Type="http://schemas.openxmlformats.org/officeDocument/2006/relationships/slideLayout" Target="../slideLayouts/slideLayout643.xml"/><Relationship Id="rId190" Type="http://schemas.openxmlformats.org/officeDocument/2006/relationships/slideLayout" Target="../slideLayouts/slideLayout654.xml"/><Relationship Id="rId204" Type="http://schemas.openxmlformats.org/officeDocument/2006/relationships/slideLayout" Target="../slideLayouts/slideLayout668.xml"/><Relationship Id="rId225" Type="http://schemas.openxmlformats.org/officeDocument/2006/relationships/slideLayout" Target="../slideLayouts/slideLayout689.xml"/><Relationship Id="rId246" Type="http://schemas.openxmlformats.org/officeDocument/2006/relationships/slideLayout" Target="../slideLayouts/slideLayout710.xml"/><Relationship Id="rId267" Type="http://schemas.openxmlformats.org/officeDocument/2006/relationships/slideLayout" Target="../slideLayouts/slideLayout731.xml"/><Relationship Id="rId106" Type="http://schemas.openxmlformats.org/officeDocument/2006/relationships/slideLayout" Target="../slideLayouts/slideLayout570.xml"/><Relationship Id="rId127" Type="http://schemas.openxmlformats.org/officeDocument/2006/relationships/slideLayout" Target="../slideLayouts/slideLayout591.xml"/><Relationship Id="rId10" Type="http://schemas.openxmlformats.org/officeDocument/2006/relationships/slideLayout" Target="../slideLayouts/slideLayout474.xml"/><Relationship Id="rId31" Type="http://schemas.openxmlformats.org/officeDocument/2006/relationships/slideLayout" Target="../slideLayouts/slideLayout495.xml"/><Relationship Id="rId52" Type="http://schemas.openxmlformats.org/officeDocument/2006/relationships/slideLayout" Target="../slideLayouts/slideLayout516.xml"/><Relationship Id="rId73" Type="http://schemas.openxmlformats.org/officeDocument/2006/relationships/slideLayout" Target="../slideLayouts/slideLayout537.xml"/><Relationship Id="rId94" Type="http://schemas.openxmlformats.org/officeDocument/2006/relationships/slideLayout" Target="../slideLayouts/slideLayout558.xml"/><Relationship Id="rId148" Type="http://schemas.openxmlformats.org/officeDocument/2006/relationships/slideLayout" Target="../slideLayouts/slideLayout612.xml"/><Relationship Id="rId169" Type="http://schemas.openxmlformats.org/officeDocument/2006/relationships/slideLayout" Target="../slideLayouts/slideLayout633.xml"/><Relationship Id="rId4" Type="http://schemas.openxmlformats.org/officeDocument/2006/relationships/slideLayout" Target="../slideLayouts/slideLayout468.xml"/><Relationship Id="rId180" Type="http://schemas.openxmlformats.org/officeDocument/2006/relationships/slideLayout" Target="../slideLayouts/slideLayout644.xml"/><Relationship Id="rId215" Type="http://schemas.openxmlformats.org/officeDocument/2006/relationships/slideLayout" Target="../slideLayouts/slideLayout679.xml"/><Relationship Id="rId236" Type="http://schemas.openxmlformats.org/officeDocument/2006/relationships/slideLayout" Target="../slideLayouts/slideLayout700.xml"/><Relationship Id="rId257" Type="http://schemas.openxmlformats.org/officeDocument/2006/relationships/slideLayout" Target="../slideLayouts/slideLayout721.xml"/><Relationship Id="rId278" Type="http://schemas.openxmlformats.org/officeDocument/2006/relationships/slideLayout" Target="../slideLayouts/slideLayout742.xml"/><Relationship Id="rId42" Type="http://schemas.openxmlformats.org/officeDocument/2006/relationships/slideLayout" Target="../slideLayouts/slideLayout506.xml"/><Relationship Id="rId84" Type="http://schemas.openxmlformats.org/officeDocument/2006/relationships/slideLayout" Target="../slideLayouts/slideLayout548.xml"/><Relationship Id="rId138" Type="http://schemas.openxmlformats.org/officeDocument/2006/relationships/slideLayout" Target="../slideLayouts/slideLayout602.xml"/><Relationship Id="rId191" Type="http://schemas.openxmlformats.org/officeDocument/2006/relationships/slideLayout" Target="../slideLayouts/slideLayout655.xml"/><Relationship Id="rId205" Type="http://schemas.openxmlformats.org/officeDocument/2006/relationships/slideLayout" Target="../slideLayouts/slideLayout669.xml"/><Relationship Id="rId247" Type="http://schemas.openxmlformats.org/officeDocument/2006/relationships/slideLayout" Target="../slideLayouts/slideLayout711.xml"/><Relationship Id="rId107" Type="http://schemas.openxmlformats.org/officeDocument/2006/relationships/slideLayout" Target="../slideLayouts/slideLayout571.xml"/><Relationship Id="rId11" Type="http://schemas.openxmlformats.org/officeDocument/2006/relationships/slideLayout" Target="../slideLayouts/slideLayout475.xml"/><Relationship Id="rId53" Type="http://schemas.openxmlformats.org/officeDocument/2006/relationships/slideLayout" Target="../slideLayouts/slideLayout517.xml"/><Relationship Id="rId149" Type="http://schemas.openxmlformats.org/officeDocument/2006/relationships/slideLayout" Target="../slideLayouts/slideLayout613.xml"/><Relationship Id="rId95" Type="http://schemas.openxmlformats.org/officeDocument/2006/relationships/slideLayout" Target="../slideLayouts/slideLayout559.xml"/><Relationship Id="rId160" Type="http://schemas.openxmlformats.org/officeDocument/2006/relationships/slideLayout" Target="../slideLayouts/slideLayout624.xml"/><Relationship Id="rId216" Type="http://schemas.openxmlformats.org/officeDocument/2006/relationships/slideLayout" Target="../slideLayouts/slideLayout680.xml"/><Relationship Id="rId258" Type="http://schemas.openxmlformats.org/officeDocument/2006/relationships/slideLayout" Target="../slideLayouts/slideLayout722.xml"/><Relationship Id="rId22" Type="http://schemas.openxmlformats.org/officeDocument/2006/relationships/slideLayout" Target="../slideLayouts/slideLayout486.xml"/><Relationship Id="rId64" Type="http://schemas.openxmlformats.org/officeDocument/2006/relationships/slideLayout" Target="../slideLayouts/slideLayout528.xml"/><Relationship Id="rId118" Type="http://schemas.openxmlformats.org/officeDocument/2006/relationships/slideLayout" Target="../slideLayouts/slideLayout58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8.xml"/><Relationship Id="rId3" Type="http://schemas.openxmlformats.org/officeDocument/2006/relationships/slideLayout" Target="../slideLayouts/slideLayout753.xml"/><Relationship Id="rId7" Type="http://schemas.openxmlformats.org/officeDocument/2006/relationships/slideLayout" Target="../slideLayouts/slideLayout757.xml"/><Relationship Id="rId2" Type="http://schemas.openxmlformats.org/officeDocument/2006/relationships/slideLayout" Target="../slideLayouts/slideLayout752.xml"/><Relationship Id="rId1" Type="http://schemas.openxmlformats.org/officeDocument/2006/relationships/slideLayout" Target="../slideLayouts/slideLayout751.xml"/><Relationship Id="rId6" Type="http://schemas.openxmlformats.org/officeDocument/2006/relationships/slideLayout" Target="../slideLayouts/slideLayout756.xml"/><Relationship Id="rId5" Type="http://schemas.openxmlformats.org/officeDocument/2006/relationships/slideLayout" Target="../slideLayouts/slideLayout755.xml"/><Relationship Id="rId4" Type="http://schemas.openxmlformats.org/officeDocument/2006/relationships/slideLayout" Target="../slideLayouts/slideLayout754.xml"/><Relationship Id="rId9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7" r:id="rId1"/>
    <p:sldLayoutId id="2147484668" r:id="rId2"/>
    <p:sldLayoutId id="2147484669" r:id="rId3"/>
    <p:sldLayoutId id="2147484670" r:id="rId4"/>
    <p:sldLayoutId id="2147484671" r:id="rId5"/>
    <p:sldLayoutId id="2147484214" r:id="rId6"/>
    <p:sldLayoutId id="2147484672" r:id="rId7"/>
    <p:sldLayoutId id="2147484673" r:id="rId8"/>
    <p:sldLayoutId id="2147484674" r:id="rId9"/>
    <p:sldLayoutId id="2147484675" r:id="rId10"/>
    <p:sldLayoutId id="2147484676" r:id="rId11"/>
    <p:sldLayoutId id="2147484641" r:id="rId12"/>
    <p:sldLayoutId id="214748495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6420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9" r:id="rId4"/>
    <p:sldLayoutId id="2147484090" r:id="rId5"/>
    <p:sldLayoutId id="2147484091" r:id="rId6"/>
    <p:sldLayoutId id="2147484092" r:id="rId7"/>
    <p:sldLayoutId id="2147484093" r:id="rId8"/>
    <p:sldLayoutId id="2147484094" r:id="rId9"/>
    <p:sldLayoutId id="2147484095" r:id="rId10"/>
    <p:sldLayoutId id="2147484096" r:id="rId11"/>
    <p:sldLayoutId id="2147484097" r:id="rId12"/>
    <p:sldLayoutId id="2147484098" r:id="rId13"/>
    <p:sldLayoutId id="2147484100" r:id="rId14"/>
    <p:sldLayoutId id="2147484101" r:id="rId15"/>
    <p:sldLayoutId id="2147484102" r:id="rId16"/>
    <p:sldLayoutId id="2147484103" r:id="rId17"/>
    <p:sldLayoutId id="2147484104" r:id="rId18"/>
    <p:sldLayoutId id="2147484106" r:id="rId19"/>
    <p:sldLayoutId id="2147484107" r:id="rId20"/>
    <p:sldLayoutId id="2147484108" r:id="rId21"/>
    <p:sldLayoutId id="2147484109" r:id="rId22"/>
    <p:sldLayoutId id="2147484110" r:id="rId23"/>
    <p:sldLayoutId id="2147484111" r:id="rId24"/>
    <p:sldLayoutId id="2147484112" r:id="rId25"/>
    <p:sldLayoutId id="2147484113" r:id="rId26"/>
    <p:sldLayoutId id="2147484114" r:id="rId27"/>
    <p:sldLayoutId id="2147484115" r:id="rId28"/>
    <p:sldLayoutId id="2147484116" r:id="rId29"/>
    <p:sldLayoutId id="2147484117" r:id="rId30"/>
    <p:sldLayoutId id="2147484118" r:id="rId31"/>
    <p:sldLayoutId id="2147484119" r:id="rId32"/>
    <p:sldLayoutId id="2147484120" r:id="rId33"/>
    <p:sldLayoutId id="2147484121" r:id="rId34"/>
    <p:sldLayoutId id="2147484122" r:id="rId35"/>
    <p:sldLayoutId id="2147484123" r:id="rId36"/>
    <p:sldLayoutId id="2147484124" r:id="rId37"/>
    <p:sldLayoutId id="2147484126" r:id="rId38"/>
    <p:sldLayoutId id="2147484127" r:id="rId39"/>
    <p:sldLayoutId id="2147484128" r:id="rId40"/>
    <p:sldLayoutId id="2147484129" r:id="rId41"/>
    <p:sldLayoutId id="2147484130" r:id="rId42"/>
    <p:sldLayoutId id="2147484131" r:id="rId43"/>
    <p:sldLayoutId id="2147484132" r:id="rId44"/>
    <p:sldLayoutId id="2147484133" r:id="rId45"/>
    <p:sldLayoutId id="2147484134" r:id="rId46"/>
    <p:sldLayoutId id="2147484135" r:id="rId47"/>
    <p:sldLayoutId id="2147484136" r:id="rId48"/>
    <p:sldLayoutId id="2147484137" r:id="rId49"/>
    <p:sldLayoutId id="2147484138" r:id="rId50"/>
    <p:sldLayoutId id="2147484140" r:id="rId51"/>
    <p:sldLayoutId id="2147484141" r:id="rId52"/>
    <p:sldLayoutId id="2147484142" r:id="rId53"/>
    <p:sldLayoutId id="2147484143" r:id="rId54"/>
    <p:sldLayoutId id="2147484144" r:id="rId55"/>
    <p:sldLayoutId id="2147484145" r:id="rId56"/>
    <p:sldLayoutId id="2147484146" r:id="rId57"/>
    <p:sldLayoutId id="2147484147" r:id="rId58"/>
    <p:sldLayoutId id="2147484150" r:id="rId59"/>
    <p:sldLayoutId id="2147484151" r:id="rId60"/>
    <p:sldLayoutId id="2147484152" r:id="rId61"/>
    <p:sldLayoutId id="2147484153" r:id="rId62"/>
    <p:sldLayoutId id="2147484154" r:id="rId63"/>
    <p:sldLayoutId id="2147484155" r:id="rId64"/>
    <p:sldLayoutId id="2147484156" r:id="rId65"/>
    <p:sldLayoutId id="2147484157" r:id="rId66"/>
    <p:sldLayoutId id="2147484158" r:id="rId67"/>
    <p:sldLayoutId id="2147484159" r:id="rId68"/>
    <p:sldLayoutId id="2147484160" r:id="rId69"/>
    <p:sldLayoutId id="2147484161" r:id="rId70"/>
    <p:sldLayoutId id="2147484163" r:id="rId71"/>
    <p:sldLayoutId id="2147484164" r:id="rId72"/>
    <p:sldLayoutId id="2147484165" r:id="rId73"/>
    <p:sldLayoutId id="2147484166" r:id="rId74"/>
    <p:sldLayoutId id="2147484168" r:id="rId75"/>
    <p:sldLayoutId id="2147484169" r:id="rId76"/>
    <p:sldLayoutId id="2147484170" r:id="rId77"/>
    <p:sldLayoutId id="2147484171" r:id="rId78"/>
    <p:sldLayoutId id="2147484172" r:id="rId79"/>
    <p:sldLayoutId id="2147484173" r:id="rId80"/>
    <p:sldLayoutId id="2147484174" r:id="rId81"/>
    <p:sldLayoutId id="2147484175" r:id="rId82"/>
    <p:sldLayoutId id="2147484176" r:id="rId83"/>
    <p:sldLayoutId id="2147484177" r:id="rId84"/>
    <p:sldLayoutId id="2147484178" r:id="rId85"/>
    <p:sldLayoutId id="2147484179" r:id="rId86"/>
    <p:sldLayoutId id="2147484180" r:id="rId87"/>
    <p:sldLayoutId id="2147484181" r:id="rId88"/>
    <p:sldLayoutId id="2147484182" r:id="rId89"/>
    <p:sldLayoutId id="2147484183" r:id="rId90"/>
    <p:sldLayoutId id="2147484184" r:id="rId91"/>
    <p:sldLayoutId id="2147484185" r:id="rId92"/>
    <p:sldLayoutId id="2147484186" r:id="rId93"/>
    <p:sldLayoutId id="2147484187" r:id="rId94"/>
    <p:sldLayoutId id="2147484188" r:id="rId95"/>
    <p:sldLayoutId id="2147484189" r:id="rId96"/>
    <p:sldLayoutId id="2147484190" r:id="rId97"/>
    <p:sldLayoutId id="2147484191" r:id="rId98"/>
    <p:sldLayoutId id="2147484192" r:id="rId99"/>
    <p:sldLayoutId id="2147484193" r:id="rId100"/>
    <p:sldLayoutId id="2147484195" r:id="rId101"/>
    <p:sldLayoutId id="2147484196" r:id="rId102"/>
    <p:sldLayoutId id="2147484197" r:id="rId103"/>
    <p:sldLayoutId id="2147484198" r:id="rId104"/>
    <p:sldLayoutId id="2147484199" r:id="rId105"/>
    <p:sldLayoutId id="2147484200" r:id="rId106"/>
    <p:sldLayoutId id="2147484201" r:id="rId107"/>
    <p:sldLayoutId id="2147484202" r:id="rId108"/>
    <p:sldLayoutId id="2147484203" r:id="rId109"/>
    <p:sldLayoutId id="2147484204" r:id="rId110"/>
    <p:sldLayoutId id="2147484205" r:id="rId111"/>
    <p:sldLayoutId id="2147484206" r:id="rId112"/>
    <p:sldLayoutId id="2147484208" r:id="rId113"/>
    <p:sldLayoutId id="2147484209" r:id="rId114"/>
    <p:sldLayoutId id="2147484210" r:id="rId115"/>
    <p:sldLayoutId id="2147484211" r:id="rId116"/>
    <p:sldLayoutId id="2147484212" r:id="rId117"/>
    <p:sldLayoutId id="2147484213" r:id="rId118"/>
    <p:sldLayoutId id="2147484215" r:id="rId119"/>
    <p:sldLayoutId id="2147484216" r:id="rId120"/>
    <p:sldLayoutId id="2147484217" r:id="rId121"/>
    <p:sldLayoutId id="2147484218" r:id="rId122"/>
    <p:sldLayoutId id="2147484219" r:id="rId123"/>
    <p:sldLayoutId id="2147484220" r:id="rId124"/>
    <p:sldLayoutId id="2147484223" r:id="rId125"/>
    <p:sldLayoutId id="2147484225" r:id="rId126"/>
    <p:sldLayoutId id="2147484226" r:id="rId127"/>
    <p:sldLayoutId id="2147484227" r:id="rId128"/>
    <p:sldLayoutId id="2147484228" r:id="rId129"/>
    <p:sldLayoutId id="2147484953" r:id="rId130"/>
    <p:sldLayoutId id="2147484230" r:id="rId131"/>
    <p:sldLayoutId id="2147484231" r:id="rId132"/>
    <p:sldLayoutId id="2147484232" r:id="rId133"/>
    <p:sldLayoutId id="2147484233" r:id="rId134"/>
    <p:sldLayoutId id="2147484234" r:id="rId135"/>
    <p:sldLayoutId id="2147484954" r:id="rId136"/>
    <p:sldLayoutId id="2147484955" r:id="rId137"/>
    <p:sldLayoutId id="2147484238" r:id="rId138"/>
    <p:sldLayoutId id="2147484239" r:id="rId139"/>
    <p:sldLayoutId id="2147484240" r:id="rId140"/>
    <p:sldLayoutId id="2147484956" r:id="rId141"/>
    <p:sldLayoutId id="2147484242" r:id="rId142"/>
    <p:sldLayoutId id="2147484243" r:id="rId143"/>
    <p:sldLayoutId id="2147484245" r:id="rId144"/>
    <p:sldLayoutId id="2147484246" r:id="rId145"/>
    <p:sldLayoutId id="2147484247" r:id="rId146"/>
    <p:sldLayoutId id="2147484248" r:id="rId147"/>
    <p:sldLayoutId id="2147484957" r:id="rId148"/>
    <p:sldLayoutId id="2147484250" r:id="rId149"/>
    <p:sldLayoutId id="2147484958" r:id="rId150"/>
    <p:sldLayoutId id="2147484959" r:id="rId151"/>
    <p:sldLayoutId id="2147484253" r:id="rId152"/>
    <p:sldLayoutId id="2147484254" r:id="rId153"/>
    <p:sldLayoutId id="2147484255" r:id="rId154"/>
    <p:sldLayoutId id="2147484256" r:id="rId155"/>
    <p:sldLayoutId id="2147484960" r:id="rId156"/>
    <p:sldLayoutId id="2147484961" r:id="rId157"/>
    <p:sldLayoutId id="2147484259" r:id="rId158"/>
    <p:sldLayoutId id="2147484260" r:id="rId159"/>
    <p:sldLayoutId id="2147484261" r:id="rId160"/>
    <p:sldLayoutId id="2147484262" r:id="rId161"/>
    <p:sldLayoutId id="2147484962" r:id="rId162"/>
    <p:sldLayoutId id="2147484264" r:id="rId163"/>
    <p:sldLayoutId id="2147484265" r:id="rId164"/>
    <p:sldLayoutId id="2147484963" r:id="rId165"/>
    <p:sldLayoutId id="2147484964" r:id="rId166"/>
    <p:sldLayoutId id="2147484965" r:id="rId167"/>
    <p:sldLayoutId id="2147484269" r:id="rId168"/>
    <p:sldLayoutId id="2147484270" r:id="rId169"/>
    <p:sldLayoutId id="2147484271" r:id="rId170"/>
    <p:sldLayoutId id="2147484272" r:id="rId171"/>
    <p:sldLayoutId id="2147484273" r:id="rId172"/>
    <p:sldLayoutId id="2147484274" r:id="rId173"/>
    <p:sldLayoutId id="2147484966" r:id="rId174"/>
    <p:sldLayoutId id="2147484276" r:id="rId175"/>
    <p:sldLayoutId id="2147484277" r:id="rId176"/>
    <p:sldLayoutId id="2147484278" r:id="rId177"/>
    <p:sldLayoutId id="2147484279" r:id="rId178"/>
    <p:sldLayoutId id="2147484280" r:id="rId179"/>
    <p:sldLayoutId id="2147484967" r:id="rId180"/>
    <p:sldLayoutId id="2147484968" r:id="rId181"/>
    <p:sldLayoutId id="2147484969" r:id="rId182"/>
    <p:sldLayoutId id="2147484284" r:id="rId183"/>
    <p:sldLayoutId id="2147484285" r:id="rId184"/>
    <p:sldLayoutId id="2147484286" r:id="rId185"/>
    <p:sldLayoutId id="2147484287" r:id="rId186"/>
    <p:sldLayoutId id="2147484288" r:id="rId187"/>
    <p:sldLayoutId id="2147484970" r:id="rId188"/>
    <p:sldLayoutId id="2147484972" r:id="rId189"/>
    <p:sldLayoutId id="2147484221" r:id="rId190"/>
    <p:sldLayoutId id="2147484222" r:id="rId191"/>
    <p:sldLayoutId id="2147484678" r:id="rId192"/>
    <p:sldLayoutId id="2147484224" r:id="rId193"/>
    <p:sldLayoutId id="2147484679" r:id="rId194"/>
    <p:sldLayoutId id="2147484680" r:id="rId195"/>
    <p:sldLayoutId id="2147484681" r:id="rId196"/>
    <p:sldLayoutId id="2147484682" r:id="rId197"/>
    <p:sldLayoutId id="2147484229" r:id="rId198"/>
    <p:sldLayoutId id="2147484398" r:id="rId199"/>
    <p:sldLayoutId id="2147484684" r:id="rId200"/>
    <p:sldLayoutId id="2147484403" r:id="rId201"/>
    <p:sldLayoutId id="2147484406" r:id="rId202"/>
    <p:sldLayoutId id="2147484408" r:id="rId203"/>
    <p:sldLayoutId id="2147484409" r:id="rId204"/>
    <p:sldLayoutId id="2147484410" r:id="rId205"/>
    <p:sldLayoutId id="2147484411" r:id="rId206"/>
    <p:sldLayoutId id="2147484414" r:id="rId207"/>
    <p:sldLayoutId id="2147484415" r:id="rId208"/>
    <p:sldLayoutId id="2147484416" r:id="rId209"/>
    <p:sldLayoutId id="2147484417" r:id="rId210"/>
    <p:sldLayoutId id="2147484418" r:id="rId211"/>
    <p:sldLayoutId id="2147484419" r:id="rId212"/>
    <p:sldLayoutId id="2147484420" r:id="rId213"/>
    <p:sldLayoutId id="2147484421" r:id="rId214"/>
    <p:sldLayoutId id="2147484423" r:id="rId215"/>
    <p:sldLayoutId id="2147484424" r:id="rId216"/>
    <p:sldLayoutId id="2147484425" r:id="rId217"/>
    <p:sldLayoutId id="2147484426" r:id="rId218"/>
    <p:sldLayoutId id="2147484427" r:id="rId219"/>
    <p:sldLayoutId id="2147484428" r:id="rId220"/>
    <p:sldLayoutId id="2147484429" r:id="rId221"/>
    <p:sldLayoutId id="2147484685" r:id="rId222"/>
    <p:sldLayoutId id="2147484686" r:id="rId223"/>
    <p:sldLayoutId id="2147484687" r:id="rId224"/>
    <p:sldLayoutId id="2147484688" r:id="rId225"/>
    <p:sldLayoutId id="2147484235" r:id="rId226"/>
    <p:sldLayoutId id="2147484236" r:id="rId227"/>
    <p:sldLayoutId id="2147484237" r:id="rId228"/>
    <p:sldLayoutId id="2147484691" r:id="rId229"/>
    <p:sldLayoutId id="2147484692" r:id="rId230"/>
    <p:sldLayoutId id="2147484693" r:id="rId231"/>
    <p:sldLayoutId id="2147484241" r:id="rId232"/>
    <p:sldLayoutId id="2147484695" r:id="rId233"/>
    <p:sldLayoutId id="2147484696" r:id="rId234"/>
    <p:sldLayoutId id="2147484313" r:id="rId235"/>
    <p:sldLayoutId id="2147484314" r:id="rId236"/>
    <p:sldLayoutId id="2147484315" r:id="rId237"/>
    <p:sldLayoutId id="2147484975" r:id="rId238"/>
    <p:sldLayoutId id="2147484317" r:id="rId239"/>
    <p:sldLayoutId id="2147484976" r:id="rId240"/>
    <p:sldLayoutId id="2147484977" r:id="rId241"/>
    <p:sldLayoutId id="2147484320" r:id="rId242"/>
    <p:sldLayoutId id="2147484321" r:id="rId243"/>
    <p:sldLayoutId id="2147484322" r:id="rId244"/>
    <p:sldLayoutId id="2147484323" r:id="rId245"/>
    <p:sldLayoutId id="2147484324" r:id="rId246"/>
    <p:sldLayoutId id="2147484325" r:id="rId247"/>
    <p:sldLayoutId id="2147484326" r:id="rId248"/>
    <p:sldLayoutId id="2147484327" r:id="rId249"/>
    <p:sldLayoutId id="2147484328" r:id="rId250"/>
    <p:sldLayoutId id="2147484329" r:id="rId251"/>
    <p:sldLayoutId id="2147484330" r:id="rId252"/>
    <p:sldLayoutId id="2147484331" r:id="rId253"/>
    <p:sldLayoutId id="2147484332" r:id="rId254"/>
    <p:sldLayoutId id="2147484334" r:id="rId255"/>
    <p:sldLayoutId id="2147484335" r:id="rId256"/>
    <p:sldLayoutId id="2147484336" r:id="rId257"/>
    <p:sldLayoutId id="2147484337" r:id="rId258"/>
    <p:sldLayoutId id="2147484338" r:id="rId259"/>
    <p:sldLayoutId id="2147484339" r:id="rId260"/>
    <p:sldLayoutId id="2147484340" r:id="rId261"/>
    <p:sldLayoutId id="2147484341" r:id="rId262"/>
    <p:sldLayoutId id="2147484342" r:id="rId263"/>
    <p:sldLayoutId id="2147484343" r:id="rId264"/>
    <p:sldLayoutId id="2147484345" r:id="rId265"/>
    <p:sldLayoutId id="2147484346" r:id="rId266"/>
    <p:sldLayoutId id="2147484347" r:id="rId267"/>
    <p:sldLayoutId id="2147484348" r:id="rId268"/>
    <p:sldLayoutId id="2147484349" r:id="rId269"/>
    <p:sldLayoutId id="2147484350" r:id="rId270"/>
    <p:sldLayoutId id="2147484351" r:id="rId271"/>
    <p:sldLayoutId id="2147484352" r:id="rId272"/>
    <p:sldLayoutId id="2147484353" r:id="rId273"/>
    <p:sldLayoutId id="2147484354" r:id="rId274"/>
    <p:sldLayoutId id="2147484358" r:id="rId275"/>
    <p:sldLayoutId id="2147484244" r:id="rId276"/>
    <p:sldLayoutId id="2147484303" r:id="rId277"/>
    <p:sldLayoutId id="2147484697" r:id="rId278"/>
    <p:sldLayoutId id="2147484698" r:id="rId279"/>
    <p:sldLayoutId id="2147484699" r:id="rId280"/>
    <p:sldLayoutId id="2147484700" r:id="rId281"/>
    <p:sldLayoutId id="2147484249" r:id="rId282"/>
    <p:sldLayoutId id="2147484702" r:id="rId283"/>
    <p:sldLayoutId id="2147484251" r:id="rId284"/>
    <p:sldLayoutId id="2147484252" r:id="rId285"/>
    <p:sldLayoutId id="2147484705" r:id="rId286"/>
    <p:sldLayoutId id="2147484706" r:id="rId287"/>
    <p:sldLayoutId id="2147484707" r:id="rId288"/>
    <p:sldLayoutId id="2147484708" r:id="rId289"/>
    <p:sldLayoutId id="2147484257" r:id="rId290"/>
    <p:sldLayoutId id="2147484258" r:id="rId291"/>
    <p:sldLayoutId id="2147484711" r:id="rId292"/>
    <p:sldLayoutId id="2147484712" r:id="rId293"/>
    <p:sldLayoutId id="2147484366" r:id="rId294"/>
    <p:sldLayoutId id="2147484367" r:id="rId295"/>
    <p:sldLayoutId id="2147484368" r:id="rId296"/>
    <p:sldLayoutId id="2147484369" r:id="rId297"/>
    <p:sldLayoutId id="2147484370" r:id="rId298"/>
    <p:sldLayoutId id="2147484371" r:id="rId299"/>
    <p:sldLayoutId id="2147484372" r:id="rId300"/>
    <p:sldLayoutId id="2147484373" r:id="rId301"/>
    <p:sldLayoutId id="2147484374" r:id="rId302"/>
    <p:sldLayoutId id="2147484376" r:id="rId303"/>
    <p:sldLayoutId id="2147484381" r:id="rId304"/>
    <p:sldLayoutId id="2147484713" r:id="rId305"/>
    <p:sldLayoutId id="2147484714" r:id="rId306"/>
    <p:sldLayoutId id="2147484263" r:id="rId307"/>
    <p:sldLayoutId id="2147484716" r:id="rId308"/>
    <p:sldLayoutId id="2147484717" r:id="rId309"/>
    <p:sldLayoutId id="2147484266" r:id="rId310"/>
    <p:sldLayoutId id="2147484267" r:id="rId311"/>
    <p:sldLayoutId id="2147484268" r:id="rId312"/>
    <p:sldLayoutId id="2147484722" r:id="rId313"/>
    <p:sldLayoutId id="2147484723" r:id="rId314"/>
    <p:sldLayoutId id="2147484724" r:id="rId315"/>
    <p:sldLayoutId id="2147484725" r:id="rId316"/>
    <p:sldLayoutId id="2147484726" r:id="rId317"/>
    <p:sldLayoutId id="2147484275" r:id="rId318"/>
    <p:sldLayoutId id="2147484728" r:id="rId319"/>
    <p:sldLayoutId id="2147484389" r:id="rId320"/>
    <p:sldLayoutId id="2147484729" r:id="rId321"/>
    <p:sldLayoutId id="2147484433" r:id="rId322"/>
    <p:sldLayoutId id="2147484732" r:id="rId323"/>
    <p:sldLayoutId id="2147484281" r:id="rId324"/>
    <p:sldLayoutId id="2147484282" r:id="rId325"/>
    <p:sldLayoutId id="2147484283" r:id="rId326"/>
    <p:sldLayoutId id="2147484736" r:id="rId327"/>
    <p:sldLayoutId id="2147484737" r:id="rId328"/>
    <p:sldLayoutId id="2147484738" r:id="rId329"/>
    <p:sldLayoutId id="2147484739" r:id="rId330"/>
    <p:sldLayoutId id="2147484740" r:id="rId331"/>
    <p:sldLayoutId id="2147484289" r:id="rId332"/>
    <p:sldLayoutId id="2147484290" r:id="rId333"/>
    <p:sldLayoutId id="2147484444" r:id="rId334"/>
    <p:sldLayoutId id="2147484445" r:id="rId335"/>
    <p:sldLayoutId id="2147484446" r:id="rId336"/>
    <p:sldLayoutId id="2147484448" r:id="rId337"/>
    <p:sldLayoutId id="2147484449" r:id="rId338"/>
    <p:sldLayoutId id="2147484450" r:id="rId339"/>
    <p:sldLayoutId id="2147484451" r:id="rId340"/>
    <p:sldLayoutId id="2147484452" r:id="rId341"/>
    <p:sldLayoutId id="2147484453" r:id="rId342"/>
    <p:sldLayoutId id="2147484742" r:id="rId343"/>
    <p:sldLayoutId id="2147484292" r:id="rId344"/>
    <p:sldLayoutId id="2147484293" r:id="rId345"/>
    <p:sldLayoutId id="2147484294" r:id="rId346"/>
    <p:sldLayoutId id="2147484295" r:id="rId347"/>
    <p:sldLayoutId id="2147484296" r:id="rId348"/>
    <p:sldLayoutId id="2147484461" r:id="rId349"/>
    <p:sldLayoutId id="2147484462" r:id="rId350"/>
    <p:sldLayoutId id="2147484463" r:id="rId351"/>
    <p:sldLayoutId id="2147484464" r:id="rId352"/>
    <p:sldLayoutId id="2147484465" r:id="rId353"/>
    <p:sldLayoutId id="2147484466" r:id="rId354"/>
    <p:sldLayoutId id="2147484467" r:id="rId355"/>
    <p:sldLayoutId id="2147484468" r:id="rId356"/>
    <p:sldLayoutId id="2147484469" r:id="rId357"/>
    <p:sldLayoutId id="2147484473" r:id="rId358"/>
    <p:sldLayoutId id="2147484297" r:id="rId359"/>
    <p:sldLayoutId id="2147484298" r:id="rId360"/>
    <p:sldLayoutId id="2147484299" r:id="rId361"/>
    <p:sldLayoutId id="2147484746" r:id="rId362"/>
    <p:sldLayoutId id="2147484747" r:id="rId363"/>
    <p:sldLayoutId id="2147484748" r:id="rId364"/>
    <p:sldLayoutId id="2147484749" r:id="rId365"/>
    <p:sldLayoutId id="2147484304" r:id="rId366"/>
    <p:sldLayoutId id="2147484305" r:id="rId367"/>
    <p:sldLayoutId id="2147484306" r:id="rId368"/>
    <p:sldLayoutId id="2147484307" r:id="rId369"/>
    <p:sldLayoutId id="2147484308" r:id="rId370"/>
    <p:sldLayoutId id="2147484309" r:id="rId371"/>
    <p:sldLayoutId id="2147484310" r:id="rId372"/>
    <p:sldLayoutId id="2147484751" r:id="rId373"/>
    <p:sldLayoutId id="2147484312" r:id="rId374"/>
    <p:sldLayoutId id="2147484752" r:id="rId375"/>
    <p:sldLayoutId id="2147484753" r:id="rId376"/>
    <p:sldLayoutId id="2147484754" r:id="rId377"/>
    <p:sldLayoutId id="2147484316" r:id="rId378"/>
    <p:sldLayoutId id="2147484756" r:id="rId379"/>
    <p:sldLayoutId id="2147484318" r:id="rId380"/>
    <p:sldLayoutId id="2147484319" r:id="rId381"/>
    <p:sldLayoutId id="2147484480" r:id="rId382"/>
    <p:sldLayoutId id="2147484481" r:id="rId383"/>
    <p:sldLayoutId id="2147484482" r:id="rId384"/>
    <p:sldLayoutId id="2147484483" r:id="rId385"/>
    <p:sldLayoutId id="2147484484" r:id="rId386"/>
    <p:sldLayoutId id="2147484485" r:id="rId387"/>
    <p:sldLayoutId id="2147484486" r:id="rId388"/>
    <p:sldLayoutId id="2147484487" r:id="rId389"/>
    <p:sldLayoutId id="2147484488" r:id="rId390"/>
    <p:sldLayoutId id="2147484489" r:id="rId391"/>
    <p:sldLayoutId id="2147484490" r:id="rId392"/>
    <p:sldLayoutId id="2147484491" r:id="rId393"/>
    <p:sldLayoutId id="2147484492" r:id="rId394"/>
    <p:sldLayoutId id="2147484493" r:id="rId395"/>
    <p:sldLayoutId id="2147484494" r:id="rId396"/>
    <p:sldLayoutId id="2147484495" r:id="rId397"/>
    <p:sldLayoutId id="2147484496" r:id="rId398"/>
    <p:sldLayoutId id="2147484497" r:id="rId399"/>
    <p:sldLayoutId id="2147484498" r:id="rId400"/>
    <p:sldLayoutId id="2147484499" r:id="rId401"/>
    <p:sldLayoutId id="2147484500" r:id="rId402"/>
    <p:sldLayoutId id="2147484501" r:id="rId403"/>
    <p:sldLayoutId id="2147484502" r:id="rId404"/>
    <p:sldLayoutId id="2147484503" r:id="rId405"/>
    <p:sldLayoutId id="2147484504" r:id="rId406"/>
    <p:sldLayoutId id="2147484505" r:id="rId407"/>
    <p:sldLayoutId id="2147484506" r:id="rId408"/>
    <p:sldLayoutId id="2147484511" r:id="rId409"/>
    <p:sldLayoutId id="2147484512" r:id="rId410"/>
    <p:sldLayoutId id="2147484513" r:id="rId411"/>
    <p:sldLayoutId id="2147484514" r:id="rId412"/>
    <p:sldLayoutId id="2147484515" r:id="rId413"/>
    <p:sldLayoutId id="2147484516" r:id="rId414"/>
    <p:sldLayoutId id="2147484517" r:id="rId415"/>
    <p:sldLayoutId id="2147484518" r:id="rId416"/>
    <p:sldLayoutId id="2147484519" r:id="rId417"/>
    <p:sldLayoutId id="2147484520" r:id="rId418"/>
    <p:sldLayoutId id="2147484521" r:id="rId419"/>
    <p:sldLayoutId id="2147484522" r:id="rId420"/>
    <p:sldLayoutId id="2147484523" r:id="rId421"/>
    <p:sldLayoutId id="2147484524" r:id="rId422"/>
    <p:sldLayoutId id="2147484525" r:id="rId423"/>
    <p:sldLayoutId id="2147484526" r:id="rId424"/>
    <p:sldLayoutId id="2147484527" r:id="rId425"/>
    <p:sldLayoutId id="2147484528" r:id="rId426"/>
    <p:sldLayoutId id="2147484529" r:id="rId427"/>
    <p:sldLayoutId id="2147484530" r:id="rId428"/>
    <p:sldLayoutId id="2147484531" r:id="rId429"/>
    <p:sldLayoutId id="2147484535" r:id="rId430"/>
    <p:sldLayoutId id="2147484538" r:id="rId431"/>
    <p:sldLayoutId id="2147484539" r:id="rId432"/>
    <p:sldLayoutId id="2147484540" r:id="rId433"/>
    <p:sldLayoutId id="2147484542" r:id="rId434"/>
    <p:sldLayoutId id="2147484543" r:id="rId435"/>
    <p:sldLayoutId id="2147484544" r:id="rId436"/>
    <p:sldLayoutId id="2147484545" r:id="rId437"/>
    <p:sldLayoutId id="2147484546" r:id="rId438"/>
    <p:sldLayoutId id="2147484547" r:id="rId439"/>
    <p:sldLayoutId id="2147484548" r:id="rId440"/>
    <p:sldLayoutId id="2147484550" r:id="rId441"/>
    <p:sldLayoutId id="2147484551" r:id="rId442"/>
    <p:sldLayoutId id="2147484552" r:id="rId443"/>
    <p:sldLayoutId id="2147484759" r:id="rId444"/>
    <p:sldLayoutId id="2147484760" r:id="rId445"/>
    <p:sldLayoutId id="2147484555" r:id="rId446"/>
    <p:sldLayoutId id="2147484556" r:id="rId447"/>
    <p:sldLayoutId id="2147484557" r:id="rId448"/>
    <p:sldLayoutId id="2147484558" r:id="rId449"/>
    <p:sldLayoutId id="2147484789" r:id="rId450"/>
    <p:sldLayoutId id="2147484790" r:id="rId451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;p1">
            <a:extLst>
              <a:ext uri="{FF2B5EF4-FFF2-40B4-BE49-F238E27FC236}">
                <a16:creationId xmlns:a16="http://schemas.microsoft.com/office/drawing/2014/main" id="{8CD007E0-29A4-0462-6E26-8CCD3B997B3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09603" y="365129"/>
            <a:ext cx="10972800" cy="132555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1" tIns="45701" rIns="91421" bIns="45701" anchor="ctr" anchorCtr="0" compatLnSpc="1">
            <a:noAutofit/>
          </a:bodyPr>
          <a:lstStyle/>
          <a:p>
            <a:pPr lvl="0"/>
            <a:endParaRPr lang="en-US"/>
          </a:p>
        </p:txBody>
      </p:sp>
      <p:sp>
        <p:nvSpPr>
          <p:cNvPr id="3" name="Google Shape;11;p1">
            <a:extLst>
              <a:ext uri="{FF2B5EF4-FFF2-40B4-BE49-F238E27FC236}">
                <a16:creationId xmlns:a16="http://schemas.microsoft.com/office/drawing/2014/main" id="{34E8E942-C5AC-8E2D-7AD1-BC1C15599BF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09603" y="1825627"/>
            <a:ext cx="10972800" cy="435133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1" tIns="45701" rIns="91421" bIns="45701" anchor="t" anchorCtr="0" compatLnSpc="1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Google Shape;12;p1">
            <a:extLst>
              <a:ext uri="{FF2B5EF4-FFF2-40B4-BE49-F238E27FC236}">
                <a16:creationId xmlns:a16="http://schemas.microsoft.com/office/drawing/2014/main" id="{E6D638E9-9BEB-9E55-9EFB-A4E155BC8CE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39203" y="6356351"/>
            <a:ext cx="2743200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1" tIns="45701" rIns="91421" bIns="45701" anchor="ctr" anchorCtr="0" compatLnSpc="1">
            <a:noAutofit/>
          </a:bodyPr>
          <a:lstStyle>
            <a:lvl1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919497"/>
                </a:solidFill>
                <a:uFillTx/>
                <a:latin typeface="Calibri"/>
                <a:ea typeface="Calibri"/>
                <a:cs typeface="Calibri"/>
              </a:defRPr>
            </a:lvl1pPr>
          </a:lstStyle>
          <a:p>
            <a:pPr lvl="0"/>
            <a:fld id="{D2D0E0BB-BAC5-4A5C-B487-E65D5CFE04C8}" type="slidenum">
              <a:t>‹#›</a:t>
            </a:fld>
            <a:endParaRPr lang="en-US"/>
          </a:p>
        </p:txBody>
      </p:sp>
      <p:sp>
        <p:nvSpPr>
          <p:cNvPr id="5" name="Google Shape;13;p1">
            <a:extLst>
              <a:ext uri="{FF2B5EF4-FFF2-40B4-BE49-F238E27FC236}">
                <a16:creationId xmlns:a16="http://schemas.microsoft.com/office/drawing/2014/main" id="{D5B064FC-AB29-34B1-53BB-F75E31E9F1C4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609603" y="6356351"/>
            <a:ext cx="4114800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1" tIns="45701" rIns="91421" bIns="45701" anchor="ctr" anchorCtr="1" compatLnSpc="1">
            <a:noAutofit/>
          </a:bodyPr>
          <a:lstStyle>
            <a:lvl1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919497"/>
                </a:solidFill>
                <a:uFillTx/>
                <a:latin typeface="Calibri"/>
                <a:ea typeface="Calibri"/>
                <a:cs typeface="Calibri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496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5" r:id="rId1"/>
    <p:sldLayoutId id="2147484792" r:id="rId2"/>
    <p:sldLayoutId id="2147484793" r:id="rId3"/>
    <p:sldLayoutId id="2147484794" r:id="rId4"/>
    <p:sldLayoutId id="2147484359" r:id="rId5"/>
    <p:sldLayoutId id="2147484360" r:id="rId6"/>
    <p:sldLayoutId id="2147484361" r:id="rId7"/>
    <p:sldLayoutId id="2147484795" r:id="rId8"/>
    <p:sldLayoutId id="2147484796" r:id="rId9"/>
    <p:sldLayoutId id="2147484364" r:id="rId10"/>
    <p:sldLayoutId id="2147484365" r:id="rId11"/>
    <p:sldLayoutId id="2147484797" r:id="rId12"/>
    <p:sldLayoutId id="2147484798" r:id="rId13"/>
    <p:sldLayoutId id="2147484799" r:id="rId14"/>
    <p:sldLayoutId id="2147484800" r:id="rId15"/>
    <p:sldLayoutId id="2147484801" r:id="rId16"/>
    <p:sldLayoutId id="2147484802" r:id="rId17"/>
    <p:sldLayoutId id="2147484803" r:id="rId18"/>
    <p:sldLayoutId id="2147484804" r:id="rId19"/>
    <p:sldLayoutId id="2147484805" r:id="rId20"/>
    <p:sldLayoutId id="2147484375" r:id="rId21"/>
    <p:sldLayoutId id="2147484806" r:id="rId22"/>
    <p:sldLayoutId id="2147484807" r:id="rId23"/>
    <p:sldLayoutId id="2147484808" r:id="rId24"/>
    <p:sldLayoutId id="2147484809" r:id="rId25"/>
    <p:sldLayoutId id="2147484810" r:id="rId26"/>
    <p:sldLayoutId id="2147484811" r:id="rId27"/>
    <p:sldLayoutId id="2147484382" r:id="rId28"/>
    <p:sldLayoutId id="2147484383" r:id="rId29"/>
    <p:sldLayoutId id="2147484384" r:id="rId30"/>
    <p:sldLayoutId id="2147484385" r:id="rId31"/>
    <p:sldLayoutId id="2147484812" r:id="rId32"/>
    <p:sldLayoutId id="2147484387" r:id="rId33"/>
    <p:sldLayoutId id="2147484388" r:id="rId34"/>
    <p:sldLayoutId id="2147484813" r:id="rId35"/>
    <p:sldLayoutId id="2147484814" r:id="rId36"/>
    <p:sldLayoutId id="2147484815" r:id="rId37"/>
    <p:sldLayoutId id="2147484816" r:id="rId38"/>
    <p:sldLayoutId id="2147484393" r:id="rId39"/>
    <p:sldLayoutId id="2147484394" r:id="rId40"/>
    <p:sldLayoutId id="2147484395" r:id="rId41"/>
    <p:sldLayoutId id="2147484396" r:id="rId42"/>
    <p:sldLayoutId id="2147484397" r:id="rId43"/>
    <p:sldLayoutId id="2147484817" r:id="rId44"/>
    <p:sldLayoutId id="2147484399" r:id="rId45"/>
    <p:sldLayoutId id="2147484818" r:id="rId46"/>
    <p:sldLayoutId id="2147484401" r:id="rId47"/>
    <p:sldLayoutId id="2147484402" r:id="rId48"/>
    <p:sldLayoutId id="2147484819" r:id="rId49"/>
    <p:sldLayoutId id="2147484404" r:id="rId50"/>
    <p:sldLayoutId id="2147484405" r:id="rId51"/>
    <p:sldLayoutId id="2147484820" r:id="rId52"/>
    <p:sldLayoutId id="2147484407" r:id="rId53"/>
    <p:sldLayoutId id="2147484821" r:id="rId54"/>
    <p:sldLayoutId id="2147484822" r:id="rId55"/>
    <p:sldLayoutId id="2147484823" r:id="rId56"/>
    <p:sldLayoutId id="2147484824" r:id="rId57"/>
    <p:sldLayoutId id="2147484412" r:id="rId58"/>
    <p:sldLayoutId id="2147484413" r:id="rId59"/>
    <p:sldLayoutId id="2147484825" r:id="rId60"/>
    <p:sldLayoutId id="2147484826" r:id="rId61"/>
    <p:sldLayoutId id="2147484827" r:id="rId62"/>
    <p:sldLayoutId id="2147484828" r:id="rId63"/>
    <p:sldLayoutId id="2147484829" r:id="rId64"/>
    <p:sldLayoutId id="2147484830" r:id="rId65"/>
    <p:sldLayoutId id="2147484831" r:id="rId66"/>
    <p:sldLayoutId id="2147484832" r:id="rId67"/>
    <p:sldLayoutId id="2147484422" r:id="rId68"/>
    <p:sldLayoutId id="2147484833" r:id="rId69"/>
    <p:sldLayoutId id="2147484834" r:id="rId70"/>
    <p:sldLayoutId id="2147484835" r:id="rId71"/>
    <p:sldLayoutId id="2147484836" r:id="rId72"/>
    <p:sldLayoutId id="2147484837" r:id="rId73"/>
    <p:sldLayoutId id="2147484838" r:id="rId74"/>
    <p:sldLayoutId id="2147484839" r:id="rId75"/>
    <p:sldLayoutId id="2147484430" r:id="rId76"/>
    <p:sldLayoutId id="2147484431" r:id="rId77"/>
    <p:sldLayoutId id="2147484432" r:id="rId78"/>
    <p:sldLayoutId id="2147484840" r:id="rId79"/>
    <p:sldLayoutId id="2147484841" r:id="rId80"/>
    <p:sldLayoutId id="2147484842" r:id="rId81"/>
    <p:sldLayoutId id="2147484843" r:id="rId82"/>
    <p:sldLayoutId id="2147484437" r:id="rId83"/>
    <p:sldLayoutId id="2147484438" r:id="rId84"/>
    <p:sldLayoutId id="2147484439" r:id="rId85"/>
    <p:sldLayoutId id="2147484440" r:id="rId86"/>
    <p:sldLayoutId id="2147484441" r:id="rId87"/>
    <p:sldLayoutId id="2147484844" r:id="rId88"/>
    <p:sldLayoutId id="2147484443" r:id="rId89"/>
    <p:sldLayoutId id="2147484845" r:id="rId90"/>
    <p:sldLayoutId id="2147484846" r:id="rId91"/>
    <p:sldLayoutId id="2147484847" r:id="rId92"/>
    <p:sldLayoutId id="2147484447" r:id="rId93"/>
    <p:sldLayoutId id="2147484848" r:id="rId94"/>
    <p:sldLayoutId id="2147484849" r:id="rId95"/>
    <p:sldLayoutId id="2147484850" r:id="rId96"/>
    <p:sldLayoutId id="2147484851" r:id="rId97"/>
    <p:sldLayoutId id="2147484852" r:id="rId98"/>
    <p:sldLayoutId id="2147484853" r:id="rId99"/>
    <p:sldLayoutId id="2147484454" r:id="rId100"/>
    <p:sldLayoutId id="2147484854" r:id="rId101"/>
    <p:sldLayoutId id="2147484855" r:id="rId102"/>
    <p:sldLayoutId id="2147484856" r:id="rId103"/>
    <p:sldLayoutId id="2147484857" r:id="rId104"/>
    <p:sldLayoutId id="2147484858" r:id="rId105"/>
    <p:sldLayoutId id="2147484859" r:id="rId106"/>
    <p:sldLayoutId id="2147484860" r:id="rId107"/>
    <p:sldLayoutId id="2147484861" r:id="rId108"/>
    <p:sldLayoutId id="2147484862" r:id="rId109"/>
    <p:sldLayoutId id="2147484863" r:id="rId110"/>
    <p:sldLayoutId id="2147484864" r:id="rId111"/>
    <p:sldLayoutId id="2147484865" r:id="rId112"/>
    <p:sldLayoutId id="2147484866" r:id="rId113"/>
    <p:sldLayoutId id="2147484867" r:id="rId114"/>
    <p:sldLayoutId id="2147484868" r:id="rId115"/>
    <p:sldLayoutId id="2147484869" r:id="rId116"/>
    <p:sldLayoutId id="2147484870" r:id="rId117"/>
    <p:sldLayoutId id="2147484871" r:id="rId118"/>
    <p:sldLayoutId id="2147484872" r:id="rId119"/>
    <p:sldLayoutId id="2147484474" r:id="rId120"/>
    <p:sldLayoutId id="2147484475" r:id="rId121"/>
    <p:sldLayoutId id="2147484476" r:id="rId122"/>
    <p:sldLayoutId id="2147484477" r:id="rId123"/>
    <p:sldLayoutId id="2147484873" r:id="rId124"/>
    <p:sldLayoutId id="2147484479" r:id="rId125"/>
    <p:sldLayoutId id="2147484874" r:id="rId126"/>
    <p:sldLayoutId id="2147484875" r:id="rId127"/>
    <p:sldLayoutId id="2147484876" r:id="rId128"/>
    <p:sldLayoutId id="2147484877" r:id="rId129"/>
    <p:sldLayoutId id="2147484878" r:id="rId130"/>
    <p:sldLayoutId id="2147484879" r:id="rId131"/>
    <p:sldLayoutId id="2147484880" r:id="rId132"/>
    <p:sldLayoutId id="2147484881" r:id="rId133"/>
    <p:sldLayoutId id="2147484882" r:id="rId134"/>
    <p:sldLayoutId id="2147484883" r:id="rId135"/>
    <p:sldLayoutId id="2147484884" r:id="rId136"/>
    <p:sldLayoutId id="2147484885" r:id="rId137"/>
    <p:sldLayoutId id="2147484886" r:id="rId138"/>
    <p:sldLayoutId id="2147484887" r:id="rId139"/>
    <p:sldLayoutId id="2147484888" r:id="rId140"/>
    <p:sldLayoutId id="2147484889" r:id="rId141"/>
    <p:sldLayoutId id="2147484890" r:id="rId142"/>
    <p:sldLayoutId id="2147484891" r:id="rId143"/>
    <p:sldLayoutId id="2147484892" r:id="rId144"/>
    <p:sldLayoutId id="2147484893" r:id="rId145"/>
    <p:sldLayoutId id="2147484894" r:id="rId146"/>
    <p:sldLayoutId id="2147484895" r:id="rId147"/>
    <p:sldLayoutId id="2147484896" r:id="rId148"/>
    <p:sldLayoutId id="2147484897" r:id="rId149"/>
    <p:sldLayoutId id="2147484898" r:id="rId150"/>
    <p:sldLayoutId id="2147484899" r:id="rId151"/>
    <p:sldLayoutId id="2147484900" r:id="rId152"/>
    <p:sldLayoutId id="2147484901" r:id="rId153"/>
    <p:sldLayoutId id="2147484902" r:id="rId154"/>
    <p:sldLayoutId id="2147484903" r:id="rId155"/>
    <p:sldLayoutId id="2147484904" r:id="rId156"/>
    <p:sldLayoutId id="2147484905" r:id="rId157"/>
    <p:sldLayoutId id="2147484906" r:id="rId158"/>
    <p:sldLayoutId id="2147484907" r:id="rId159"/>
    <p:sldLayoutId id="2147484908" r:id="rId160"/>
    <p:sldLayoutId id="2147484909" r:id="rId161"/>
    <p:sldLayoutId id="2147484910" r:id="rId162"/>
    <p:sldLayoutId id="2147484911" r:id="rId163"/>
    <p:sldLayoutId id="2147484912" r:id="rId164"/>
    <p:sldLayoutId id="2147484913" r:id="rId165"/>
    <p:sldLayoutId id="2147484914" r:id="rId166"/>
    <p:sldLayoutId id="2147484915" r:id="rId167"/>
    <p:sldLayoutId id="2147484916" r:id="rId168"/>
    <p:sldLayoutId id="2147484917" r:id="rId169"/>
    <p:sldLayoutId id="2147484918" r:id="rId170"/>
    <p:sldLayoutId id="2147484919" r:id="rId171"/>
    <p:sldLayoutId id="2147484920" r:id="rId172"/>
    <p:sldLayoutId id="2147484921" r:id="rId173"/>
    <p:sldLayoutId id="2147484922" r:id="rId174"/>
    <p:sldLayoutId id="2147484923" r:id="rId175"/>
    <p:sldLayoutId id="2147484924" r:id="rId176"/>
    <p:sldLayoutId id="2147484925" r:id="rId177"/>
    <p:sldLayoutId id="2147484926" r:id="rId178"/>
    <p:sldLayoutId id="2147484927" r:id="rId179"/>
    <p:sldLayoutId id="2147484928" r:id="rId180"/>
    <p:sldLayoutId id="2147484929" r:id="rId181"/>
    <p:sldLayoutId id="2147484930" r:id="rId182"/>
    <p:sldLayoutId id="2147484931" r:id="rId183"/>
    <p:sldLayoutId id="2147484932" r:id="rId184"/>
    <p:sldLayoutId id="2147484933" r:id="rId185"/>
    <p:sldLayoutId id="2147484934" r:id="rId186"/>
    <p:sldLayoutId id="2147484541" r:id="rId187"/>
    <p:sldLayoutId id="2147484935" r:id="rId188"/>
    <p:sldLayoutId id="2147484936" r:id="rId189"/>
    <p:sldLayoutId id="2147484937" r:id="rId190"/>
    <p:sldLayoutId id="2147484938" r:id="rId191"/>
    <p:sldLayoutId id="2147484939" r:id="rId192"/>
    <p:sldLayoutId id="2147484940" r:id="rId193"/>
    <p:sldLayoutId id="2147484941" r:id="rId194"/>
    <p:sldLayoutId id="2147484942" r:id="rId195"/>
    <p:sldLayoutId id="2147484943" r:id="rId196"/>
    <p:sldLayoutId id="2147484944" r:id="rId197"/>
    <p:sldLayoutId id="2147484945" r:id="rId198"/>
    <p:sldLayoutId id="2147484553" r:id="rId199"/>
    <p:sldLayoutId id="2147484554" r:id="rId200"/>
    <p:sldLayoutId id="2147484946" r:id="rId201"/>
    <p:sldLayoutId id="2147484947" r:id="rId202"/>
    <p:sldLayoutId id="2147484948" r:id="rId203"/>
    <p:sldLayoutId id="2147484949" r:id="rId204"/>
    <p:sldLayoutId id="2147484950" r:id="rId205"/>
    <p:sldLayoutId id="2147484951" r:id="rId206"/>
    <p:sldLayoutId id="2147484561" r:id="rId207"/>
    <p:sldLayoutId id="2147484562" r:id="rId208"/>
    <p:sldLayoutId id="2147484563" r:id="rId209"/>
    <p:sldLayoutId id="2147484564" r:id="rId210"/>
    <p:sldLayoutId id="2147484565" r:id="rId211"/>
    <p:sldLayoutId id="2147484566" r:id="rId212"/>
    <p:sldLayoutId id="2147484567" r:id="rId213"/>
    <p:sldLayoutId id="2147484568" r:id="rId214"/>
    <p:sldLayoutId id="2147484569" r:id="rId215"/>
    <p:sldLayoutId id="2147484570" r:id="rId216"/>
    <p:sldLayoutId id="2147484571" r:id="rId217"/>
    <p:sldLayoutId id="2147484572" r:id="rId218"/>
    <p:sldLayoutId id="2147484573" r:id="rId219"/>
    <p:sldLayoutId id="2147484574" r:id="rId220"/>
    <p:sldLayoutId id="2147484575" r:id="rId221"/>
    <p:sldLayoutId id="2147484576" r:id="rId222"/>
    <p:sldLayoutId id="2147484577" r:id="rId223"/>
    <p:sldLayoutId id="2147484578" r:id="rId224"/>
    <p:sldLayoutId id="2147484579" r:id="rId225"/>
    <p:sldLayoutId id="2147484580" r:id="rId226"/>
    <p:sldLayoutId id="2147484581" r:id="rId227"/>
    <p:sldLayoutId id="2147484582" r:id="rId228"/>
    <p:sldLayoutId id="2147484583" r:id="rId229"/>
    <p:sldLayoutId id="2147484584" r:id="rId230"/>
    <p:sldLayoutId id="2147484585" r:id="rId231"/>
    <p:sldLayoutId id="2147484586" r:id="rId232"/>
    <p:sldLayoutId id="2147484587" r:id="rId233"/>
    <p:sldLayoutId id="2147484588" r:id="rId234"/>
    <p:sldLayoutId id="2147484589" r:id="rId235"/>
    <p:sldLayoutId id="2147484590" r:id="rId236"/>
    <p:sldLayoutId id="2147484591" r:id="rId237"/>
    <p:sldLayoutId id="2147484592" r:id="rId238"/>
    <p:sldLayoutId id="2147484593" r:id="rId239"/>
    <p:sldLayoutId id="2147484594" r:id="rId240"/>
    <p:sldLayoutId id="2147484595" r:id="rId241"/>
    <p:sldLayoutId id="2147484596" r:id="rId242"/>
    <p:sldLayoutId id="2147484597" r:id="rId243"/>
    <p:sldLayoutId id="2147484598" r:id="rId244"/>
    <p:sldLayoutId id="2147484599" r:id="rId245"/>
    <p:sldLayoutId id="2147484600" r:id="rId246"/>
    <p:sldLayoutId id="2147484601" r:id="rId247"/>
    <p:sldLayoutId id="2147484602" r:id="rId248"/>
    <p:sldLayoutId id="2147484603" r:id="rId249"/>
    <p:sldLayoutId id="2147484604" r:id="rId250"/>
    <p:sldLayoutId id="2147484605" r:id="rId251"/>
    <p:sldLayoutId id="2147484606" r:id="rId252"/>
    <p:sldLayoutId id="2147484607" r:id="rId253"/>
    <p:sldLayoutId id="2147484608" r:id="rId254"/>
    <p:sldLayoutId id="2147484609" r:id="rId255"/>
    <p:sldLayoutId id="2147484610" r:id="rId256"/>
    <p:sldLayoutId id="2147484611" r:id="rId257"/>
    <p:sldLayoutId id="2147484612" r:id="rId258"/>
    <p:sldLayoutId id="2147484613" r:id="rId259"/>
    <p:sldLayoutId id="2147484614" r:id="rId260"/>
    <p:sldLayoutId id="2147484615" r:id="rId261"/>
    <p:sldLayoutId id="2147484616" r:id="rId262"/>
    <p:sldLayoutId id="2147484617" r:id="rId263"/>
    <p:sldLayoutId id="2147484618" r:id="rId264"/>
    <p:sldLayoutId id="2147484619" r:id="rId265"/>
    <p:sldLayoutId id="2147484620" r:id="rId266"/>
    <p:sldLayoutId id="2147484621" r:id="rId267"/>
    <p:sldLayoutId id="2147484622" r:id="rId268"/>
    <p:sldLayoutId id="2147484623" r:id="rId269"/>
    <p:sldLayoutId id="2147484624" r:id="rId270"/>
    <p:sldLayoutId id="2147484625" r:id="rId271"/>
    <p:sldLayoutId id="2147484626" r:id="rId272"/>
    <p:sldLayoutId id="2147484627" r:id="rId273"/>
    <p:sldLayoutId id="2147484628" r:id="rId274"/>
    <p:sldLayoutId id="2147484629" r:id="rId275"/>
    <p:sldLayoutId id="2147484630" r:id="rId276"/>
    <p:sldLayoutId id="2147484631" r:id="rId277"/>
    <p:sldLayoutId id="2147484632" r:id="rId278"/>
    <p:sldLayoutId id="2147484633" r:id="rId279"/>
    <p:sldLayoutId id="2147484634" r:id="rId280"/>
    <p:sldLayoutId id="2147484635" r:id="rId281"/>
    <p:sldLayoutId id="2147484636" r:id="rId282"/>
    <p:sldLayoutId id="2147484637" r:id="rId283"/>
    <p:sldLayoutId id="2147484638" r:id="rId284"/>
    <p:sldLayoutId id="2147484639" r:id="rId285"/>
    <p:sldLayoutId id="2147484640" r:id="rId286"/>
  </p:sldLayoutIdLst>
  <p:txStyles>
    <p:titleStyle>
      <a:lvl1pPr marL="0" marR="0" lvl="0" indent="0" algn="l" defTabSz="914400" rtl="0" fontAlgn="auto" hangingPunct="1">
        <a:lnSpc>
          <a:spcPct val="100000"/>
        </a:lnSpc>
        <a:spcBef>
          <a:spcPts val="0"/>
        </a:spcBef>
        <a:spcAft>
          <a:spcPts val="0"/>
        </a:spcAft>
        <a:buNone/>
        <a:tabLst/>
        <a:defRPr lang="en-US" sz="3600" b="1" i="0" u="none" strike="noStrike" kern="0" cap="none" spc="0" baseline="0">
          <a:solidFill>
            <a:srgbClr val="1C498B"/>
          </a:solidFill>
          <a:uFillTx/>
          <a:latin typeface="Calibri"/>
          <a:ea typeface="Calibri"/>
          <a:cs typeface="Calibri"/>
        </a:defRPr>
      </a:lvl1pPr>
    </p:titleStyle>
    <p:bodyStyle>
      <a:lvl1pPr marL="457200" marR="0" lvl="0" indent="-381003" algn="l" defTabSz="914400" rtl="0" fontAlgn="auto" hangingPunct="1">
        <a:lnSpc>
          <a:spcPct val="100000"/>
        </a:lnSpc>
        <a:spcBef>
          <a:spcPts val="1000"/>
        </a:spcBef>
        <a:spcAft>
          <a:spcPts val="0"/>
        </a:spcAft>
        <a:buClr>
          <a:srgbClr val="F5668F"/>
        </a:buClr>
        <a:buSzPts val="2400"/>
        <a:buFont typeface="Arial"/>
        <a:buChar char="•"/>
        <a:tabLst/>
        <a:defRPr lang="en-US" sz="2400" b="0" i="0" u="none" strike="noStrike" kern="0" cap="none" spc="0" baseline="0">
          <a:solidFill>
            <a:srgbClr val="444C55"/>
          </a:solidFill>
          <a:uFillTx/>
          <a:latin typeface="Calibri"/>
          <a:ea typeface="Calibri"/>
          <a:cs typeface="Calibri"/>
        </a:defRPr>
      </a:lvl1pPr>
      <a:lvl2pPr marL="685800" marR="0" lvl="1" indent="-228600" algn="l" defTabSz="914400" rtl="0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en-US" sz="2400" b="0" i="0" u="none" strike="noStrike" kern="1200" cap="none" spc="0" baseline="0">
          <a:solidFill>
            <a:srgbClr val="000000"/>
          </a:solidFill>
          <a:uFillTx/>
          <a:latin typeface="Calibri"/>
        </a:defRPr>
      </a:lvl2pPr>
      <a:lvl3pPr marL="1143000" marR="0" lvl="2" indent="-228600" algn="l" defTabSz="914400" rtl="0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en-US" sz="2000" b="0" i="0" u="none" strike="noStrike" kern="1200" cap="none" spc="0" baseline="0">
          <a:solidFill>
            <a:srgbClr val="000000"/>
          </a:solidFill>
          <a:uFillTx/>
          <a:latin typeface="Calibri"/>
        </a:defRPr>
      </a:lvl3pPr>
      <a:lvl4pPr marL="1600200" marR="0" lvl="3" indent="-228600" algn="l" defTabSz="914400" rtl="0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en-US" sz="1800" b="0" i="0" u="none" strike="noStrike" kern="1200" cap="none" spc="0" baseline="0">
          <a:solidFill>
            <a:srgbClr val="000000"/>
          </a:solidFill>
          <a:uFillTx/>
          <a:latin typeface="Calibri"/>
        </a:defRPr>
      </a:lvl4pPr>
      <a:lvl5pPr marL="2057400" marR="0" lvl="4" indent="-228600" algn="l" defTabSz="914400" rtl="0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en-US" sz="1800" b="0" i="0" u="none" strike="noStrike" kern="1200" cap="none" spc="0" baseline="0">
          <a:solidFill>
            <a:srgbClr val="000000"/>
          </a:solidFill>
          <a:uFillTx/>
          <a:latin typeface="Calibri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7A4A891-92BD-8240-B8C1-F6C8AB9E42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7060" y="456085"/>
            <a:ext cx="9356368" cy="390523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545E5F-B0CD-8940-8C99-2737B49D59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35553" y="1379105"/>
            <a:ext cx="9337875" cy="4866717"/>
          </a:xfrm>
          <a:prstGeom prst="rect">
            <a:avLst/>
          </a:prstGeom>
        </p:spPr>
        <p:txBody>
          <a:bodyPr vert="horz" lIns="0" tIns="0" rIns="91440" bIns="0" rtlCol="0">
            <a:normAutofit/>
          </a:bodyPr>
          <a:lstStyle/>
          <a:p>
            <a:pPr lvl="0"/>
            <a:r>
              <a:rPr lang="en-US" dirty="0"/>
              <a:t>Click to edit master text and other stuff that goes here </a:t>
            </a:r>
          </a:p>
          <a:p>
            <a:pPr lvl="1"/>
            <a:r>
              <a:rPr lang="en-US" dirty="0"/>
              <a:t>Second level and some more stuff that goes on until we reach a second line</a:t>
            </a:r>
          </a:p>
          <a:p>
            <a:pPr lvl="2"/>
            <a:r>
              <a:rPr lang="en-US" dirty="0"/>
              <a:t>Third level and some more stuff that goes on until we reach a second line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794D1C-9BB7-6947-B0BC-FCC1B9E9A6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17439" y="6356368"/>
            <a:ext cx="53923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1">
                    <a:tint val="75000"/>
                  </a:schemeClr>
                </a:solidFill>
                <a:latin typeface="Metropolis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475685-D08C-EF45-9ED7-3B8353EB6A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72863" y="63563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0" i="0">
                <a:solidFill>
                  <a:schemeClr val="accent5"/>
                </a:solidFill>
                <a:latin typeface="Metropolis" pitchFamily="2" charset="77"/>
              </a:defRPr>
            </a:lvl1pPr>
          </a:lstStyle>
          <a:p>
            <a:fld id="{96ACBB43-5C7B-084B-877B-5EF9093130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6631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i="0" kern="1200" spc="200" baseline="0">
          <a:solidFill>
            <a:schemeClr val="bg1">
              <a:lumMod val="65000"/>
            </a:schemeClr>
          </a:solidFill>
          <a:latin typeface="+mn-lt"/>
          <a:ea typeface="+mj-ea"/>
          <a:cs typeface="+mj-cs"/>
        </a:defRPr>
      </a:lvl1pPr>
    </p:titleStyle>
    <p:bodyStyle>
      <a:lvl1pPr marL="571500" indent="-571500" algn="l" defTabSz="914400" rtl="0" eaLnBrk="1" fontAlgn="ctr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SzPct val="120000"/>
        <a:buFont typeface="System Font Regular"/>
        <a:buChar char="○"/>
        <a:defRPr sz="2800" b="1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1pPr>
      <a:lvl2pPr marL="974725" indent="-406400" algn="l" defTabSz="914400" rtl="0" eaLnBrk="1" latinLnBrk="0" hangingPunct="1">
        <a:lnSpc>
          <a:spcPct val="112000"/>
        </a:lnSpc>
        <a:spcBef>
          <a:spcPts val="5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27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2pPr>
      <a:lvl3pPr marL="1371600" indent="-365125" algn="l" defTabSz="914400" rtl="0" eaLnBrk="1" latinLnBrk="0" hangingPunct="1">
        <a:lnSpc>
          <a:spcPct val="112000"/>
        </a:lnSpc>
        <a:spcBef>
          <a:spcPts val="5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22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3pPr>
      <a:lvl4pPr marL="1768475" indent="-342900" algn="l" defTabSz="914400" rtl="0" eaLnBrk="1" latinLnBrk="0" hangingPunct="1">
        <a:lnSpc>
          <a:spcPct val="112000"/>
        </a:lnSpc>
        <a:spcBef>
          <a:spcPts val="5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18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4pPr>
      <a:lvl5pPr marL="964692" indent="0" algn="l" defTabSz="914400" rtl="0" eaLnBrk="1" latinLnBrk="0" hangingPunct="1">
        <a:lnSpc>
          <a:spcPct val="112000"/>
        </a:lnSpc>
        <a:spcBef>
          <a:spcPts val="500"/>
        </a:spcBef>
        <a:buClr>
          <a:schemeClr val="accent1"/>
        </a:buClr>
        <a:buSzPct val="120000"/>
        <a:buFont typeface="Arial" panose="020B0604020202020204" pitchFamily="34" charset="0"/>
        <a:buNone/>
        <a:defRPr sz="18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5pPr>
      <a:lvl6pPr marL="1440180" indent="-292608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18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6pPr>
      <a:lvl7pPr marL="1623060" indent="-29260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18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7pPr>
      <a:lvl8pPr marL="1897380" indent="-29260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18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8pPr>
      <a:lvl9pPr marL="2171700" indent="-29260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18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4.png"/><Relationship Id="rId4" Type="http://schemas.openxmlformats.org/officeDocument/2006/relationships/image" Target="../media/image9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image" Target="../media/image93.png"/><Relationship Id="rId7" Type="http://schemas.openxmlformats.org/officeDocument/2006/relationships/diagramQuickStyle" Target="../diagrams/quickStyle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106.png"/><Relationship Id="rId9" Type="http://schemas.microsoft.com/office/2007/relationships/diagramDrawing" Target="../diagrams/drawing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6.png"/><Relationship Id="rId5" Type="http://schemas.openxmlformats.org/officeDocument/2006/relationships/image" Target="../media/image115.png"/><Relationship Id="rId4" Type="http://schemas.openxmlformats.org/officeDocument/2006/relationships/image" Target="../media/image10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Relationship Id="rId9" Type="http://schemas.openxmlformats.org/officeDocument/2006/relationships/image" Target="../media/image12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3" Type="http://schemas.openxmlformats.org/officeDocument/2006/relationships/image" Target="../media/image93.png"/><Relationship Id="rId7" Type="http://schemas.openxmlformats.org/officeDocument/2006/relationships/diagramQuickStyle" Target="../diagrams/quickStyle4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diagramLayout" Target="../diagrams/layout4.xml"/><Relationship Id="rId11" Type="http://schemas.openxmlformats.org/officeDocument/2006/relationships/image" Target="../media/image125.png"/><Relationship Id="rId5" Type="http://schemas.openxmlformats.org/officeDocument/2006/relationships/diagramData" Target="../diagrams/data4.xml"/><Relationship Id="rId10" Type="http://schemas.openxmlformats.org/officeDocument/2006/relationships/image" Target="../media/image124.png"/><Relationship Id="rId4" Type="http://schemas.openxmlformats.org/officeDocument/2006/relationships/image" Target="../media/image106.png"/><Relationship Id="rId9" Type="http://schemas.microsoft.com/office/2007/relationships/diagramDrawing" Target="../diagrams/drawing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image" Target="../media/image93.png"/><Relationship Id="rId7" Type="http://schemas.openxmlformats.org/officeDocument/2006/relationships/diagramQuickStyle" Target="../diagrams/quickStyle5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6" Type="http://schemas.openxmlformats.org/officeDocument/2006/relationships/diagramLayout" Target="../diagrams/layout5.xml"/><Relationship Id="rId5" Type="http://schemas.openxmlformats.org/officeDocument/2006/relationships/diagramData" Target="../diagrams/data5.xml"/><Relationship Id="rId4" Type="http://schemas.openxmlformats.org/officeDocument/2006/relationships/image" Target="../media/image106.png"/><Relationship Id="rId9" Type="http://schemas.microsoft.com/office/2007/relationships/diagramDrawing" Target="../diagrams/drawing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6.png"/><Relationship Id="rId5" Type="http://schemas.openxmlformats.org/officeDocument/2006/relationships/hyperlink" Target="https://redcap.healthlnk.org/surveys/?s=L3XJ9P7WATXFMCYF" TargetMode="External"/><Relationship Id="rId4" Type="http://schemas.openxmlformats.org/officeDocument/2006/relationships/image" Target="../media/image106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jpe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9.png"/><Relationship Id="rId4" Type="http://schemas.openxmlformats.org/officeDocument/2006/relationships/image" Target="../media/image10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3.png"/><Relationship Id="rId5" Type="http://schemas.openxmlformats.org/officeDocument/2006/relationships/image" Target="../media/image132.png"/><Relationship Id="rId4" Type="http://schemas.openxmlformats.org/officeDocument/2006/relationships/image" Target="../media/image131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3.png"/><Relationship Id="rId3" Type="http://schemas.openxmlformats.org/officeDocument/2006/relationships/image" Target="../media/image138.jpeg"/><Relationship Id="rId7" Type="http://schemas.openxmlformats.org/officeDocument/2006/relationships/image" Target="../media/image142.png"/><Relationship Id="rId12" Type="http://schemas.openxmlformats.org/officeDocument/2006/relationships/image" Target="../media/image147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1.svg"/><Relationship Id="rId11" Type="http://schemas.openxmlformats.org/officeDocument/2006/relationships/image" Target="../media/image146.svg"/><Relationship Id="rId5" Type="http://schemas.openxmlformats.org/officeDocument/2006/relationships/image" Target="../media/image140.png"/><Relationship Id="rId10" Type="http://schemas.openxmlformats.org/officeDocument/2006/relationships/image" Target="../media/image145.png"/><Relationship Id="rId4" Type="http://schemas.openxmlformats.org/officeDocument/2006/relationships/image" Target="../media/image139.png"/><Relationship Id="rId9" Type="http://schemas.openxmlformats.org/officeDocument/2006/relationships/image" Target="../media/image144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10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8.jpeg"/><Relationship Id="rId1" Type="http://schemas.openxmlformats.org/officeDocument/2006/relationships/slideLayout" Target="../slideLayouts/slideLayout20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54.xml"/><Relationship Id="rId6" Type="http://schemas.openxmlformats.org/officeDocument/2006/relationships/image" Target="../media/image152.png"/><Relationship Id="rId5" Type="http://schemas.openxmlformats.org/officeDocument/2006/relationships/image" Target="../media/image151.png"/><Relationship Id="rId4" Type="http://schemas.openxmlformats.org/officeDocument/2006/relationships/image" Target="../media/image150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75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jpeg"/><Relationship Id="rId2" Type="http://schemas.openxmlformats.org/officeDocument/2006/relationships/image" Target="../media/image154.png"/><Relationship Id="rId1" Type="http://schemas.openxmlformats.org/officeDocument/2006/relationships/slideLayout" Target="../slideLayouts/slideLayout754.xml"/><Relationship Id="rId4" Type="http://schemas.openxmlformats.org/officeDocument/2006/relationships/image" Target="../media/image15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7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5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8.svg"/><Relationship Id="rId5" Type="http://schemas.openxmlformats.org/officeDocument/2006/relationships/image" Target="../media/image157.png"/><Relationship Id="rId4" Type="http://schemas.openxmlformats.org/officeDocument/2006/relationships/image" Target="../media/image103.sv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89.xml"/><Relationship Id="rId4" Type="http://schemas.openxmlformats.org/officeDocument/2006/relationships/image" Target="../media/image9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0.svg"/><Relationship Id="rId4" Type="http://schemas.openxmlformats.org/officeDocument/2006/relationships/image" Target="../media/image9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sv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.xml"/><Relationship Id="rId6" Type="http://schemas.openxmlformats.org/officeDocument/2006/relationships/hyperlink" Target="mailto:info@ilpqc.org" TargetMode="External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8.jpeg"/><Relationship Id="rId5" Type="http://schemas.openxmlformats.org/officeDocument/2006/relationships/image" Target="../media/image107.jpeg"/><Relationship Id="rId4" Type="http://schemas.openxmlformats.org/officeDocument/2006/relationships/image" Target="../media/image10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kmoreno@northshore.org" TargetMode="External"/><Relationship Id="rId4" Type="http://schemas.openxmlformats.org/officeDocument/2006/relationships/image" Target="../media/image1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1"/>
          <p:cNvSpPr/>
          <p:nvPr/>
        </p:nvSpPr>
        <p:spPr>
          <a:xfrm>
            <a:off x="902368" y="1294414"/>
            <a:ext cx="11289601" cy="3822636"/>
          </a:xfrm>
          <a:custGeom>
            <a:avLst/>
            <a:gdLst/>
            <a:ahLst/>
            <a:cxnLst/>
            <a:rect l="l" t="t" r="r" b="b"/>
            <a:pathLst>
              <a:path w="22579203" h="7645273" extrusionOk="0">
                <a:moveTo>
                  <a:pt x="0" y="0"/>
                </a:moveTo>
                <a:lnTo>
                  <a:pt x="22579203" y="0"/>
                </a:lnTo>
                <a:lnTo>
                  <a:pt x="22579203" y="7645273"/>
                </a:lnTo>
                <a:lnTo>
                  <a:pt x="0" y="7645273"/>
                </a:lnTo>
                <a:close/>
              </a:path>
            </a:pathLst>
          </a:custGeom>
          <a:solidFill>
            <a:srgbClr val="F3F6FB"/>
          </a:solid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" name="Google Shape;89;p1"/>
          <p:cNvSpPr/>
          <p:nvPr/>
        </p:nvSpPr>
        <p:spPr>
          <a:xfrm>
            <a:off x="0" y="5038945"/>
            <a:ext cx="12192000" cy="1819056"/>
          </a:xfrm>
          <a:custGeom>
            <a:avLst/>
            <a:gdLst/>
            <a:ahLst/>
            <a:cxnLst/>
            <a:rect l="l" t="t" r="r" b="b"/>
            <a:pathLst>
              <a:path w="18288000" h="2728584" extrusionOk="0">
                <a:moveTo>
                  <a:pt x="0" y="0"/>
                </a:moveTo>
                <a:lnTo>
                  <a:pt x="18288000" y="0"/>
                </a:lnTo>
                <a:lnTo>
                  <a:pt x="18288000" y="2728584"/>
                </a:lnTo>
                <a:lnTo>
                  <a:pt x="0" y="2728584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" name="Google Shape;90;p1"/>
          <p:cNvSpPr/>
          <p:nvPr/>
        </p:nvSpPr>
        <p:spPr>
          <a:xfrm>
            <a:off x="0" y="5020350"/>
            <a:ext cx="12192000" cy="1837653"/>
          </a:xfrm>
          <a:custGeom>
            <a:avLst/>
            <a:gdLst/>
            <a:ahLst/>
            <a:cxnLst/>
            <a:rect l="l" t="t" r="r" b="b"/>
            <a:pathLst>
              <a:path w="18288000" h="2756480" extrusionOk="0">
                <a:moveTo>
                  <a:pt x="0" y="0"/>
                </a:moveTo>
                <a:lnTo>
                  <a:pt x="18288000" y="0"/>
                </a:lnTo>
                <a:lnTo>
                  <a:pt x="18288000" y="2756479"/>
                </a:lnTo>
                <a:lnTo>
                  <a:pt x="0" y="275647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" name="Google Shape;91;p1"/>
          <p:cNvSpPr/>
          <p:nvPr/>
        </p:nvSpPr>
        <p:spPr>
          <a:xfrm>
            <a:off x="313288" y="5563588"/>
            <a:ext cx="2025315" cy="911940"/>
          </a:xfrm>
          <a:custGeom>
            <a:avLst/>
            <a:gdLst/>
            <a:ahLst/>
            <a:cxnLst/>
            <a:rect l="l" t="t" r="r" b="b"/>
            <a:pathLst>
              <a:path w="3037972" h="1367910" extrusionOk="0">
                <a:moveTo>
                  <a:pt x="0" y="0"/>
                </a:moveTo>
                <a:lnTo>
                  <a:pt x="3037972" y="0"/>
                </a:lnTo>
                <a:lnTo>
                  <a:pt x="3037972" y="1367910"/>
                </a:lnTo>
                <a:lnTo>
                  <a:pt x="0" y="136791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b="-95"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92" name="Google Shape;92;p1"/>
          <p:cNvGrpSpPr/>
          <p:nvPr/>
        </p:nvGrpSpPr>
        <p:grpSpPr>
          <a:xfrm>
            <a:off x="1413311" y="1561332"/>
            <a:ext cx="9039387" cy="1854301"/>
            <a:chOff x="0" y="0"/>
            <a:chExt cx="18078774" cy="3708603"/>
          </a:xfrm>
        </p:grpSpPr>
        <p:sp>
          <p:nvSpPr>
            <p:cNvPr id="93" name="Google Shape;93;p1"/>
            <p:cNvSpPr/>
            <p:nvPr/>
          </p:nvSpPr>
          <p:spPr>
            <a:xfrm>
              <a:off x="0" y="0"/>
              <a:ext cx="10388866" cy="3652678"/>
            </a:xfrm>
            <a:custGeom>
              <a:avLst/>
              <a:gdLst/>
              <a:ahLst/>
              <a:cxnLst/>
              <a:rect l="l" t="t" r="r" b="b"/>
              <a:pathLst>
                <a:path w="10388866" h="3652678" extrusionOk="0">
                  <a:moveTo>
                    <a:pt x="0" y="0"/>
                  </a:moveTo>
                  <a:lnTo>
                    <a:pt x="10388866" y="0"/>
                  </a:lnTo>
                  <a:lnTo>
                    <a:pt x="10388866" y="3652678"/>
                  </a:lnTo>
                  <a:lnTo>
                    <a:pt x="0" y="3652678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94;p1"/>
            <p:cNvSpPr txBox="1"/>
            <p:nvPr/>
          </p:nvSpPr>
          <p:spPr>
            <a:xfrm>
              <a:off x="0" y="0"/>
              <a:ext cx="18078774" cy="370860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en-US" sz="3200" b="1" dirty="0">
                  <a:solidFill>
                    <a:srgbClr val="1C498B"/>
                  </a:solidFill>
                  <a:latin typeface="Arial"/>
                  <a:ea typeface="Arial"/>
                  <a:cs typeface="Arial"/>
                  <a:sym typeface="Arial"/>
                </a:rPr>
                <a:t>ILPQC </a:t>
              </a:r>
              <a:r>
                <a:rPr lang="en-US" sz="3200" b="1" dirty="0">
                  <a:solidFill>
                    <a:srgbClr val="1C498B"/>
                  </a:solidFill>
                </a:rPr>
                <a:t>Birthing Hospital</a:t>
              </a:r>
              <a:r>
                <a:rPr lang="en-US" sz="3200" b="1" dirty="0">
                  <a:solidFill>
                    <a:srgbClr val="1C498B"/>
                  </a:solidFill>
                  <a:latin typeface="Arial"/>
                  <a:ea typeface="Arial"/>
                  <a:cs typeface="Arial"/>
                  <a:sym typeface="Arial"/>
                </a:rPr>
                <a:t> Quality Designation Program with funding from BCBSIL Special Beginnings® and PVB/BE Sustainability Webinar</a:t>
              </a:r>
              <a:endParaRPr sz="3200" b="1" dirty="0">
                <a:solidFill>
                  <a:srgbClr val="1C498B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5" name="Google Shape;95;p1"/>
          <p:cNvGrpSpPr/>
          <p:nvPr/>
        </p:nvGrpSpPr>
        <p:grpSpPr>
          <a:xfrm>
            <a:off x="1355584" y="3766863"/>
            <a:ext cx="5725523" cy="986569"/>
            <a:chOff x="-115454" y="0"/>
            <a:chExt cx="11451046" cy="1973138"/>
          </a:xfrm>
        </p:grpSpPr>
        <p:sp>
          <p:nvSpPr>
            <p:cNvPr id="96" name="Google Shape;96;p1"/>
            <p:cNvSpPr/>
            <p:nvPr/>
          </p:nvSpPr>
          <p:spPr>
            <a:xfrm>
              <a:off x="0" y="0"/>
              <a:ext cx="10388866" cy="1973138"/>
            </a:xfrm>
            <a:custGeom>
              <a:avLst/>
              <a:gdLst/>
              <a:ahLst/>
              <a:cxnLst/>
              <a:rect l="l" t="t" r="r" b="b"/>
              <a:pathLst>
                <a:path w="10388866" h="1973138" extrusionOk="0">
                  <a:moveTo>
                    <a:pt x="0" y="0"/>
                  </a:moveTo>
                  <a:lnTo>
                    <a:pt x="10388866" y="0"/>
                  </a:lnTo>
                  <a:lnTo>
                    <a:pt x="10388866" y="1973138"/>
                  </a:lnTo>
                  <a:lnTo>
                    <a:pt x="0" y="1973138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" name="Google Shape;97;p1"/>
            <p:cNvSpPr txBox="1"/>
            <p:nvPr/>
          </p:nvSpPr>
          <p:spPr>
            <a:xfrm>
              <a:off x="-115454" y="0"/>
              <a:ext cx="11451046" cy="197313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sz="2400" dirty="0">
                  <a:solidFill>
                    <a:srgbClr val="444C55"/>
                  </a:solidFill>
                  <a:latin typeface="Arial"/>
                  <a:ea typeface="Arial"/>
                  <a:cs typeface="Arial"/>
                  <a:sym typeface="Arial"/>
                </a:rPr>
                <a:t>Monday </a:t>
              </a:r>
              <a:r>
                <a:rPr lang="en-US" sz="2400" dirty="0">
                  <a:solidFill>
                    <a:srgbClr val="444C55"/>
                  </a:solidFill>
                </a:rPr>
                <a:t>September 8th</a:t>
              </a:r>
              <a:r>
                <a:rPr lang="en-US" sz="2400" dirty="0">
                  <a:solidFill>
                    <a:srgbClr val="444C55"/>
                  </a:solidFill>
                  <a:latin typeface="Arial"/>
                  <a:ea typeface="Arial"/>
                  <a:cs typeface="Arial"/>
                  <a:sym typeface="Arial"/>
                </a:rPr>
                <a:t>, 2025 </a:t>
              </a:r>
              <a:r>
                <a:rPr lang="en-US" sz="2400" dirty="0">
                  <a:solidFill>
                    <a:srgbClr val="444C55"/>
                  </a:solidFill>
                </a:rPr>
                <a:t>1:00</a:t>
              </a:r>
              <a:r>
                <a:rPr lang="en-US" sz="2400" dirty="0">
                  <a:solidFill>
                    <a:srgbClr val="444C55"/>
                  </a:solidFill>
                  <a:latin typeface="Arial"/>
                  <a:ea typeface="Arial"/>
                  <a:cs typeface="Arial"/>
                  <a:sym typeface="Arial"/>
                </a:rPr>
                <a:t> PM</a:t>
              </a:r>
              <a:endParaRPr sz="622" dirty="0"/>
            </a:p>
          </p:txBody>
        </p:sp>
      </p:grpSp>
    </p:spTree>
    <p:extLst>
      <p:ext uri="{BB962C8B-B14F-4D97-AF65-F5344CB8AC3E}">
        <p14:creationId xmlns:p14="http://schemas.microsoft.com/office/powerpoint/2010/main" val="25544611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Google Shape;125;p3"/>
          <p:cNvSpPr/>
          <p:nvPr/>
        </p:nvSpPr>
        <p:spPr>
          <a:xfrm>
            <a:off x="9264319" y="228371"/>
            <a:ext cx="2025315" cy="911940"/>
          </a:xfrm>
          <a:custGeom>
            <a:avLst/>
            <a:gdLst/>
            <a:ahLst/>
            <a:cxnLst/>
            <a:rect l="l" t="t" r="r" b="b"/>
            <a:pathLst>
              <a:path w="3037973" h="1367910" extrusionOk="0">
                <a:moveTo>
                  <a:pt x="0" y="0"/>
                </a:moveTo>
                <a:lnTo>
                  <a:pt x="3037973" y="0"/>
                </a:lnTo>
                <a:lnTo>
                  <a:pt x="3037973" y="1367910"/>
                </a:lnTo>
                <a:lnTo>
                  <a:pt x="0" y="136791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b="-95"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" name="Google Shape;126;p3"/>
          <p:cNvSpPr/>
          <p:nvPr/>
        </p:nvSpPr>
        <p:spPr>
          <a:xfrm>
            <a:off x="7191543" y="1"/>
            <a:ext cx="5000459" cy="1425992"/>
          </a:xfrm>
          <a:custGeom>
            <a:avLst/>
            <a:gdLst/>
            <a:ahLst/>
            <a:cxnLst/>
            <a:rect l="l" t="t" r="r" b="b"/>
            <a:pathLst>
              <a:path w="7500689" h="2138988" extrusionOk="0">
                <a:moveTo>
                  <a:pt x="0" y="0"/>
                </a:moveTo>
                <a:lnTo>
                  <a:pt x="7500689" y="0"/>
                </a:lnTo>
                <a:lnTo>
                  <a:pt x="7500689" y="2138989"/>
                </a:lnTo>
                <a:lnTo>
                  <a:pt x="0" y="213898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27" name="Google Shape;127;p3"/>
          <p:cNvCxnSpPr/>
          <p:nvPr/>
        </p:nvCxnSpPr>
        <p:spPr>
          <a:xfrm rot="1988">
            <a:off x="606424" y="6335713"/>
            <a:ext cx="10979152" cy="0"/>
          </a:xfrm>
          <a:prstGeom prst="straightConnector1">
            <a:avLst/>
          </a:prstGeom>
          <a:noFill/>
          <a:ln w="9525" cap="rnd" cmpd="sng">
            <a:solidFill>
              <a:srgbClr val="79818A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128" name="Google Shape;128;p3"/>
          <p:cNvGrpSpPr/>
          <p:nvPr/>
        </p:nvGrpSpPr>
        <p:grpSpPr>
          <a:xfrm>
            <a:off x="609600" y="365126"/>
            <a:ext cx="10972800" cy="1325563"/>
            <a:chOff x="0" y="0"/>
            <a:chExt cx="21945600" cy="2651126"/>
          </a:xfrm>
        </p:grpSpPr>
        <p:sp>
          <p:nvSpPr>
            <p:cNvPr id="129" name="Google Shape;129;p3"/>
            <p:cNvSpPr/>
            <p:nvPr/>
          </p:nvSpPr>
          <p:spPr>
            <a:xfrm>
              <a:off x="0" y="0"/>
              <a:ext cx="21945600" cy="2651126"/>
            </a:xfrm>
            <a:custGeom>
              <a:avLst/>
              <a:gdLst/>
              <a:ahLst/>
              <a:cxnLst/>
              <a:rect l="l" t="t" r="r" b="b"/>
              <a:pathLst>
                <a:path w="21945600" h="2651126" extrusionOk="0">
                  <a:moveTo>
                    <a:pt x="0" y="0"/>
                  </a:moveTo>
                  <a:lnTo>
                    <a:pt x="21945600" y="0"/>
                  </a:lnTo>
                  <a:lnTo>
                    <a:pt x="21945600" y="2651126"/>
                  </a:lnTo>
                  <a:lnTo>
                    <a:pt x="0" y="2651126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130;p3"/>
            <p:cNvSpPr txBox="1"/>
            <p:nvPr/>
          </p:nvSpPr>
          <p:spPr>
            <a:xfrm>
              <a:off x="0" y="0"/>
              <a:ext cx="21945600" cy="265112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3600" b="1">
                  <a:solidFill>
                    <a:srgbClr val="1C498B"/>
                  </a:solidFill>
                  <a:latin typeface="Arial"/>
                  <a:ea typeface="Arial"/>
                  <a:cs typeface="Arial"/>
                  <a:sym typeface="Arial"/>
                </a:rPr>
                <a:t>Webinar Objectives</a:t>
              </a:r>
              <a:endParaRPr sz="622"/>
            </a:p>
          </p:txBody>
        </p:sp>
      </p:grpSp>
      <p:grpSp>
        <p:nvGrpSpPr>
          <p:cNvPr id="131" name="Google Shape;131;p3"/>
          <p:cNvGrpSpPr/>
          <p:nvPr/>
        </p:nvGrpSpPr>
        <p:grpSpPr>
          <a:xfrm>
            <a:off x="609600" y="1825626"/>
            <a:ext cx="10972800" cy="4351338"/>
            <a:chOff x="0" y="0"/>
            <a:chExt cx="21945600" cy="8702676"/>
          </a:xfrm>
        </p:grpSpPr>
        <p:sp>
          <p:nvSpPr>
            <p:cNvPr id="132" name="Google Shape;132;p3"/>
            <p:cNvSpPr/>
            <p:nvPr/>
          </p:nvSpPr>
          <p:spPr>
            <a:xfrm>
              <a:off x="0" y="0"/>
              <a:ext cx="21945600" cy="8702676"/>
            </a:xfrm>
            <a:custGeom>
              <a:avLst/>
              <a:gdLst/>
              <a:ahLst/>
              <a:cxnLst/>
              <a:rect l="l" t="t" r="r" b="b"/>
              <a:pathLst>
                <a:path w="21945600" h="8702676" extrusionOk="0">
                  <a:moveTo>
                    <a:pt x="0" y="0"/>
                  </a:moveTo>
                  <a:lnTo>
                    <a:pt x="21945600" y="0"/>
                  </a:lnTo>
                  <a:lnTo>
                    <a:pt x="21945600" y="8702676"/>
                  </a:lnTo>
                  <a:lnTo>
                    <a:pt x="0" y="8702676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133;p3"/>
            <p:cNvSpPr txBox="1"/>
            <p:nvPr/>
          </p:nvSpPr>
          <p:spPr>
            <a:xfrm>
              <a:off x="0" y="0"/>
              <a:ext cx="21945600" cy="870267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434340" marR="0" lvl="1" indent="-217170" algn="l" rtl="0">
                <a:lnSpc>
                  <a:spcPct val="12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444C55"/>
                </a:buClr>
                <a:buSzPts val="3600"/>
                <a:buFont typeface="Arial"/>
                <a:buChar char="•"/>
              </a:pPr>
              <a:r>
                <a:rPr lang="en-US" sz="2800" b="0" i="0" u="none" strike="noStrike" cap="none" dirty="0">
                  <a:solidFill>
                    <a:srgbClr val="444C55"/>
                  </a:solidFill>
                  <a:latin typeface="Arial"/>
                  <a:ea typeface="Arial"/>
                  <a:cs typeface="Arial"/>
                  <a:sym typeface="Arial"/>
                </a:rPr>
                <a:t>Overview of Illinois Birthing Hospital Quality Designation Program</a:t>
              </a:r>
              <a:endParaRPr lang="en-US" sz="2800" b="0" i="0" u="none" strike="noStrike" cap="none" dirty="0">
                <a:solidFill>
                  <a:srgbClr val="444C55"/>
                </a:solidFill>
                <a:latin typeface="Arial"/>
                <a:ea typeface="Arial"/>
                <a:cs typeface="Arial"/>
              </a:endParaRPr>
            </a:p>
            <a:p>
              <a:pPr marL="434340" marR="0" lvl="1" indent="-217170" algn="l" rtl="0">
                <a:lnSpc>
                  <a:spcPct val="12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444C55"/>
                </a:buClr>
                <a:buSzPts val="3600"/>
                <a:buFont typeface="Arial"/>
                <a:buChar char="•"/>
              </a:pPr>
              <a:r>
                <a:rPr lang="en-US" sz="2800" dirty="0">
                  <a:solidFill>
                    <a:srgbClr val="444C55"/>
                  </a:solidFill>
                </a:rPr>
                <a:t>Birth Quality Designation Measures </a:t>
              </a:r>
              <a:endParaRPr sz="2800" dirty="0"/>
            </a:p>
            <a:p>
              <a:pPr marL="434340" lvl="1" indent="-217170">
                <a:lnSpc>
                  <a:spcPct val="12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444C55"/>
                </a:buClr>
                <a:buSzPts val="3600"/>
                <a:buFont typeface="Arial"/>
                <a:buChar char="•"/>
              </a:pPr>
              <a:r>
                <a:rPr lang="en-US" sz="2800" dirty="0">
                  <a:solidFill>
                    <a:srgbClr val="444C55"/>
                  </a:solidFill>
                  <a:ea typeface="Open Sans"/>
                </a:rPr>
                <a:t>2025 ILPQC Birth Quality Designation Application</a:t>
              </a:r>
              <a:r>
                <a:rPr lang="en-US" sz="2800" dirty="0">
                  <a:solidFill>
                    <a:srgbClr val="444C55"/>
                  </a:solidFill>
                </a:rPr>
                <a:t> </a:t>
              </a:r>
              <a:endParaRPr lang="en-US" sz="2800" b="0" i="0" u="none" strike="noStrike" cap="none" dirty="0">
                <a:solidFill>
                  <a:srgbClr val="444C55"/>
                </a:solidFill>
                <a:latin typeface="Arial"/>
                <a:ea typeface="Arial"/>
                <a:cs typeface="Arial"/>
              </a:endParaRPr>
            </a:p>
            <a:p>
              <a:pPr marL="434340" marR="0" lvl="1" indent="-217170" algn="l" rtl="0">
                <a:lnSpc>
                  <a:spcPct val="12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444C55"/>
                </a:buClr>
                <a:buSzPts val="3600"/>
                <a:buFont typeface="Arial"/>
                <a:buChar char="•"/>
              </a:pPr>
              <a:r>
                <a:rPr lang="en-US" sz="2800" b="0" i="0" u="none" strike="noStrike" cap="none" dirty="0">
                  <a:solidFill>
                    <a:srgbClr val="444C55"/>
                  </a:solidFill>
                  <a:latin typeface="Arial"/>
                  <a:ea typeface="Arial"/>
                  <a:cs typeface="Arial"/>
                  <a:sym typeface="Arial"/>
                </a:rPr>
                <a:t>Team Talk</a:t>
              </a:r>
              <a:endParaRPr sz="3200" b="0" i="0" u="none" strike="noStrike" cap="none" dirty="0">
                <a:solidFill>
                  <a:srgbClr val="444C55"/>
                </a:solidFill>
                <a:latin typeface="Arial"/>
                <a:ea typeface="Arial"/>
                <a:cs typeface="Arial"/>
              </a:endParaRPr>
            </a:p>
          </p:txBody>
        </p:sp>
      </p:grpSp>
      <p:grpSp>
        <p:nvGrpSpPr>
          <p:cNvPr id="134" name="Google Shape;134;p3"/>
          <p:cNvGrpSpPr/>
          <p:nvPr/>
        </p:nvGrpSpPr>
        <p:grpSpPr>
          <a:xfrm>
            <a:off x="8839200" y="6356351"/>
            <a:ext cx="2743200" cy="365125"/>
            <a:chOff x="0" y="0"/>
            <a:chExt cx="5486400" cy="730250"/>
          </a:xfrm>
        </p:grpSpPr>
        <p:sp>
          <p:nvSpPr>
            <p:cNvPr id="135" name="Google Shape;135;p3"/>
            <p:cNvSpPr/>
            <p:nvPr/>
          </p:nvSpPr>
          <p:spPr>
            <a:xfrm>
              <a:off x="0" y="0"/>
              <a:ext cx="5486400" cy="730250"/>
            </a:xfrm>
            <a:custGeom>
              <a:avLst/>
              <a:gdLst/>
              <a:ahLst/>
              <a:cxnLst/>
              <a:rect l="l" t="t" r="r" b="b"/>
              <a:pathLst>
                <a:path w="5486400" h="730250" extrusionOk="0">
                  <a:moveTo>
                    <a:pt x="0" y="0"/>
                  </a:moveTo>
                  <a:lnTo>
                    <a:pt x="5486400" y="0"/>
                  </a:lnTo>
                  <a:lnTo>
                    <a:pt x="54864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136;p3"/>
            <p:cNvSpPr txBox="1"/>
            <p:nvPr/>
          </p:nvSpPr>
          <p:spPr>
            <a:xfrm>
              <a:off x="0" y="0"/>
              <a:ext cx="54864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>
                  <a:solidFill>
                    <a:srgbClr val="AFB3B9"/>
                  </a:solidFill>
                  <a:latin typeface="Arial"/>
                  <a:ea typeface="Arial"/>
                  <a:cs typeface="Arial"/>
                  <a:sym typeface="Arial"/>
                </a:rPr>
                <a:t>2</a:t>
              </a:r>
              <a:endParaRPr sz="622"/>
            </a:p>
          </p:txBody>
        </p:sp>
      </p:grpSp>
      <p:grpSp>
        <p:nvGrpSpPr>
          <p:cNvPr id="137" name="Google Shape;137;p3"/>
          <p:cNvGrpSpPr/>
          <p:nvPr/>
        </p:nvGrpSpPr>
        <p:grpSpPr>
          <a:xfrm>
            <a:off x="609600" y="6356350"/>
            <a:ext cx="4114800" cy="365125"/>
            <a:chOff x="0" y="0"/>
            <a:chExt cx="8229600" cy="730250"/>
          </a:xfrm>
        </p:grpSpPr>
        <p:sp>
          <p:nvSpPr>
            <p:cNvPr id="138" name="Google Shape;138;p3"/>
            <p:cNvSpPr/>
            <p:nvPr/>
          </p:nvSpPr>
          <p:spPr>
            <a:xfrm>
              <a:off x="0" y="0"/>
              <a:ext cx="8229600" cy="730250"/>
            </a:xfrm>
            <a:custGeom>
              <a:avLst/>
              <a:gdLst/>
              <a:ahLst/>
              <a:cxnLst/>
              <a:rect l="l" t="t" r="r" b="b"/>
              <a:pathLst>
                <a:path w="8229600" h="730250" extrusionOk="0">
                  <a:moveTo>
                    <a:pt x="0" y="0"/>
                  </a:moveTo>
                  <a:lnTo>
                    <a:pt x="8229600" y="0"/>
                  </a:lnTo>
                  <a:lnTo>
                    <a:pt x="82296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139;p3"/>
            <p:cNvSpPr txBox="1"/>
            <p:nvPr/>
          </p:nvSpPr>
          <p:spPr>
            <a:xfrm>
              <a:off x="0" y="0"/>
              <a:ext cx="82296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>
                  <a:solidFill>
                    <a:srgbClr val="939699"/>
                  </a:solidFill>
                  <a:latin typeface="Arial"/>
                  <a:ea typeface="Arial"/>
                  <a:cs typeface="Arial"/>
                  <a:sym typeface="Arial"/>
                </a:rPr>
                <a:t>Illinois Perinatal Quality Collaborative</a:t>
              </a:r>
              <a:endParaRPr sz="622"/>
            </a:p>
          </p:txBody>
        </p: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3F5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0">
            <a:extLst>
              <a:ext uri="{FF2B5EF4-FFF2-40B4-BE49-F238E27FC236}">
                <a16:creationId xmlns:a16="http://schemas.microsoft.com/office/drawing/2014/main" id="{EBFDB903-A6E7-4317-8203-8977EA0FC0B0}"/>
              </a:ext>
            </a:extLst>
          </p:cNvPr>
          <p:cNvSpPr txBox="1"/>
          <p:nvPr/>
        </p:nvSpPr>
        <p:spPr>
          <a:xfrm>
            <a:off x="5538412" y="1976211"/>
            <a:ext cx="6390613" cy="423782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03575" lvl="1" indent="-251473" defTabSz="609570">
              <a:lnSpc>
                <a:spcPts val="3265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4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Demonstrates Birth Equity &amp; PVB sustainability </a:t>
            </a:r>
            <a:endParaRPr lang="en-US" sz="3400">
              <a:solidFill>
                <a:srgbClr val="444C55"/>
              </a:solidFill>
              <a:latin typeface="Calibri"/>
              <a:ea typeface="Calibri"/>
              <a:cs typeface="Calibri"/>
            </a:endParaRPr>
          </a:p>
          <a:p>
            <a:pPr marL="503575" lvl="1" indent="-251473" defTabSz="609570">
              <a:lnSpc>
                <a:spcPts val="3265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4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Reinforces commitment to patient / community engagement, equity and reducing NTSV C-section disparities </a:t>
            </a:r>
            <a:endParaRPr lang="en-US" sz="3400">
              <a:solidFill>
                <a:srgbClr val="444C55"/>
              </a:solidFill>
              <a:latin typeface="Calibri"/>
              <a:ea typeface="Calibri"/>
              <a:cs typeface="Calibri"/>
            </a:endParaRPr>
          </a:p>
          <a:p>
            <a:pPr marL="503575" lvl="1" indent="-251473" defTabSz="609570">
              <a:lnSpc>
                <a:spcPts val="3265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4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Statewide recognition for ongoing ILPQC participation and birth quality excellence</a:t>
            </a:r>
            <a:endParaRPr lang="en-US" sz="1200">
              <a:solidFill>
                <a:srgbClr val="444C55"/>
              </a:solidFill>
              <a:latin typeface="Arial"/>
            </a:endParaRPr>
          </a:p>
        </p:txBody>
      </p:sp>
      <p:sp>
        <p:nvSpPr>
          <p:cNvPr id="3" name="TextBox 12">
            <a:extLst>
              <a:ext uri="{FF2B5EF4-FFF2-40B4-BE49-F238E27FC236}">
                <a16:creationId xmlns:a16="http://schemas.microsoft.com/office/drawing/2014/main" id="{F1EF571F-B810-4671-A410-FA06D1ECB98A}"/>
              </a:ext>
            </a:extLst>
          </p:cNvPr>
          <p:cNvSpPr txBox="1"/>
          <p:nvPr/>
        </p:nvSpPr>
        <p:spPr>
          <a:xfrm>
            <a:off x="426238" y="374731"/>
            <a:ext cx="8112922" cy="133882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46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050" b="1" dirty="0">
                <a:solidFill>
                  <a:srgbClr val="1C498B"/>
                </a:solidFill>
                <a:latin typeface="Calibri"/>
                <a:ea typeface="Calibri"/>
                <a:cs typeface="Calibri"/>
              </a:rPr>
              <a:t>Illinois Birthing Hospital Quality Excellence Award Designation</a:t>
            </a:r>
            <a:endParaRPr lang="en-US" sz="1800" dirty="0">
              <a:solidFill>
                <a:srgbClr val="444C55"/>
              </a:solidFill>
              <a:latin typeface="Arial"/>
            </a:endParaRPr>
          </a:p>
        </p:txBody>
      </p:sp>
      <p:sp>
        <p:nvSpPr>
          <p:cNvPr id="4" name="Freeform 3" descr="A close-up of a flyer&#10;&#10;AI-generated content may be incorrect.">
            <a:extLst>
              <a:ext uri="{FF2B5EF4-FFF2-40B4-BE49-F238E27FC236}">
                <a16:creationId xmlns:a16="http://schemas.microsoft.com/office/drawing/2014/main" id="{8A50E97B-BD4B-4907-9B71-10BB331E0BB1}"/>
              </a:ext>
            </a:extLst>
          </p:cNvPr>
          <p:cNvSpPr/>
          <p:nvPr/>
        </p:nvSpPr>
        <p:spPr>
          <a:xfrm>
            <a:off x="618628" y="1709159"/>
            <a:ext cx="3687144" cy="4350504"/>
          </a:xfrm>
          <a:custGeom>
            <a:avLst/>
            <a:gdLst>
              <a:gd name="f0" fmla="val w"/>
              <a:gd name="f1" fmla="val h"/>
              <a:gd name="f2" fmla="val 0"/>
              <a:gd name="f3" fmla="val 5099400"/>
              <a:gd name="f4" fmla="val 5986612"/>
              <a:gd name="f5" fmla="val 5099399"/>
              <a:gd name="f6" fmla="*/ f0 1 5099400"/>
              <a:gd name="f7" fmla="*/ f1 1 5986612"/>
              <a:gd name="f8" fmla="+- f4 0 f2"/>
              <a:gd name="f9" fmla="+- f3 0 f2"/>
              <a:gd name="f10" fmla="*/ f9 1 5099400"/>
              <a:gd name="f11" fmla="*/ f8 1 5986612"/>
              <a:gd name="f12" fmla="*/ f2 1 f10"/>
              <a:gd name="f13" fmla="*/ f3 1 f10"/>
              <a:gd name="f14" fmla="*/ f2 1 f11"/>
              <a:gd name="f15" fmla="*/ f4 1 f11"/>
              <a:gd name="f16" fmla="*/ f12 f6 1"/>
              <a:gd name="f17" fmla="*/ f13 f6 1"/>
              <a:gd name="f18" fmla="*/ f15 f7 1"/>
              <a:gd name="f19" fmla="*/ f14 f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6" t="f19" r="f17" b="f18"/>
            <a:pathLst>
              <a:path w="5099400" h="5986612">
                <a:moveTo>
                  <a:pt x="f2" y="f2"/>
                </a:moveTo>
                <a:lnTo>
                  <a:pt x="f5" y="f2"/>
                </a:lnTo>
                <a:lnTo>
                  <a:pt x="f5" y="f4"/>
                </a:lnTo>
                <a:lnTo>
                  <a:pt x="f2" y="f4"/>
                </a:lnTo>
                <a:lnTo>
                  <a:pt x="f2" y="f2"/>
                </a:lnTo>
                <a:close/>
              </a:path>
            </a:pathLst>
          </a:custGeom>
          <a:blipFill>
            <a:blip r:embed="rId3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14300" cap="sq">
            <a:solidFill>
              <a:srgbClr val="000000"/>
            </a:solidFill>
            <a:prstDash val="solid"/>
            <a:miter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7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800">
              <a:solidFill>
                <a:srgbClr val="444C55"/>
              </a:solidFill>
              <a:latin typeface="Arial"/>
            </a:endParaRPr>
          </a:p>
        </p:txBody>
      </p:sp>
      <p:sp>
        <p:nvSpPr>
          <p:cNvPr id="5" name="Freeform 10">
            <a:extLst>
              <a:ext uri="{FF2B5EF4-FFF2-40B4-BE49-F238E27FC236}">
                <a16:creationId xmlns:a16="http://schemas.microsoft.com/office/drawing/2014/main" id="{DB6D47CD-00F9-4275-AEEB-F4623B32FF88}"/>
              </a:ext>
            </a:extLst>
          </p:cNvPr>
          <p:cNvSpPr/>
          <p:nvPr/>
        </p:nvSpPr>
        <p:spPr>
          <a:xfrm>
            <a:off x="476283" y="5879501"/>
            <a:ext cx="3976780" cy="819247"/>
          </a:xfrm>
          <a:custGeom>
            <a:avLst/>
            <a:gdLst>
              <a:gd name="f0" fmla="val w"/>
              <a:gd name="f1" fmla="val h"/>
              <a:gd name="f2" fmla="val 0"/>
              <a:gd name="f3" fmla="val 1467594"/>
              <a:gd name="f4" fmla="val 370692"/>
              <a:gd name="f5" fmla="*/ f0 1 1467594"/>
              <a:gd name="f6" fmla="*/ f1 1 370692"/>
              <a:gd name="f7" fmla="+- f4 0 f2"/>
              <a:gd name="f8" fmla="+- f3 0 f2"/>
              <a:gd name="f9" fmla="*/ f8 1 1467594"/>
              <a:gd name="f10" fmla="*/ f7 1 370692"/>
              <a:gd name="f11" fmla="*/ f2 1 f9"/>
              <a:gd name="f12" fmla="*/ f3 1 f9"/>
              <a:gd name="f13" fmla="*/ f2 1 f10"/>
              <a:gd name="f14" fmla="*/ f4 1 f10"/>
              <a:gd name="f15" fmla="*/ f11 f5 1"/>
              <a:gd name="f16" fmla="*/ f12 f5 1"/>
              <a:gd name="f17" fmla="*/ f14 f6 1"/>
              <a:gd name="f18" fmla="*/ f13 f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5" t="f18" r="f16" b="f17"/>
            <a:pathLst>
              <a:path w="1467594" h="370692">
                <a:moveTo>
                  <a:pt x="f2" y="f2"/>
                </a:moveTo>
                <a:lnTo>
                  <a:pt x="f3" y="f2"/>
                </a:lnTo>
                <a:lnTo>
                  <a:pt x="f3" y="f4"/>
                </a:lnTo>
                <a:lnTo>
                  <a:pt x="f2" y="f4"/>
                </a:lnTo>
                <a:close/>
              </a:path>
            </a:pathLst>
          </a:custGeom>
          <a:solidFill>
            <a:srgbClr val="D6E2CA"/>
          </a:solidFill>
          <a:ln w="85725" cap="sq">
            <a:solidFill>
              <a:srgbClr val="0A7F8B"/>
            </a:solidFill>
            <a:prstDash val="solid"/>
            <a:miter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7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800">
              <a:solidFill>
                <a:srgbClr val="444C55"/>
              </a:solidFill>
              <a:latin typeface="Arial"/>
            </a:endParaRPr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9A6F6C19-9E43-4B08-AE07-C6125913BA3D}"/>
              </a:ext>
            </a:extLst>
          </p:cNvPr>
          <p:cNvSpPr txBox="1"/>
          <p:nvPr/>
        </p:nvSpPr>
        <p:spPr>
          <a:xfrm>
            <a:off x="500094" y="5782767"/>
            <a:ext cx="3976780" cy="9159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33869" tIns="33869" rIns="33869" bIns="33869" anchor="ctr" anchorCtr="1" compatLnSpc="1">
            <a:no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9570">
              <a:lnSpc>
                <a:spcPts val="2855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b="1" spc="19">
                <a:solidFill>
                  <a:srgbClr val="000000"/>
                </a:solidFill>
                <a:latin typeface="Calibri"/>
                <a:ea typeface="Canva Sans Bold"/>
                <a:cs typeface="Canva Sans Bold"/>
              </a:rPr>
              <a:t>Birth Quality Designation        1-page Summary</a:t>
            </a:r>
          </a:p>
        </p:txBody>
      </p:sp>
      <p:pic>
        <p:nvPicPr>
          <p:cNvPr id="8" name="Picture 24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2A0640EF-3A5B-4C96-A698-F67428EF28F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95379" y="4499708"/>
            <a:ext cx="1276264" cy="1380231"/>
          </a:xfrm>
          <a:prstGeom prst="rect">
            <a:avLst/>
          </a:prstGeom>
          <a:noFill/>
          <a:ln cap="flat">
            <a:noFill/>
          </a:ln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3F5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>
            <a:extLst>
              <a:ext uri="{FF2B5EF4-FFF2-40B4-BE49-F238E27FC236}">
                <a16:creationId xmlns:a16="http://schemas.microsoft.com/office/drawing/2014/main" id="{730D8004-2335-495B-9269-86A36F610927}"/>
              </a:ext>
            </a:extLst>
          </p:cNvPr>
          <p:cNvSpPr/>
          <p:nvPr/>
        </p:nvSpPr>
        <p:spPr>
          <a:xfrm>
            <a:off x="7009270" y="-19366"/>
            <a:ext cx="5201939" cy="1551471"/>
          </a:xfrm>
          <a:prstGeom prst="rect">
            <a:avLst/>
          </a:prstGeom>
          <a:solidFill>
            <a:srgbClr val="F3F5F4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46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B979C86-E549-489F-BE6C-9FF7DCEC4FEF}"/>
              </a:ext>
            </a:extLst>
          </p:cNvPr>
          <p:cNvGrpSpPr/>
          <p:nvPr/>
        </p:nvGrpSpPr>
        <p:grpSpPr>
          <a:xfrm>
            <a:off x="34684" y="5732493"/>
            <a:ext cx="12025346" cy="947053"/>
            <a:chOff x="34683" y="5732492"/>
            <a:chExt cx="12025346" cy="947053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87AAE762-6EBE-41F5-9AC9-664668B13D6C}"/>
                </a:ext>
              </a:extLst>
            </p:cNvPr>
            <p:cNvSpPr/>
            <p:nvPr/>
          </p:nvSpPr>
          <p:spPr>
            <a:xfrm>
              <a:off x="34683" y="5884136"/>
              <a:ext cx="11999799" cy="79539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712321"/>
                <a:gd name="f4" fmla="val 319004"/>
                <a:gd name="f5" fmla="*/ f0 1 4712321"/>
                <a:gd name="f6" fmla="*/ f1 1 319004"/>
                <a:gd name="f7" fmla="+- f4 0 f2"/>
                <a:gd name="f8" fmla="+- f3 0 f2"/>
                <a:gd name="f9" fmla="*/ f8 1 4712321"/>
                <a:gd name="f10" fmla="*/ f7 1 319004"/>
                <a:gd name="f11" fmla="*/ f2 1 f9"/>
                <a:gd name="f12" fmla="*/ f3 1 f9"/>
                <a:gd name="f13" fmla="*/ f2 1 f10"/>
                <a:gd name="f14" fmla="*/ f4 1 f10"/>
                <a:gd name="f15" fmla="*/ f11 f5 1"/>
                <a:gd name="f16" fmla="*/ f12 f5 1"/>
                <a:gd name="f17" fmla="*/ f14 f6 1"/>
                <a:gd name="f18" fmla="*/ f13 f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5" t="f18" r="f16" b="f17"/>
              <a:pathLst>
                <a:path w="4712321" h="319004">
                  <a:moveTo>
                    <a:pt x="f2" y="f2"/>
                  </a:moveTo>
                  <a:lnTo>
                    <a:pt x="f3" y="f2"/>
                  </a:lnTo>
                  <a:lnTo>
                    <a:pt x="f3" y="f4"/>
                  </a:lnTo>
                  <a:lnTo>
                    <a:pt x="f2" y="f4"/>
                  </a:lnTo>
                  <a:close/>
                </a:path>
              </a:pathLst>
            </a:custGeom>
            <a:solidFill>
              <a:srgbClr val="FDD7C7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09570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800">
                <a:solidFill>
                  <a:srgbClr val="444C55"/>
                </a:solidFill>
                <a:latin typeface="Arial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6AA85585-317D-47C2-ABA7-80B6F681A50F}"/>
                </a:ext>
              </a:extLst>
            </p:cNvPr>
            <p:cNvSpPr txBox="1"/>
            <p:nvPr/>
          </p:nvSpPr>
          <p:spPr>
            <a:xfrm>
              <a:off x="45774" y="5732492"/>
              <a:ext cx="12014255" cy="947053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33869" tIns="33869" rIns="33869" bIns="33869" anchor="ctr" anchorCtr="0" compatLnSpc="1">
              <a:noAutofit/>
            </a:bodyPr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09570">
                <a:lnSpc>
                  <a:spcPts val="2125"/>
                </a:lnSpc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2400" spc="13">
                  <a:solidFill>
                    <a:srgbClr val="000000"/>
                  </a:solidFill>
                  <a:latin typeface="Calibri"/>
                  <a:ea typeface="Montserrat"/>
                  <a:cs typeface="Montserrat"/>
                </a:rPr>
                <a:t>Support for the IL Birthing Hospital Quality Excellence Designation Program, including mini-grants and monetary awards, is provided by BCBSIL Special Beginnings program®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86688472-B0B9-4EB2-BF24-CA624831E458}"/>
              </a:ext>
            </a:extLst>
          </p:cNvPr>
          <p:cNvGrpSpPr/>
          <p:nvPr/>
        </p:nvGrpSpPr>
        <p:grpSpPr>
          <a:xfrm>
            <a:off x="213138" y="1454171"/>
            <a:ext cx="6222565" cy="922693"/>
            <a:chOff x="213137" y="1454170"/>
            <a:chExt cx="6222565" cy="922693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314700B-2960-4F85-AFE9-9B7A4A4304A2}"/>
                </a:ext>
              </a:extLst>
            </p:cNvPr>
            <p:cNvSpPr/>
            <p:nvPr/>
          </p:nvSpPr>
          <p:spPr>
            <a:xfrm>
              <a:off x="213137" y="1550602"/>
              <a:ext cx="6171761" cy="82625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438227"/>
                <a:gd name="f4" fmla="val 326422"/>
                <a:gd name="f5" fmla="*/ f0 1 2438227"/>
                <a:gd name="f6" fmla="*/ f1 1 326422"/>
                <a:gd name="f7" fmla="+- f4 0 f2"/>
                <a:gd name="f8" fmla="+- f3 0 f2"/>
                <a:gd name="f9" fmla="*/ f8 1 2438227"/>
                <a:gd name="f10" fmla="*/ f7 1 326422"/>
                <a:gd name="f11" fmla="*/ f2 1 f9"/>
                <a:gd name="f12" fmla="*/ f3 1 f9"/>
                <a:gd name="f13" fmla="*/ f2 1 f10"/>
                <a:gd name="f14" fmla="*/ f4 1 f10"/>
                <a:gd name="f15" fmla="*/ f11 f5 1"/>
                <a:gd name="f16" fmla="*/ f12 f5 1"/>
                <a:gd name="f17" fmla="*/ f14 f6 1"/>
                <a:gd name="f18" fmla="*/ f13 f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5" t="f18" r="f16" b="f17"/>
              <a:pathLst>
                <a:path w="2438227" h="326422">
                  <a:moveTo>
                    <a:pt x="f2" y="f2"/>
                  </a:moveTo>
                  <a:lnTo>
                    <a:pt x="f3" y="f2"/>
                  </a:lnTo>
                  <a:lnTo>
                    <a:pt x="f3" y="f4"/>
                  </a:lnTo>
                  <a:lnTo>
                    <a:pt x="f2" y="f4"/>
                  </a:lnTo>
                  <a:close/>
                </a:path>
              </a:pathLst>
            </a:custGeom>
            <a:solidFill>
              <a:srgbClr val="D6E2CA"/>
            </a:solidFill>
            <a:ln w="85725" cap="sq">
              <a:solidFill>
                <a:srgbClr val="0A7F8B"/>
              </a:solidFill>
              <a:prstDash val="solid"/>
              <a:miter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09570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800">
                <a:solidFill>
                  <a:srgbClr val="444C55"/>
                </a:solidFill>
                <a:latin typeface="Arial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34C0736-4432-48DB-894D-026C70453DD9}"/>
                </a:ext>
              </a:extLst>
            </p:cNvPr>
            <p:cNvSpPr txBox="1"/>
            <p:nvPr/>
          </p:nvSpPr>
          <p:spPr>
            <a:xfrm>
              <a:off x="263941" y="1454170"/>
              <a:ext cx="6171761" cy="922693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33869" tIns="33869" rIns="33869" bIns="33869" anchor="ctr" anchorCtr="0" compatLnSpc="1">
              <a:noAutofit/>
            </a:bodyPr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09570">
                <a:lnSpc>
                  <a:spcPts val="2215"/>
                </a:lnSpc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2400" spc="14">
                  <a:solidFill>
                    <a:srgbClr val="000000"/>
                  </a:solidFill>
                  <a:latin typeface="Calibri"/>
                  <a:ea typeface="Montserrat"/>
                  <a:cs typeface="Montserrat"/>
                </a:rPr>
                <a:t>Funding Award: $10,000-$20,000 Toward your OB Department’s QI efforts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CF4280A3-6B0C-4565-BB70-00E35C0CAA94}"/>
              </a:ext>
            </a:extLst>
          </p:cNvPr>
          <p:cNvSpPr txBox="1"/>
          <p:nvPr/>
        </p:nvSpPr>
        <p:spPr>
          <a:xfrm>
            <a:off x="263942" y="302283"/>
            <a:ext cx="9332485" cy="100655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70">
              <a:lnSpc>
                <a:spcPts val="3886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100" b="1">
                <a:solidFill>
                  <a:srgbClr val="1C498B"/>
                </a:solidFill>
                <a:latin typeface="Calibri"/>
                <a:ea typeface="Canva Sans Bold"/>
                <a:cs typeface="Canva Sans Bold"/>
              </a:rPr>
              <a:t>Statewide Recognition &amp; Funding Opportunit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D98E260-F4A1-453C-A64F-8523073DC596}"/>
              </a:ext>
            </a:extLst>
          </p:cNvPr>
          <p:cNvSpPr txBox="1"/>
          <p:nvPr/>
        </p:nvSpPr>
        <p:spPr>
          <a:xfrm>
            <a:off x="263942" y="2797744"/>
            <a:ext cx="7093083" cy="236385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70">
              <a:lnSpc>
                <a:spcPts val="3726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650">
                <a:solidFill>
                  <a:srgbClr val="231F20"/>
                </a:solidFill>
                <a:latin typeface="Calibri"/>
                <a:ea typeface="RoxboroughCF"/>
                <a:cs typeface="RoxboroughCF"/>
              </a:rPr>
              <a:t>To Qualify for this award, your Team must:</a:t>
            </a:r>
          </a:p>
          <a:p>
            <a:pPr marL="574701" lvl="1" indent="-287036" defTabSz="609570">
              <a:lnSpc>
                <a:spcPts val="3726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650">
                <a:solidFill>
                  <a:srgbClr val="231F20"/>
                </a:solidFill>
                <a:latin typeface="Calibri"/>
                <a:ea typeface="RoxboroughCF"/>
                <a:cs typeface="RoxboroughCF"/>
              </a:rPr>
              <a:t>Participate with ILPQC</a:t>
            </a:r>
          </a:p>
          <a:p>
            <a:pPr marL="574701" lvl="1" indent="-287036" defTabSz="609570">
              <a:lnSpc>
                <a:spcPts val="3726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650">
                <a:solidFill>
                  <a:srgbClr val="231F20"/>
                </a:solidFill>
                <a:latin typeface="Calibri"/>
                <a:ea typeface="RoxboroughCF"/>
                <a:cs typeface="RoxboroughCF"/>
              </a:rPr>
              <a:t>Engage Patient and Community Partners</a:t>
            </a:r>
          </a:p>
          <a:p>
            <a:pPr marL="574701" lvl="1" indent="-287036" defTabSz="609570">
              <a:lnSpc>
                <a:spcPts val="3726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650">
                <a:solidFill>
                  <a:srgbClr val="231F20"/>
                </a:solidFill>
                <a:latin typeface="Calibri"/>
                <a:ea typeface="RoxboroughCF"/>
                <a:cs typeface="RoxboroughCF"/>
              </a:rPr>
              <a:t>Maintain NTSV C-section rate ≤ 23.6%</a:t>
            </a:r>
          </a:p>
          <a:p>
            <a:pPr marL="574701" lvl="1" indent="-287036" defTabSz="609570">
              <a:lnSpc>
                <a:spcPts val="3726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650">
                <a:solidFill>
                  <a:srgbClr val="231F20"/>
                </a:solidFill>
                <a:latin typeface="Calibri"/>
                <a:ea typeface="RoxboroughCF"/>
                <a:cs typeface="RoxboroughCF"/>
              </a:rPr>
              <a:t>Reduce NTSV C-section disparities</a:t>
            </a:r>
          </a:p>
        </p:txBody>
      </p:sp>
      <p:pic>
        <p:nvPicPr>
          <p:cNvPr id="13" name="Picture 12" descr="A person holding a baby&#10;&#10;AI-generated content may be incorrect.">
            <a:extLst>
              <a:ext uri="{FF2B5EF4-FFF2-40B4-BE49-F238E27FC236}">
                <a16:creationId xmlns:a16="http://schemas.microsoft.com/office/drawing/2014/main" id="{53155E5D-FC52-4025-3D47-22D96E3C85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05468" y="809625"/>
            <a:ext cx="3803473" cy="4607720"/>
          </a:xfrm>
          <a:prstGeom prst="roundRect">
            <a:avLst>
              <a:gd name="adj" fmla="val 11111"/>
            </a:avLst>
          </a:prstGeom>
          <a:ln w="190500" cap="rnd">
            <a:solidFill>
              <a:srgbClr val="C8C6BD"/>
            </a:solidFill>
            <a:prstDash val="solid"/>
          </a:ln>
          <a:effectLst>
            <a:outerShdw blurRad="101600" dist="50800" dir="7200000" algn="tl" rotWithShape="0">
              <a:srgbClr val="000000">
                <a:alpha val="45000"/>
              </a:srgbClr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FFFFFF"/>
            </a:extrusionClr>
          </a:sp3d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3F6FB"/>
        </a:solidFill>
        <a:effectLst/>
      </p:bgPr>
    </p:bg>
    <p:spTree>
      <p:nvGrpSpPr>
        <p:cNvPr id="1" name="Shape 4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8" name="Google Shape;458;p15"/>
          <p:cNvSpPr/>
          <p:nvPr/>
        </p:nvSpPr>
        <p:spPr>
          <a:xfrm>
            <a:off x="1" y="5099064"/>
            <a:ext cx="7111365" cy="1758950"/>
          </a:xfrm>
          <a:custGeom>
            <a:avLst/>
            <a:gdLst/>
            <a:ahLst/>
            <a:cxnLst/>
            <a:rect l="l" t="t" r="r" b="b"/>
            <a:pathLst>
              <a:path w="14222730" h="3517900" extrusionOk="0">
                <a:moveTo>
                  <a:pt x="1545971" y="8001"/>
                </a:moveTo>
                <a:cubicBezTo>
                  <a:pt x="3538093" y="64008"/>
                  <a:pt x="5393563" y="537464"/>
                  <a:pt x="7181850" y="1134491"/>
                </a:cubicBezTo>
                <a:cubicBezTo>
                  <a:pt x="9368028" y="1864233"/>
                  <a:pt x="11381613" y="2651633"/>
                  <a:pt x="13401548" y="3276219"/>
                </a:cubicBezTo>
                <a:lnTo>
                  <a:pt x="14222730" y="3517900"/>
                </a:lnTo>
                <a:lnTo>
                  <a:pt x="0" y="3517900"/>
                </a:lnTo>
                <a:lnTo>
                  <a:pt x="0" y="53848"/>
                </a:lnTo>
                <a:lnTo>
                  <a:pt x="4445" y="53213"/>
                </a:lnTo>
                <a:cubicBezTo>
                  <a:pt x="229362" y="32258"/>
                  <a:pt x="455549" y="18161"/>
                  <a:pt x="683514" y="10414"/>
                </a:cubicBezTo>
                <a:cubicBezTo>
                  <a:pt x="973836" y="508"/>
                  <a:pt x="1261237" y="0"/>
                  <a:pt x="1545844" y="800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9" name="Google Shape;459;p15"/>
          <p:cNvSpPr/>
          <p:nvPr/>
        </p:nvSpPr>
        <p:spPr>
          <a:xfrm>
            <a:off x="0" y="5038944"/>
            <a:ext cx="12192000" cy="1819056"/>
          </a:xfrm>
          <a:custGeom>
            <a:avLst/>
            <a:gdLst/>
            <a:ahLst/>
            <a:cxnLst/>
            <a:rect l="l" t="t" r="r" b="b"/>
            <a:pathLst>
              <a:path w="18288000" h="2728584" extrusionOk="0">
                <a:moveTo>
                  <a:pt x="0" y="0"/>
                </a:moveTo>
                <a:lnTo>
                  <a:pt x="18288000" y="0"/>
                </a:lnTo>
                <a:lnTo>
                  <a:pt x="18288000" y="2728584"/>
                </a:lnTo>
                <a:lnTo>
                  <a:pt x="0" y="2728584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0" name="Google Shape;460;p15"/>
          <p:cNvSpPr/>
          <p:nvPr/>
        </p:nvSpPr>
        <p:spPr>
          <a:xfrm>
            <a:off x="0" y="5067973"/>
            <a:ext cx="12192000" cy="1837653"/>
          </a:xfrm>
          <a:custGeom>
            <a:avLst/>
            <a:gdLst/>
            <a:ahLst/>
            <a:cxnLst/>
            <a:rect l="l" t="t" r="r" b="b"/>
            <a:pathLst>
              <a:path w="18288000" h="2756479" extrusionOk="0">
                <a:moveTo>
                  <a:pt x="0" y="0"/>
                </a:moveTo>
                <a:lnTo>
                  <a:pt x="18288000" y="0"/>
                </a:lnTo>
                <a:lnTo>
                  <a:pt x="18288000" y="2756479"/>
                </a:lnTo>
                <a:lnTo>
                  <a:pt x="0" y="275647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1" name="Google Shape;461;p15"/>
          <p:cNvSpPr/>
          <p:nvPr/>
        </p:nvSpPr>
        <p:spPr>
          <a:xfrm>
            <a:off x="313288" y="5563587"/>
            <a:ext cx="2025315" cy="911940"/>
          </a:xfrm>
          <a:custGeom>
            <a:avLst/>
            <a:gdLst/>
            <a:ahLst/>
            <a:cxnLst/>
            <a:rect l="l" t="t" r="r" b="b"/>
            <a:pathLst>
              <a:path w="3037972" h="1367910" extrusionOk="0">
                <a:moveTo>
                  <a:pt x="0" y="0"/>
                </a:moveTo>
                <a:lnTo>
                  <a:pt x="3037972" y="0"/>
                </a:lnTo>
                <a:lnTo>
                  <a:pt x="3037972" y="1367910"/>
                </a:lnTo>
                <a:lnTo>
                  <a:pt x="0" y="136791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b="-566"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62" name="Google Shape;462;p15"/>
          <p:cNvGrpSpPr/>
          <p:nvPr/>
        </p:nvGrpSpPr>
        <p:grpSpPr>
          <a:xfrm>
            <a:off x="1413310" y="1082699"/>
            <a:ext cx="4212352" cy="2463597"/>
            <a:chOff x="0" y="0"/>
            <a:chExt cx="8424704" cy="4927194"/>
          </a:xfrm>
        </p:grpSpPr>
        <p:sp>
          <p:nvSpPr>
            <p:cNvPr id="463" name="Google Shape;463;p15"/>
            <p:cNvSpPr/>
            <p:nvPr/>
          </p:nvSpPr>
          <p:spPr>
            <a:xfrm>
              <a:off x="0" y="0"/>
              <a:ext cx="8424704" cy="4029358"/>
            </a:xfrm>
            <a:custGeom>
              <a:avLst/>
              <a:gdLst/>
              <a:ahLst/>
              <a:cxnLst/>
              <a:rect l="l" t="t" r="r" b="b"/>
              <a:pathLst>
                <a:path w="8424704" h="4029358" extrusionOk="0">
                  <a:moveTo>
                    <a:pt x="0" y="0"/>
                  </a:moveTo>
                  <a:lnTo>
                    <a:pt x="8424704" y="0"/>
                  </a:lnTo>
                  <a:lnTo>
                    <a:pt x="8424704" y="4029358"/>
                  </a:lnTo>
                  <a:lnTo>
                    <a:pt x="0" y="4029358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4" name="Google Shape;464;p15"/>
            <p:cNvSpPr txBox="1"/>
            <p:nvPr/>
          </p:nvSpPr>
          <p:spPr>
            <a:xfrm>
              <a:off x="0" y="897836"/>
              <a:ext cx="8424704" cy="40293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60963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465" name="Google Shape;465;p15"/>
          <p:cNvGrpSpPr/>
          <p:nvPr/>
        </p:nvGrpSpPr>
        <p:grpSpPr>
          <a:xfrm>
            <a:off x="1413310" y="3265570"/>
            <a:ext cx="3794897" cy="1372305"/>
            <a:chOff x="-236483" y="0"/>
            <a:chExt cx="7589795" cy="2744608"/>
          </a:xfrm>
        </p:grpSpPr>
        <p:sp>
          <p:nvSpPr>
            <p:cNvPr id="466" name="Google Shape;466;p15"/>
            <p:cNvSpPr/>
            <p:nvPr/>
          </p:nvSpPr>
          <p:spPr>
            <a:xfrm>
              <a:off x="0" y="0"/>
              <a:ext cx="7353312" cy="1973138"/>
            </a:xfrm>
            <a:custGeom>
              <a:avLst/>
              <a:gdLst/>
              <a:ahLst/>
              <a:cxnLst/>
              <a:rect l="l" t="t" r="r" b="b"/>
              <a:pathLst>
                <a:path w="7353312" h="1973138" extrusionOk="0">
                  <a:moveTo>
                    <a:pt x="0" y="0"/>
                  </a:moveTo>
                  <a:lnTo>
                    <a:pt x="7353312" y="0"/>
                  </a:lnTo>
                  <a:lnTo>
                    <a:pt x="7353312" y="1973138"/>
                  </a:lnTo>
                  <a:lnTo>
                    <a:pt x="0" y="1973138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7" name="Google Shape;467;p15"/>
            <p:cNvSpPr txBox="1"/>
            <p:nvPr/>
          </p:nvSpPr>
          <p:spPr>
            <a:xfrm>
              <a:off x="-236483" y="771470"/>
              <a:ext cx="7353312" cy="197313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60963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4ED36ACC-4C7A-4E35-8AD1-D7CEB308E1E9}"/>
              </a:ext>
            </a:extLst>
          </p:cNvPr>
          <p:cNvSpPr txBox="1"/>
          <p:nvPr/>
        </p:nvSpPr>
        <p:spPr>
          <a:xfrm>
            <a:off x="1385476" y="2309812"/>
            <a:ext cx="10149298" cy="9848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900" b="1" dirty="0">
                <a:solidFill>
                  <a:schemeClr val="accent1"/>
                </a:solidFill>
                <a:latin typeface="DM Sans"/>
              </a:rPr>
              <a:t>Criteria to achieve a 2025 Illinois Birthing Hospital Quality Excellence Award Designation </a:t>
            </a:r>
          </a:p>
        </p:txBody>
      </p:sp>
    </p:spTree>
    <p:extLst>
      <p:ext uri="{BB962C8B-B14F-4D97-AF65-F5344CB8AC3E}">
        <p14:creationId xmlns:p14="http://schemas.microsoft.com/office/powerpoint/2010/main" val="5621824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9">
          <a:extLst>
            <a:ext uri="{FF2B5EF4-FFF2-40B4-BE49-F238E27FC236}">
              <a16:creationId xmlns:a16="http://schemas.microsoft.com/office/drawing/2014/main" id="{1431307D-59EC-8DCC-3D3C-D14CEE0738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" name="Google Shape;360;p11">
            <a:extLst>
              <a:ext uri="{FF2B5EF4-FFF2-40B4-BE49-F238E27FC236}">
                <a16:creationId xmlns:a16="http://schemas.microsoft.com/office/drawing/2014/main" id="{C7C6653E-9903-1C23-2261-B9F72A3A9554}"/>
              </a:ext>
            </a:extLst>
          </p:cNvPr>
          <p:cNvSpPr/>
          <p:nvPr/>
        </p:nvSpPr>
        <p:spPr>
          <a:xfrm>
            <a:off x="9264319" y="228371"/>
            <a:ext cx="2025315" cy="911940"/>
          </a:xfrm>
          <a:custGeom>
            <a:avLst/>
            <a:gdLst/>
            <a:ahLst/>
            <a:cxnLst/>
            <a:rect l="l" t="t" r="r" b="b"/>
            <a:pathLst>
              <a:path w="3037973" h="1367910" extrusionOk="0">
                <a:moveTo>
                  <a:pt x="0" y="0"/>
                </a:moveTo>
                <a:lnTo>
                  <a:pt x="3037973" y="0"/>
                </a:lnTo>
                <a:lnTo>
                  <a:pt x="3037973" y="1367910"/>
                </a:lnTo>
                <a:lnTo>
                  <a:pt x="0" y="136791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b="-95"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1" name="Google Shape;361;p11">
            <a:extLst>
              <a:ext uri="{FF2B5EF4-FFF2-40B4-BE49-F238E27FC236}">
                <a16:creationId xmlns:a16="http://schemas.microsoft.com/office/drawing/2014/main" id="{4894EC1A-C573-D122-3DAA-01C97203ACB5}"/>
              </a:ext>
            </a:extLst>
          </p:cNvPr>
          <p:cNvSpPr/>
          <p:nvPr/>
        </p:nvSpPr>
        <p:spPr>
          <a:xfrm>
            <a:off x="7191543" y="1"/>
            <a:ext cx="5000459" cy="1425992"/>
          </a:xfrm>
          <a:custGeom>
            <a:avLst/>
            <a:gdLst/>
            <a:ahLst/>
            <a:cxnLst/>
            <a:rect l="l" t="t" r="r" b="b"/>
            <a:pathLst>
              <a:path w="7500689" h="2138988" extrusionOk="0">
                <a:moveTo>
                  <a:pt x="0" y="0"/>
                </a:moveTo>
                <a:lnTo>
                  <a:pt x="7500689" y="0"/>
                </a:lnTo>
                <a:lnTo>
                  <a:pt x="7500689" y="2138989"/>
                </a:lnTo>
                <a:lnTo>
                  <a:pt x="0" y="213898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62" name="Google Shape;362;p11">
            <a:extLst>
              <a:ext uri="{FF2B5EF4-FFF2-40B4-BE49-F238E27FC236}">
                <a16:creationId xmlns:a16="http://schemas.microsoft.com/office/drawing/2014/main" id="{4C875A6D-EDBA-F915-3F61-A4C7D655F6C5}"/>
              </a:ext>
            </a:extLst>
          </p:cNvPr>
          <p:cNvCxnSpPr/>
          <p:nvPr/>
        </p:nvCxnSpPr>
        <p:spPr>
          <a:xfrm rot="1988">
            <a:off x="606424" y="6335713"/>
            <a:ext cx="10979152" cy="0"/>
          </a:xfrm>
          <a:prstGeom prst="straightConnector1">
            <a:avLst/>
          </a:prstGeom>
          <a:noFill/>
          <a:ln w="9525" cap="rnd" cmpd="sng">
            <a:solidFill>
              <a:srgbClr val="79818A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363" name="Google Shape;363;p11">
            <a:extLst>
              <a:ext uri="{FF2B5EF4-FFF2-40B4-BE49-F238E27FC236}">
                <a16:creationId xmlns:a16="http://schemas.microsoft.com/office/drawing/2014/main" id="{0C7A739B-B1D8-0A47-8336-4E65E640E6D6}"/>
              </a:ext>
            </a:extLst>
          </p:cNvPr>
          <p:cNvGrpSpPr/>
          <p:nvPr/>
        </p:nvGrpSpPr>
        <p:grpSpPr>
          <a:xfrm>
            <a:off x="4038600" y="6356350"/>
            <a:ext cx="4114800" cy="365125"/>
            <a:chOff x="0" y="0"/>
            <a:chExt cx="8229600" cy="730250"/>
          </a:xfrm>
        </p:grpSpPr>
        <p:sp>
          <p:nvSpPr>
            <p:cNvPr id="364" name="Google Shape;364;p11">
              <a:extLst>
                <a:ext uri="{FF2B5EF4-FFF2-40B4-BE49-F238E27FC236}">
                  <a16:creationId xmlns:a16="http://schemas.microsoft.com/office/drawing/2014/main" id="{5F2D2F9D-C04B-B772-50F6-35CA216A1784}"/>
                </a:ext>
              </a:extLst>
            </p:cNvPr>
            <p:cNvSpPr/>
            <p:nvPr/>
          </p:nvSpPr>
          <p:spPr>
            <a:xfrm>
              <a:off x="0" y="0"/>
              <a:ext cx="8229600" cy="730250"/>
            </a:xfrm>
            <a:custGeom>
              <a:avLst/>
              <a:gdLst/>
              <a:ahLst/>
              <a:cxnLst/>
              <a:rect l="l" t="t" r="r" b="b"/>
              <a:pathLst>
                <a:path w="8229600" h="730250" extrusionOk="0">
                  <a:moveTo>
                    <a:pt x="0" y="0"/>
                  </a:moveTo>
                  <a:lnTo>
                    <a:pt x="8229600" y="0"/>
                  </a:lnTo>
                  <a:lnTo>
                    <a:pt x="82296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365;p11">
              <a:extLst>
                <a:ext uri="{FF2B5EF4-FFF2-40B4-BE49-F238E27FC236}">
                  <a16:creationId xmlns:a16="http://schemas.microsoft.com/office/drawing/2014/main" id="{17C51C11-1F72-17F0-3AFD-4DFC6A720615}"/>
                </a:ext>
              </a:extLst>
            </p:cNvPr>
            <p:cNvSpPr txBox="1"/>
            <p:nvPr/>
          </p:nvSpPr>
          <p:spPr>
            <a:xfrm>
              <a:off x="0" y="0"/>
              <a:ext cx="82296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Illinois Perinatal Quality Collaborative</a:t>
              </a:r>
              <a:endParaRPr sz="622"/>
            </a:p>
          </p:txBody>
        </p:sp>
      </p:grpSp>
      <p:grpSp>
        <p:nvGrpSpPr>
          <p:cNvPr id="366" name="Google Shape;366;p11">
            <a:extLst>
              <a:ext uri="{FF2B5EF4-FFF2-40B4-BE49-F238E27FC236}">
                <a16:creationId xmlns:a16="http://schemas.microsoft.com/office/drawing/2014/main" id="{A976CC04-64D3-900A-A855-E783B9095690}"/>
              </a:ext>
            </a:extLst>
          </p:cNvPr>
          <p:cNvGrpSpPr/>
          <p:nvPr/>
        </p:nvGrpSpPr>
        <p:grpSpPr>
          <a:xfrm>
            <a:off x="8610600" y="6356350"/>
            <a:ext cx="2743200" cy="365125"/>
            <a:chOff x="0" y="0"/>
            <a:chExt cx="5486400" cy="730250"/>
          </a:xfrm>
        </p:grpSpPr>
        <p:sp>
          <p:nvSpPr>
            <p:cNvPr id="367" name="Google Shape;367;p11">
              <a:extLst>
                <a:ext uri="{FF2B5EF4-FFF2-40B4-BE49-F238E27FC236}">
                  <a16:creationId xmlns:a16="http://schemas.microsoft.com/office/drawing/2014/main" id="{0084BB53-7FC4-080C-DCCA-CFDFCC710190}"/>
                </a:ext>
              </a:extLst>
            </p:cNvPr>
            <p:cNvSpPr/>
            <p:nvPr/>
          </p:nvSpPr>
          <p:spPr>
            <a:xfrm>
              <a:off x="0" y="0"/>
              <a:ext cx="5486400" cy="730250"/>
            </a:xfrm>
            <a:custGeom>
              <a:avLst/>
              <a:gdLst/>
              <a:ahLst/>
              <a:cxnLst/>
              <a:rect l="l" t="t" r="r" b="b"/>
              <a:pathLst>
                <a:path w="5486400" h="730250" extrusionOk="0">
                  <a:moveTo>
                    <a:pt x="0" y="0"/>
                  </a:moveTo>
                  <a:lnTo>
                    <a:pt x="5486400" y="0"/>
                  </a:lnTo>
                  <a:lnTo>
                    <a:pt x="54864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11">
              <a:extLst>
                <a:ext uri="{FF2B5EF4-FFF2-40B4-BE49-F238E27FC236}">
                  <a16:creationId xmlns:a16="http://schemas.microsoft.com/office/drawing/2014/main" id="{9AACAC09-5DD3-8C46-3888-710360A336BF}"/>
                </a:ext>
              </a:extLst>
            </p:cNvPr>
            <p:cNvSpPr txBox="1"/>
            <p:nvPr/>
          </p:nvSpPr>
          <p:spPr>
            <a:xfrm>
              <a:off x="0" y="0"/>
              <a:ext cx="54864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10</a:t>
              </a:r>
              <a:endParaRPr sz="622"/>
            </a:p>
          </p:txBody>
        </p:sp>
      </p:grpSp>
      <p:sp>
        <p:nvSpPr>
          <p:cNvPr id="379" name="Google Shape;379;p11">
            <a:extLst>
              <a:ext uri="{FF2B5EF4-FFF2-40B4-BE49-F238E27FC236}">
                <a16:creationId xmlns:a16="http://schemas.microsoft.com/office/drawing/2014/main" id="{5AC76E04-C5C8-0995-23F4-8E31BB10EE6E}"/>
              </a:ext>
            </a:extLst>
          </p:cNvPr>
          <p:cNvSpPr/>
          <p:nvPr/>
        </p:nvSpPr>
        <p:spPr>
          <a:xfrm>
            <a:off x="8276380" y="3429000"/>
            <a:ext cx="3411641" cy="2267712"/>
          </a:xfrm>
          <a:custGeom>
            <a:avLst/>
            <a:gdLst/>
            <a:ahLst/>
            <a:cxnLst/>
            <a:rect l="l" t="t" r="r" b="b"/>
            <a:pathLst>
              <a:path w="6823282" h="4535424" extrusionOk="0">
                <a:moveTo>
                  <a:pt x="0" y="0"/>
                </a:moveTo>
                <a:lnTo>
                  <a:pt x="6823282" y="0"/>
                </a:lnTo>
                <a:lnTo>
                  <a:pt x="6823282" y="4535424"/>
                </a:lnTo>
                <a:lnTo>
                  <a:pt x="0" y="4535424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Google Shape;323;p9">
            <a:extLst>
              <a:ext uri="{FF2B5EF4-FFF2-40B4-BE49-F238E27FC236}">
                <a16:creationId xmlns:a16="http://schemas.microsoft.com/office/drawing/2014/main" id="{09F7313C-3F0B-997C-2A9E-3F31F8105A34}"/>
              </a:ext>
            </a:extLst>
          </p:cNvPr>
          <p:cNvSpPr txBox="1"/>
          <p:nvPr/>
        </p:nvSpPr>
        <p:spPr>
          <a:xfrm>
            <a:off x="609349" y="479174"/>
            <a:ext cx="7902191" cy="562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8000"/>
              </a:lnSpc>
            </a:pPr>
            <a:r>
              <a:rPr lang="en-US" sz="2900" b="1" dirty="0">
                <a:solidFill>
                  <a:srgbClr val="1C498B"/>
                </a:solidFill>
                <a:latin typeface="Arial"/>
                <a:ea typeface="Arial"/>
                <a:cs typeface="Arial"/>
                <a:sym typeface="Arial"/>
              </a:rPr>
              <a:t>Components of </a:t>
            </a:r>
            <a:r>
              <a:rPr lang="en-US" sz="2900" b="1" dirty="0">
                <a:solidFill>
                  <a:srgbClr val="1C498B"/>
                </a:solidFill>
              </a:rPr>
              <a:t>Birthing</a:t>
            </a:r>
            <a:r>
              <a:rPr lang="en-US" sz="2900" b="1" dirty="0">
                <a:solidFill>
                  <a:srgbClr val="1C498B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2900" b="1" dirty="0">
                <a:solidFill>
                  <a:srgbClr val="1C498B"/>
                </a:solidFill>
              </a:rPr>
              <a:t>Hospital </a:t>
            </a:r>
            <a:r>
              <a:rPr lang="en-US" sz="2900" b="1" dirty="0">
                <a:solidFill>
                  <a:srgbClr val="1C498B"/>
                </a:solidFill>
                <a:latin typeface="Arial"/>
                <a:ea typeface="Arial"/>
                <a:cs typeface="Arial"/>
                <a:sym typeface="Arial"/>
              </a:rPr>
              <a:t>Quality </a:t>
            </a:r>
            <a:r>
              <a:rPr lang="en-US" sz="2900" b="1" dirty="0">
                <a:solidFill>
                  <a:srgbClr val="1C498B"/>
                </a:solidFill>
              </a:rPr>
              <a:t>Excellence Award Designation</a:t>
            </a:r>
            <a:endParaRPr sz="2900" b="1" dirty="0">
              <a:solidFill>
                <a:srgbClr val="1C498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808A7407-00B9-8D23-3B50-6B1972B0BD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7559826"/>
              </p:ext>
            </p:extLst>
          </p:nvPr>
        </p:nvGraphicFramePr>
        <p:xfrm>
          <a:off x="1162276" y="1425454"/>
          <a:ext cx="9861006" cy="4596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35126292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Google Shape;338;p10"/>
          <p:cNvSpPr/>
          <p:nvPr/>
        </p:nvSpPr>
        <p:spPr>
          <a:xfrm>
            <a:off x="9264319" y="228371"/>
            <a:ext cx="2025315" cy="911940"/>
          </a:xfrm>
          <a:custGeom>
            <a:avLst/>
            <a:gdLst/>
            <a:ahLst/>
            <a:cxnLst/>
            <a:rect l="l" t="t" r="r" b="b"/>
            <a:pathLst>
              <a:path w="3037973" h="1367910" extrusionOk="0">
                <a:moveTo>
                  <a:pt x="0" y="0"/>
                </a:moveTo>
                <a:lnTo>
                  <a:pt x="3037973" y="0"/>
                </a:lnTo>
                <a:lnTo>
                  <a:pt x="3037973" y="1367910"/>
                </a:lnTo>
                <a:lnTo>
                  <a:pt x="0" y="136791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b="-95"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9" name="Google Shape;339;p10"/>
          <p:cNvSpPr/>
          <p:nvPr/>
        </p:nvSpPr>
        <p:spPr>
          <a:xfrm>
            <a:off x="7191543" y="1"/>
            <a:ext cx="5000459" cy="1425992"/>
          </a:xfrm>
          <a:custGeom>
            <a:avLst/>
            <a:gdLst/>
            <a:ahLst/>
            <a:cxnLst/>
            <a:rect l="l" t="t" r="r" b="b"/>
            <a:pathLst>
              <a:path w="7500689" h="2138988" extrusionOk="0">
                <a:moveTo>
                  <a:pt x="0" y="0"/>
                </a:moveTo>
                <a:lnTo>
                  <a:pt x="7500689" y="0"/>
                </a:lnTo>
                <a:lnTo>
                  <a:pt x="7500689" y="2138989"/>
                </a:lnTo>
                <a:lnTo>
                  <a:pt x="0" y="213898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40" name="Google Shape;340;p10"/>
          <p:cNvCxnSpPr/>
          <p:nvPr/>
        </p:nvCxnSpPr>
        <p:spPr>
          <a:xfrm rot="1988">
            <a:off x="606424" y="6335713"/>
            <a:ext cx="10979152" cy="0"/>
          </a:xfrm>
          <a:prstGeom prst="straightConnector1">
            <a:avLst/>
          </a:prstGeom>
          <a:noFill/>
          <a:ln w="9525" cap="rnd" cmpd="sng">
            <a:solidFill>
              <a:srgbClr val="79818A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341" name="Google Shape;341;p10"/>
          <p:cNvGrpSpPr/>
          <p:nvPr/>
        </p:nvGrpSpPr>
        <p:grpSpPr>
          <a:xfrm>
            <a:off x="4038600" y="6356350"/>
            <a:ext cx="4114800" cy="365125"/>
            <a:chOff x="0" y="0"/>
            <a:chExt cx="8229600" cy="730250"/>
          </a:xfrm>
        </p:grpSpPr>
        <p:sp>
          <p:nvSpPr>
            <p:cNvPr id="342" name="Google Shape;342;p10"/>
            <p:cNvSpPr/>
            <p:nvPr/>
          </p:nvSpPr>
          <p:spPr>
            <a:xfrm>
              <a:off x="0" y="0"/>
              <a:ext cx="8229600" cy="730250"/>
            </a:xfrm>
            <a:custGeom>
              <a:avLst/>
              <a:gdLst/>
              <a:ahLst/>
              <a:cxnLst/>
              <a:rect l="l" t="t" r="r" b="b"/>
              <a:pathLst>
                <a:path w="8229600" h="730250" extrusionOk="0">
                  <a:moveTo>
                    <a:pt x="0" y="0"/>
                  </a:moveTo>
                  <a:lnTo>
                    <a:pt x="8229600" y="0"/>
                  </a:lnTo>
                  <a:lnTo>
                    <a:pt x="82296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3" name="Google Shape;343;p10"/>
            <p:cNvSpPr txBox="1"/>
            <p:nvPr/>
          </p:nvSpPr>
          <p:spPr>
            <a:xfrm>
              <a:off x="0" y="0"/>
              <a:ext cx="82296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Illinois Perinatal Quality Collaborative</a:t>
              </a:r>
              <a:endParaRPr sz="622"/>
            </a:p>
          </p:txBody>
        </p:sp>
      </p:grpSp>
      <p:grpSp>
        <p:nvGrpSpPr>
          <p:cNvPr id="344" name="Google Shape;344;p10"/>
          <p:cNvGrpSpPr/>
          <p:nvPr/>
        </p:nvGrpSpPr>
        <p:grpSpPr>
          <a:xfrm>
            <a:off x="8610600" y="6356350"/>
            <a:ext cx="2743200" cy="365125"/>
            <a:chOff x="0" y="0"/>
            <a:chExt cx="5486400" cy="730250"/>
          </a:xfrm>
        </p:grpSpPr>
        <p:sp>
          <p:nvSpPr>
            <p:cNvPr id="345" name="Google Shape;345;p10"/>
            <p:cNvSpPr/>
            <p:nvPr/>
          </p:nvSpPr>
          <p:spPr>
            <a:xfrm>
              <a:off x="0" y="0"/>
              <a:ext cx="5486400" cy="730250"/>
            </a:xfrm>
            <a:custGeom>
              <a:avLst/>
              <a:gdLst/>
              <a:ahLst/>
              <a:cxnLst/>
              <a:rect l="l" t="t" r="r" b="b"/>
              <a:pathLst>
                <a:path w="5486400" h="730250" extrusionOk="0">
                  <a:moveTo>
                    <a:pt x="0" y="0"/>
                  </a:moveTo>
                  <a:lnTo>
                    <a:pt x="5486400" y="0"/>
                  </a:lnTo>
                  <a:lnTo>
                    <a:pt x="54864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6" name="Google Shape;346;p10"/>
            <p:cNvSpPr txBox="1"/>
            <p:nvPr/>
          </p:nvSpPr>
          <p:spPr>
            <a:xfrm>
              <a:off x="0" y="0"/>
              <a:ext cx="54864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9</a:t>
              </a:r>
              <a:endParaRPr sz="622"/>
            </a:p>
          </p:txBody>
        </p:sp>
      </p:grpSp>
      <p:grpSp>
        <p:nvGrpSpPr>
          <p:cNvPr id="347" name="Google Shape;347;p10"/>
          <p:cNvGrpSpPr/>
          <p:nvPr/>
        </p:nvGrpSpPr>
        <p:grpSpPr>
          <a:xfrm>
            <a:off x="606425" y="0"/>
            <a:ext cx="9697010" cy="1711661"/>
            <a:chOff x="-4809" y="-772196"/>
            <a:chExt cx="14686009" cy="3423322"/>
          </a:xfrm>
        </p:grpSpPr>
        <p:sp>
          <p:nvSpPr>
            <p:cNvPr id="348" name="Google Shape;348;p10"/>
            <p:cNvSpPr/>
            <p:nvPr/>
          </p:nvSpPr>
          <p:spPr>
            <a:xfrm>
              <a:off x="0" y="0"/>
              <a:ext cx="14681200" cy="2651126"/>
            </a:xfrm>
            <a:custGeom>
              <a:avLst/>
              <a:gdLst/>
              <a:ahLst/>
              <a:cxnLst/>
              <a:rect l="l" t="t" r="r" b="b"/>
              <a:pathLst>
                <a:path w="14681200" h="2651126" extrusionOk="0">
                  <a:moveTo>
                    <a:pt x="0" y="0"/>
                  </a:moveTo>
                  <a:lnTo>
                    <a:pt x="14681200" y="0"/>
                  </a:lnTo>
                  <a:lnTo>
                    <a:pt x="14681200" y="2651126"/>
                  </a:lnTo>
                  <a:lnTo>
                    <a:pt x="0" y="2651126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9" name="Google Shape;349;p10"/>
            <p:cNvSpPr txBox="1"/>
            <p:nvPr/>
          </p:nvSpPr>
          <p:spPr>
            <a:xfrm>
              <a:off x="-4809" y="-772196"/>
              <a:ext cx="10935777" cy="26198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8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3600" b="1" dirty="0">
                  <a:solidFill>
                    <a:srgbClr val="1C498B"/>
                  </a:solidFill>
                  <a:latin typeface="Arial"/>
                  <a:ea typeface="Arial"/>
                  <a:cs typeface="Arial"/>
                  <a:sym typeface="Arial"/>
                </a:rPr>
                <a:t>Actively participate with ILPQC</a:t>
              </a:r>
              <a:endParaRPr sz="622" dirty="0"/>
            </a:p>
          </p:txBody>
        </p:sp>
      </p:grpSp>
      <p:graphicFrame>
        <p:nvGraphicFramePr>
          <p:cNvPr id="351" name="Google Shape;351;p10"/>
          <p:cNvGraphicFramePr/>
          <p:nvPr>
            <p:extLst>
              <p:ext uri="{D42A27DB-BD31-4B8C-83A1-F6EECF244321}">
                <p14:modId xmlns:p14="http://schemas.microsoft.com/office/powerpoint/2010/main" val="1195023879"/>
              </p:ext>
            </p:extLst>
          </p:nvPr>
        </p:nvGraphicFramePr>
        <p:xfrm>
          <a:off x="1215726" y="1625717"/>
          <a:ext cx="9676049" cy="4274279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45828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931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4218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800"/>
                        <a:buFont typeface="Calibri"/>
                        <a:buNone/>
                      </a:pPr>
                      <a:r>
                        <a:rPr lang="en-US" sz="2400" b="1" u="none" strike="noStrike" cap="none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Criteria</a:t>
                      </a:r>
                      <a:endParaRPr sz="2400" b="1">
                        <a:solidFill>
                          <a:schemeClr val="tx1"/>
                        </a:solidFill>
                      </a:endParaRPr>
                    </a:p>
                  </a:txBody>
                  <a:tcPr marL="60967" marR="60967" marT="30483" marB="30483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800"/>
                        <a:buFont typeface="Calibri"/>
                        <a:buNone/>
                      </a:pPr>
                      <a:r>
                        <a:rPr lang="en-US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Birthing Hospital</a:t>
                      </a:r>
                      <a:r>
                        <a:rPr lang="en-US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Quality </a:t>
                      </a:r>
                      <a:r>
                        <a:rPr lang="en-US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Excellence </a:t>
                      </a:r>
                      <a:r>
                        <a:rPr lang="en-US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Award</a:t>
                      </a:r>
                      <a:endParaRPr sz="2400" b="1">
                        <a:solidFill>
                          <a:schemeClr val="tx1"/>
                        </a:solidFill>
                      </a:endParaRPr>
                    </a:p>
                  </a:txBody>
                  <a:tcPr marL="60967" marR="60967" marT="30483" marB="30483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57079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Calibri"/>
                        <a:buNone/>
                      </a:pPr>
                      <a:r>
                        <a:rPr lang="en-US" sz="2100" b="1" i="0" u="none" strike="noStrike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Attend </a:t>
                      </a:r>
                      <a:r>
                        <a:rPr lang="en-US" sz="2100" b="1" i="0" u="none" strike="noStrike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ILPQC webinars</a:t>
                      </a:r>
                      <a:r>
                        <a:rPr lang="en-US" sz="2100" b="1" i="0" u="none" strike="noStrike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  <a:r>
                        <a:rPr lang="en-US" sz="2100" b="1" i="0" u="none" strike="noStrike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(Jan-Sep 2025) </a:t>
                      </a:r>
                      <a:r>
                        <a:rPr lang="en-US" sz="2100" b="1" i="0" u="none" strike="noStrike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 panose="020B0604020202020204" pitchFamily="34" charset="0"/>
                        <a:buChar char="•"/>
                      </a:pP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Quality Designation: Jan 13, Mar 3, June 9, Sep 8; 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 panose="020B0604020202020204" pitchFamily="34" charset="0"/>
                        <a:buChar char="•"/>
                      </a:pP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PMH: Jun 23, Jul 28, Sep 22</a:t>
                      </a:r>
                      <a:endParaRPr sz="1600" b="1" i="0" u="none" strike="noStrike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0967" marR="60967" marT="30483" marB="30483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Calibri"/>
                        <a:buNone/>
                      </a:pPr>
                      <a:r>
                        <a:rPr lang="en-US" sz="1900" b="0" i="0" u="none" strike="noStrike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At least one member of QI team should attend </a:t>
                      </a:r>
                      <a:r>
                        <a:rPr lang="en-US" sz="1900" b="1" i="0" u="none" strike="noStrike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five </a:t>
                      </a:r>
                      <a:r>
                        <a:rPr lang="en-US" sz="1900" b="0" i="0" u="none" strike="noStrike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or more ILPQC webinars</a:t>
                      </a:r>
                      <a:endParaRPr sz="1900" b="0" i="0" u="none" strike="noStrike" dirty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60967" marR="60967" marT="30483" marB="30483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47741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44C55"/>
                        </a:buClr>
                        <a:buSzPts val="2800"/>
                        <a:buFont typeface="Calibri"/>
                        <a:buNone/>
                      </a:pPr>
                      <a:r>
                        <a:rPr lang="en-US" sz="2100" b="1" i="0" u="none" strike="noStrike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Attend </a:t>
                      </a:r>
                      <a:r>
                        <a:rPr lang="en-US" sz="2100" b="1" i="0" u="none" strike="noStrike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ILPQC </a:t>
                      </a:r>
                      <a:r>
                        <a:rPr lang="en-US" sz="2100" b="1" i="0" u="none" strike="noStrike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in-person meetings</a:t>
                      </a:r>
                      <a:r>
                        <a:rPr lang="en-US" sz="2100" b="1" i="0" u="none" strike="noStrike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 twice per year</a:t>
                      </a:r>
                      <a:endParaRPr sz="2100" b="1" i="0" u="none" strike="noStrike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0967" marR="60967" marT="30483" marB="30483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Calibri"/>
                        <a:buNone/>
                      </a:pPr>
                      <a:r>
                        <a:rPr lang="en-US" sz="1900" b="0" i="0" u="none" strike="noStrike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Nurse champion at ILPQC Face-to-Face meeting </a:t>
                      </a:r>
                      <a:r>
                        <a:rPr lang="en-US" sz="1900" b="1" i="0" u="none" strike="noStrike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and</a:t>
                      </a:r>
                      <a:r>
                        <a:rPr lang="en-US" sz="1900" b="0" i="0" u="none" strike="noStrike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 Annual Conference</a:t>
                      </a:r>
                    </a:p>
                    <a:p>
                      <a:pPr marL="0" marR="0" lvl="0" indent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900" b="0" i="0" u="none" strike="noStrike" noProof="0" dirty="0">
                          <a:solidFill>
                            <a:srgbClr val="000000"/>
                          </a:solidFill>
                          <a:latin typeface="Calibri"/>
                        </a:rPr>
                        <a:t>Provider champion at ILPQC face-to-face meeting </a:t>
                      </a:r>
                      <a:r>
                        <a:rPr lang="en-US" sz="1900" b="1" i="0" u="none" strike="noStrike" noProof="0" dirty="0">
                          <a:solidFill>
                            <a:srgbClr val="000000"/>
                          </a:solidFill>
                          <a:latin typeface="Calibri"/>
                        </a:rPr>
                        <a:t>and/or</a:t>
                      </a:r>
                      <a:r>
                        <a:rPr lang="en-US" sz="1900" b="0" i="0" u="none" strike="noStrike" noProof="0" dirty="0">
                          <a:solidFill>
                            <a:srgbClr val="000000"/>
                          </a:solidFill>
                          <a:latin typeface="Calibri"/>
                        </a:rPr>
                        <a:t> annual conference</a:t>
                      </a:r>
                      <a:endParaRPr lang="en-US" sz="1900"/>
                    </a:p>
                  </a:txBody>
                  <a:tcPr marL="60967" marR="60967" marT="30483" marB="30483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7279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44C55"/>
                        </a:buClr>
                        <a:buSzPts val="2800"/>
                        <a:buFont typeface="Calibri"/>
                        <a:buNone/>
                      </a:pPr>
                      <a:r>
                        <a:rPr lang="en-US" sz="2100" b="1" i="0" u="none" strike="noStrike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ubmit </a:t>
                      </a:r>
                      <a:r>
                        <a:rPr lang="en-US" sz="2100" b="1" i="0" u="none" strike="noStrike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monthly data</a:t>
                      </a:r>
                      <a:r>
                        <a:rPr lang="en-US" sz="2100" b="1" i="0" u="none" strike="noStrike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between 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44C55"/>
                        </a:buClr>
                        <a:buSzPts val="2800"/>
                        <a:buFont typeface="Calibri"/>
                        <a:buNone/>
                      </a:pPr>
                      <a:r>
                        <a:rPr lang="en-US" sz="2100" b="1" i="0" u="none" strike="noStrike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(Jan-Sep</a:t>
                      </a:r>
                      <a:r>
                        <a:rPr lang="en-US" sz="2100" b="1" i="0" u="none" strike="noStrike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2025</a:t>
                      </a:r>
                      <a:r>
                        <a:rPr lang="en-US" sz="2100" b="1" i="0" u="none" strike="noStrike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)</a:t>
                      </a:r>
                      <a:endParaRPr sz="2100" b="1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0967" marR="60967" marT="30483" marB="30483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Calibri"/>
                        <a:buNone/>
                      </a:pPr>
                      <a:r>
                        <a:rPr lang="en-US" sz="1900" b="1" i="0" u="none" strike="noStrike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8 months</a:t>
                      </a:r>
                      <a:r>
                        <a:rPr lang="en-US" sz="1900" b="0" i="0" u="none" strike="noStrike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of data submitted</a:t>
                      </a:r>
                      <a:endParaRPr sz="1900" dirty="0"/>
                    </a:p>
                  </a:txBody>
                  <a:tcPr marL="60967" marR="60967" marT="30483" marB="30483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7">
          <a:extLst>
            <a:ext uri="{FF2B5EF4-FFF2-40B4-BE49-F238E27FC236}">
              <a16:creationId xmlns:a16="http://schemas.microsoft.com/office/drawing/2014/main" id="{8E75DB2A-9C49-1D9F-1D7D-BB2930AEBD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Google Shape;338;p10">
            <a:extLst>
              <a:ext uri="{FF2B5EF4-FFF2-40B4-BE49-F238E27FC236}">
                <a16:creationId xmlns:a16="http://schemas.microsoft.com/office/drawing/2014/main" id="{58926006-0AB1-4299-F39D-BD1A041226EA}"/>
              </a:ext>
            </a:extLst>
          </p:cNvPr>
          <p:cNvSpPr/>
          <p:nvPr/>
        </p:nvSpPr>
        <p:spPr>
          <a:xfrm>
            <a:off x="9264319" y="228371"/>
            <a:ext cx="2025315" cy="911940"/>
          </a:xfrm>
          <a:custGeom>
            <a:avLst/>
            <a:gdLst/>
            <a:ahLst/>
            <a:cxnLst/>
            <a:rect l="l" t="t" r="r" b="b"/>
            <a:pathLst>
              <a:path w="3037973" h="1367910" extrusionOk="0">
                <a:moveTo>
                  <a:pt x="0" y="0"/>
                </a:moveTo>
                <a:lnTo>
                  <a:pt x="3037973" y="0"/>
                </a:lnTo>
                <a:lnTo>
                  <a:pt x="3037973" y="1367910"/>
                </a:lnTo>
                <a:lnTo>
                  <a:pt x="0" y="136791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b="-95"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9" name="Google Shape;339;p10">
            <a:extLst>
              <a:ext uri="{FF2B5EF4-FFF2-40B4-BE49-F238E27FC236}">
                <a16:creationId xmlns:a16="http://schemas.microsoft.com/office/drawing/2014/main" id="{4540BB2C-90E9-0B7E-439C-B867A5D21BE3}"/>
              </a:ext>
            </a:extLst>
          </p:cNvPr>
          <p:cNvSpPr/>
          <p:nvPr/>
        </p:nvSpPr>
        <p:spPr>
          <a:xfrm>
            <a:off x="7191543" y="1"/>
            <a:ext cx="5000459" cy="1425992"/>
          </a:xfrm>
          <a:custGeom>
            <a:avLst/>
            <a:gdLst/>
            <a:ahLst/>
            <a:cxnLst/>
            <a:rect l="l" t="t" r="r" b="b"/>
            <a:pathLst>
              <a:path w="7500689" h="2138988" extrusionOk="0">
                <a:moveTo>
                  <a:pt x="0" y="0"/>
                </a:moveTo>
                <a:lnTo>
                  <a:pt x="7500689" y="0"/>
                </a:lnTo>
                <a:lnTo>
                  <a:pt x="7500689" y="2138989"/>
                </a:lnTo>
                <a:lnTo>
                  <a:pt x="0" y="213898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40" name="Google Shape;340;p10">
            <a:extLst>
              <a:ext uri="{FF2B5EF4-FFF2-40B4-BE49-F238E27FC236}">
                <a16:creationId xmlns:a16="http://schemas.microsoft.com/office/drawing/2014/main" id="{370A9AEE-51B8-50BD-455E-C076C9B407BD}"/>
              </a:ext>
            </a:extLst>
          </p:cNvPr>
          <p:cNvCxnSpPr/>
          <p:nvPr/>
        </p:nvCxnSpPr>
        <p:spPr>
          <a:xfrm rot="1988">
            <a:off x="606424" y="6335713"/>
            <a:ext cx="10979152" cy="0"/>
          </a:xfrm>
          <a:prstGeom prst="straightConnector1">
            <a:avLst/>
          </a:prstGeom>
          <a:noFill/>
          <a:ln w="9525" cap="rnd" cmpd="sng">
            <a:solidFill>
              <a:srgbClr val="79818A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341" name="Google Shape;341;p10">
            <a:extLst>
              <a:ext uri="{FF2B5EF4-FFF2-40B4-BE49-F238E27FC236}">
                <a16:creationId xmlns:a16="http://schemas.microsoft.com/office/drawing/2014/main" id="{E8479935-2B1B-43CA-AEDD-9FB6D81BDFFE}"/>
              </a:ext>
            </a:extLst>
          </p:cNvPr>
          <p:cNvGrpSpPr/>
          <p:nvPr/>
        </p:nvGrpSpPr>
        <p:grpSpPr>
          <a:xfrm>
            <a:off x="4038600" y="6356350"/>
            <a:ext cx="4114800" cy="365125"/>
            <a:chOff x="0" y="0"/>
            <a:chExt cx="8229600" cy="730250"/>
          </a:xfrm>
        </p:grpSpPr>
        <p:sp>
          <p:nvSpPr>
            <p:cNvPr id="342" name="Google Shape;342;p10">
              <a:extLst>
                <a:ext uri="{FF2B5EF4-FFF2-40B4-BE49-F238E27FC236}">
                  <a16:creationId xmlns:a16="http://schemas.microsoft.com/office/drawing/2014/main" id="{882CBC38-8AB8-06BB-9687-BFE61F8797B0}"/>
                </a:ext>
              </a:extLst>
            </p:cNvPr>
            <p:cNvSpPr/>
            <p:nvPr/>
          </p:nvSpPr>
          <p:spPr>
            <a:xfrm>
              <a:off x="0" y="0"/>
              <a:ext cx="8229600" cy="730250"/>
            </a:xfrm>
            <a:custGeom>
              <a:avLst/>
              <a:gdLst/>
              <a:ahLst/>
              <a:cxnLst/>
              <a:rect l="l" t="t" r="r" b="b"/>
              <a:pathLst>
                <a:path w="8229600" h="730250" extrusionOk="0">
                  <a:moveTo>
                    <a:pt x="0" y="0"/>
                  </a:moveTo>
                  <a:lnTo>
                    <a:pt x="8229600" y="0"/>
                  </a:lnTo>
                  <a:lnTo>
                    <a:pt x="82296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3" name="Google Shape;343;p10">
              <a:extLst>
                <a:ext uri="{FF2B5EF4-FFF2-40B4-BE49-F238E27FC236}">
                  <a16:creationId xmlns:a16="http://schemas.microsoft.com/office/drawing/2014/main" id="{257C8E6B-1356-90F0-591D-4C9707913B63}"/>
                </a:ext>
              </a:extLst>
            </p:cNvPr>
            <p:cNvSpPr txBox="1"/>
            <p:nvPr/>
          </p:nvSpPr>
          <p:spPr>
            <a:xfrm>
              <a:off x="0" y="0"/>
              <a:ext cx="82296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Illinois Perinatal Quality Collaborative</a:t>
              </a:r>
              <a:endParaRPr sz="622"/>
            </a:p>
          </p:txBody>
        </p:sp>
      </p:grpSp>
      <p:grpSp>
        <p:nvGrpSpPr>
          <p:cNvPr id="344" name="Google Shape;344;p10">
            <a:extLst>
              <a:ext uri="{FF2B5EF4-FFF2-40B4-BE49-F238E27FC236}">
                <a16:creationId xmlns:a16="http://schemas.microsoft.com/office/drawing/2014/main" id="{B13B2124-2110-A789-A44C-0DD66B7CBCF1}"/>
              </a:ext>
            </a:extLst>
          </p:cNvPr>
          <p:cNvGrpSpPr/>
          <p:nvPr/>
        </p:nvGrpSpPr>
        <p:grpSpPr>
          <a:xfrm>
            <a:off x="8610600" y="6356350"/>
            <a:ext cx="2743200" cy="365125"/>
            <a:chOff x="0" y="0"/>
            <a:chExt cx="5486400" cy="730250"/>
          </a:xfrm>
        </p:grpSpPr>
        <p:sp>
          <p:nvSpPr>
            <p:cNvPr id="345" name="Google Shape;345;p10">
              <a:extLst>
                <a:ext uri="{FF2B5EF4-FFF2-40B4-BE49-F238E27FC236}">
                  <a16:creationId xmlns:a16="http://schemas.microsoft.com/office/drawing/2014/main" id="{C924279C-66A3-5772-AB29-37E2CA32AD9F}"/>
                </a:ext>
              </a:extLst>
            </p:cNvPr>
            <p:cNvSpPr/>
            <p:nvPr/>
          </p:nvSpPr>
          <p:spPr>
            <a:xfrm>
              <a:off x="0" y="0"/>
              <a:ext cx="5486400" cy="730250"/>
            </a:xfrm>
            <a:custGeom>
              <a:avLst/>
              <a:gdLst/>
              <a:ahLst/>
              <a:cxnLst/>
              <a:rect l="l" t="t" r="r" b="b"/>
              <a:pathLst>
                <a:path w="5486400" h="730250" extrusionOk="0">
                  <a:moveTo>
                    <a:pt x="0" y="0"/>
                  </a:moveTo>
                  <a:lnTo>
                    <a:pt x="5486400" y="0"/>
                  </a:lnTo>
                  <a:lnTo>
                    <a:pt x="54864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6" name="Google Shape;346;p10">
              <a:extLst>
                <a:ext uri="{FF2B5EF4-FFF2-40B4-BE49-F238E27FC236}">
                  <a16:creationId xmlns:a16="http://schemas.microsoft.com/office/drawing/2014/main" id="{CCAE374E-ED0C-4315-27C1-47D71FFB5200}"/>
                </a:ext>
              </a:extLst>
            </p:cNvPr>
            <p:cNvSpPr txBox="1"/>
            <p:nvPr/>
          </p:nvSpPr>
          <p:spPr>
            <a:xfrm>
              <a:off x="0" y="0"/>
              <a:ext cx="54864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9</a:t>
              </a:r>
              <a:endParaRPr sz="622"/>
            </a:p>
          </p:txBody>
        </p:sp>
      </p:grpSp>
      <p:grpSp>
        <p:nvGrpSpPr>
          <p:cNvPr id="347" name="Google Shape;347;p10">
            <a:extLst>
              <a:ext uri="{FF2B5EF4-FFF2-40B4-BE49-F238E27FC236}">
                <a16:creationId xmlns:a16="http://schemas.microsoft.com/office/drawing/2014/main" id="{281CE49D-FD0C-15A3-1765-7702A3516B16}"/>
              </a:ext>
            </a:extLst>
          </p:cNvPr>
          <p:cNvGrpSpPr/>
          <p:nvPr/>
        </p:nvGrpSpPr>
        <p:grpSpPr>
          <a:xfrm>
            <a:off x="606425" y="0"/>
            <a:ext cx="9697010" cy="1711661"/>
            <a:chOff x="-4809" y="-772196"/>
            <a:chExt cx="14686009" cy="3423322"/>
          </a:xfrm>
        </p:grpSpPr>
        <p:sp>
          <p:nvSpPr>
            <p:cNvPr id="348" name="Google Shape;348;p10">
              <a:extLst>
                <a:ext uri="{FF2B5EF4-FFF2-40B4-BE49-F238E27FC236}">
                  <a16:creationId xmlns:a16="http://schemas.microsoft.com/office/drawing/2014/main" id="{846B8E2F-2BC2-C89D-E3CF-4F168B1751CD}"/>
                </a:ext>
              </a:extLst>
            </p:cNvPr>
            <p:cNvSpPr/>
            <p:nvPr/>
          </p:nvSpPr>
          <p:spPr>
            <a:xfrm>
              <a:off x="0" y="0"/>
              <a:ext cx="14681200" cy="2651126"/>
            </a:xfrm>
            <a:custGeom>
              <a:avLst/>
              <a:gdLst/>
              <a:ahLst/>
              <a:cxnLst/>
              <a:rect l="l" t="t" r="r" b="b"/>
              <a:pathLst>
                <a:path w="14681200" h="2651126" extrusionOk="0">
                  <a:moveTo>
                    <a:pt x="0" y="0"/>
                  </a:moveTo>
                  <a:lnTo>
                    <a:pt x="14681200" y="0"/>
                  </a:lnTo>
                  <a:lnTo>
                    <a:pt x="14681200" y="2651126"/>
                  </a:lnTo>
                  <a:lnTo>
                    <a:pt x="0" y="2651126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9" name="Google Shape;349;p10">
              <a:extLst>
                <a:ext uri="{FF2B5EF4-FFF2-40B4-BE49-F238E27FC236}">
                  <a16:creationId xmlns:a16="http://schemas.microsoft.com/office/drawing/2014/main" id="{F5D0128E-9A26-0A92-56F2-A8EEB3DE7762}"/>
                </a:ext>
              </a:extLst>
            </p:cNvPr>
            <p:cNvSpPr txBox="1"/>
            <p:nvPr/>
          </p:nvSpPr>
          <p:spPr>
            <a:xfrm>
              <a:off x="-4809" y="-772196"/>
              <a:ext cx="10935777" cy="26198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8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3600" b="1" dirty="0">
                  <a:solidFill>
                    <a:srgbClr val="1C498B"/>
                  </a:solidFill>
                  <a:latin typeface="Arial"/>
                  <a:ea typeface="Arial"/>
                  <a:cs typeface="Arial"/>
                  <a:sym typeface="Arial"/>
                </a:rPr>
                <a:t>Actively participate with ILPQC</a:t>
              </a:r>
              <a:endParaRPr sz="622" dirty="0"/>
            </a:p>
          </p:txBody>
        </p:sp>
      </p:grpSp>
      <p:graphicFrame>
        <p:nvGraphicFramePr>
          <p:cNvPr id="351" name="Google Shape;351;p10">
            <a:extLst>
              <a:ext uri="{FF2B5EF4-FFF2-40B4-BE49-F238E27FC236}">
                <a16:creationId xmlns:a16="http://schemas.microsoft.com/office/drawing/2014/main" id="{796C7AA8-82E2-B82B-7B05-8F42847F29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12615653"/>
              </p:ext>
            </p:extLst>
          </p:nvPr>
        </p:nvGraphicFramePr>
        <p:xfrm>
          <a:off x="606424" y="1812090"/>
          <a:ext cx="10490202" cy="3454425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5245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451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73878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800"/>
                        <a:buFont typeface="Calibri"/>
                        <a:buNone/>
                      </a:pPr>
                      <a:r>
                        <a:rPr lang="en-US" sz="2400" b="1" u="none" strike="noStrike" cap="none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Criteria</a:t>
                      </a:r>
                      <a:endParaRPr sz="2400" b="1"/>
                    </a:p>
                  </a:txBody>
                  <a:tcPr marL="60967" marR="60967" marT="30483" marB="30483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rgbClr val="000000"/>
                          </a:solidFill>
                          <a:latin typeface="Calibri"/>
                        </a:rPr>
                        <a:t>Birthing Hospital </a:t>
                      </a:r>
                      <a:r>
                        <a:rPr lang="en-US" sz="2400" b="1" i="0" u="none" strike="noStrike" noProof="0" dirty="0">
                          <a:solidFill>
                            <a:srgbClr val="000000"/>
                          </a:solidFill>
                          <a:latin typeface="Calibri"/>
                          <a:sym typeface="Calibri"/>
                        </a:rPr>
                        <a:t>Quality</a:t>
                      </a:r>
                      <a:r>
                        <a:rPr lang="en-US" sz="2400" b="1" i="0" u="none" strike="noStrike" noProof="0" dirty="0">
                          <a:solidFill>
                            <a:srgbClr val="000000"/>
                          </a:solidFill>
                          <a:latin typeface="Calibri"/>
                        </a:rPr>
                        <a:t> Excellence</a:t>
                      </a:r>
                      <a:r>
                        <a:rPr lang="en-US" sz="2400" b="1" i="0" u="none" strike="noStrike" noProof="0" dirty="0">
                          <a:solidFill>
                            <a:srgbClr val="000000"/>
                          </a:solidFill>
                          <a:latin typeface="Calibri"/>
                          <a:sym typeface="Calibri"/>
                        </a:rPr>
                        <a:t> Award</a:t>
                      </a:r>
                      <a:endParaRPr sz="2400" b="1" i="0" u="none" strike="noStrike" noProof="0">
                        <a:solidFill>
                          <a:srgbClr val="000000"/>
                        </a:solidFill>
                      </a:endParaRPr>
                    </a:p>
                  </a:txBody>
                  <a:tcPr marL="60967" marR="60967" marT="30483" marB="30483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14407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44C55"/>
                        </a:buClr>
                        <a:buSzPts val="2800"/>
                        <a:buFont typeface="Calibri"/>
                        <a:buNone/>
                      </a:pPr>
                      <a:r>
                        <a:rPr lang="en-US" sz="2100" b="1" i="0" u="none" strike="noStrike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tratify data by race, ethnicity, and insurance status</a:t>
                      </a:r>
                      <a:r>
                        <a:rPr lang="en-US" sz="2100" b="1" i="0" u="none" strike="noStrike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 (ILPQC Data Dashboard)</a:t>
                      </a:r>
                      <a:endParaRPr sz="2100" b="1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0967" marR="60967" marT="30483" marB="30483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Calibri"/>
                        <a:buNone/>
                      </a:pPr>
                      <a:r>
                        <a:rPr lang="en-US" sz="1900" b="0" i="0" u="none" strike="noStrike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tratification of designated measures by race, ethnicity and insurance status with plan for data review and action to address identified disparities</a:t>
                      </a:r>
                      <a:endParaRPr sz="1200" dirty="0"/>
                    </a:p>
                  </a:txBody>
                  <a:tcPr marL="60967" marR="60967" marT="30483" marB="30483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11207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Calibri"/>
                        <a:buNone/>
                      </a:pPr>
                      <a:r>
                        <a:rPr lang="en-US" sz="2100" b="1" i="0" u="none" strike="noStrike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Participate in quality improvement support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Calibri"/>
                        <a:buNone/>
                      </a:pPr>
                      <a:endParaRPr lang="en-US" sz="2100" b="1" i="0" u="none" strike="noStrike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0967" marR="60967" marT="30483" marB="30483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Calibri"/>
                        <a:buNone/>
                      </a:pPr>
                      <a:r>
                        <a:rPr lang="en-US" sz="1900" b="1" i="0" u="none" strike="noStrike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Attend 1 </a:t>
                      </a:r>
                      <a:r>
                        <a:rPr lang="en-US" sz="1900" b="0" i="0" u="none" strike="noStrike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or more quality improvement support</a:t>
                      </a:r>
                      <a:r>
                        <a:rPr lang="en-US" sz="1900" b="0" i="0" u="none" strike="noStrike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 (One-to-One Support or QI office Hours)</a:t>
                      </a:r>
                      <a:endParaRPr sz="1900" b="0" i="0" u="none" strike="noStrike" dirty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60967" marR="60967" marT="30483" marB="30483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14407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2800"/>
                        <a:buFont typeface="Calibri"/>
                        <a:buNone/>
                      </a:pPr>
                      <a:r>
                        <a:rPr lang="en-US" sz="21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</a:rPr>
                        <a:t>Submit Promoting Vaginal Birth and Birth Equity Sustainability Plans to ILPQC and your PNA</a:t>
                      </a:r>
                    </a:p>
                  </a:txBody>
                  <a:tcPr marL="60967" marR="60967" marT="30483" marB="30483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Calibri"/>
                        <a:buNone/>
                      </a:pPr>
                      <a:r>
                        <a:rPr lang="en-US" sz="1900" dirty="0">
                          <a:latin typeface="Calibri"/>
                        </a:rPr>
                        <a:t>Confirm you have submitted both the PVB and the Birth Equity Sustainability Plans before submitting your Birth Quality Designation application</a:t>
                      </a:r>
                      <a:endParaRPr sz="1900" dirty="0">
                        <a:latin typeface="Calibri"/>
                      </a:endParaRPr>
                    </a:p>
                  </a:txBody>
                  <a:tcPr marL="60967" marR="60967" marT="30483" marB="30483"/>
                </a:tc>
                <a:extLst>
                  <a:ext uri="{0D108BD9-81ED-4DB2-BD59-A6C34878D82A}">
                    <a16:rowId xmlns:a16="http://schemas.microsoft.com/office/drawing/2014/main" val="28640417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99291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" name="Google Shape;360;p11"/>
          <p:cNvSpPr/>
          <p:nvPr/>
        </p:nvSpPr>
        <p:spPr>
          <a:xfrm>
            <a:off x="9264319" y="228371"/>
            <a:ext cx="2025315" cy="911940"/>
          </a:xfrm>
          <a:custGeom>
            <a:avLst/>
            <a:gdLst/>
            <a:ahLst/>
            <a:cxnLst/>
            <a:rect l="l" t="t" r="r" b="b"/>
            <a:pathLst>
              <a:path w="3037973" h="1367910" extrusionOk="0">
                <a:moveTo>
                  <a:pt x="0" y="0"/>
                </a:moveTo>
                <a:lnTo>
                  <a:pt x="3037973" y="0"/>
                </a:lnTo>
                <a:lnTo>
                  <a:pt x="3037973" y="1367910"/>
                </a:lnTo>
                <a:lnTo>
                  <a:pt x="0" y="136791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b="-95"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1" name="Google Shape;361;p11"/>
          <p:cNvSpPr/>
          <p:nvPr/>
        </p:nvSpPr>
        <p:spPr>
          <a:xfrm>
            <a:off x="7191543" y="1"/>
            <a:ext cx="5000459" cy="1425992"/>
          </a:xfrm>
          <a:custGeom>
            <a:avLst/>
            <a:gdLst/>
            <a:ahLst/>
            <a:cxnLst/>
            <a:rect l="l" t="t" r="r" b="b"/>
            <a:pathLst>
              <a:path w="7500689" h="2138988" extrusionOk="0">
                <a:moveTo>
                  <a:pt x="0" y="0"/>
                </a:moveTo>
                <a:lnTo>
                  <a:pt x="7500689" y="0"/>
                </a:lnTo>
                <a:lnTo>
                  <a:pt x="7500689" y="2138989"/>
                </a:lnTo>
                <a:lnTo>
                  <a:pt x="0" y="213898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62" name="Google Shape;362;p11"/>
          <p:cNvCxnSpPr/>
          <p:nvPr/>
        </p:nvCxnSpPr>
        <p:spPr>
          <a:xfrm rot="1988">
            <a:off x="606424" y="6335713"/>
            <a:ext cx="10979152" cy="0"/>
          </a:xfrm>
          <a:prstGeom prst="straightConnector1">
            <a:avLst/>
          </a:prstGeom>
          <a:noFill/>
          <a:ln w="9525" cap="rnd" cmpd="sng">
            <a:solidFill>
              <a:srgbClr val="79818A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363" name="Google Shape;363;p11"/>
          <p:cNvGrpSpPr/>
          <p:nvPr/>
        </p:nvGrpSpPr>
        <p:grpSpPr>
          <a:xfrm>
            <a:off x="4038600" y="6356350"/>
            <a:ext cx="4114800" cy="365125"/>
            <a:chOff x="0" y="0"/>
            <a:chExt cx="8229600" cy="730250"/>
          </a:xfrm>
        </p:grpSpPr>
        <p:sp>
          <p:nvSpPr>
            <p:cNvPr id="364" name="Google Shape;364;p11"/>
            <p:cNvSpPr/>
            <p:nvPr/>
          </p:nvSpPr>
          <p:spPr>
            <a:xfrm>
              <a:off x="0" y="0"/>
              <a:ext cx="8229600" cy="730250"/>
            </a:xfrm>
            <a:custGeom>
              <a:avLst/>
              <a:gdLst/>
              <a:ahLst/>
              <a:cxnLst/>
              <a:rect l="l" t="t" r="r" b="b"/>
              <a:pathLst>
                <a:path w="8229600" h="730250" extrusionOk="0">
                  <a:moveTo>
                    <a:pt x="0" y="0"/>
                  </a:moveTo>
                  <a:lnTo>
                    <a:pt x="8229600" y="0"/>
                  </a:lnTo>
                  <a:lnTo>
                    <a:pt x="82296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365;p11"/>
            <p:cNvSpPr txBox="1"/>
            <p:nvPr/>
          </p:nvSpPr>
          <p:spPr>
            <a:xfrm>
              <a:off x="0" y="0"/>
              <a:ext cx="82296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Illinois Perinatal Quality Collaborative</a:t>
              </a:r>
              <a:endParaRPr sz="622"/>
            </a:p>
          </p:txBody>
        </p:sp>
      </p:grpSp>
      <p:grpSp>
        <p:nvGrpSpPr>
          <p:cNvPr id="366" name="Google Shape;366;p11"/>
          <p:cNvGrpSpPr/>
          <p:nvPr/>
        </p:nvGrpSpPr>
        <p:grpSpPr>
          <a:xfrm>
            <a:off x="8610600" y="6356350"/>
            <a:ext cx="2743200" cy="365125"/>
            <a:chOff x="0" y="0"/>
            <a:chExt cx="5486400" cy="730250"/>
          </a:xfrm>
        </p:grpSpPr>
        <p:sp>
          <p:nvSpPr>
            <p:cNvPr id="367" name="Google Shape;367;p11"/>
            <p:cNvSpPr/>
            <p:nvPr/>
          </p:nvSpPr>
          <p:spPr>
            <a:xfrm>
              <a:off x="0" y="0"/>
              <a:ext cx="5486400" cy="730250"/>
            </a:xfrm>
            <a:custGeom>
              <a:avLst/>
              <a:gdLst/>
              <a:ahLst/>
              <a:cxnLst/>
              <a:rect l="l" t="t" r="r" b="b"/>
              <a:pathLst>
                <a:path w="5486400" h="730250" extrusionOk="0">
                  <a:moveTo>
                    <a:pt x="0" y="0"/>
                  </a:moveTo>
                  <a:lnTo>
                    <a:pt x="5486400" y="0"/>
                  </a:lnTo>
                  <a:lnTo>
                    <a:pt x="54864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11"/>
            <p:cNvSpPr txBox="1"/>
            <p:nvPr/>
          </p:nvSpPr>
          <p:spPr>
            <a:xfrm>
              <a:off x="0" y="0"/>
              <a:ext cx="54864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10</a:t>
              </a:r>
              <a:endParaRPr sz="622"/>
            </a:p>
          </p:txBody>
        </p:sp>
      </p:grpSp>
      <p:grpSp>
        <p:nvGrpSpPr>
          <p:cNvPr id="369" name="Google Shape;369;p11"/>
          <p:cNvGrpSpPr/>
          <p:nvPr/>
        </p:nvGrpSpPr>
        <p:grpSpPr>
          <a:xfrm>
            <a:off x="609601" y="1435558"/>
            <a:ext cx="10955398" cy="1468549"/>
            <a:chOff x="0" y="-9525"/>
            <a:chExt cx="21910796" cy="2937097"/>
          </a:xfrm>
        </p:grpSpPr>
        <p:sp>
          <p:nvSpPr>
            <p:cNvPr id="370" name="Google Shape;370;p11"/>
            <p:cNvSpPr/>
            <p:nvPr/>
          </p:nvSpPr>
          <p:spPr>
            <a:xfrm>
              <a:off x="0" y="0"/>
              <a:ext cx="21886983" cy="2927572"/>
            </a:xfrm>
            <a:custGeom>
              <a:avLst/>
              <a:gdLst/>
              <a:ahLst/>
              <a:cxnLst/>
              <a:rect l="l" t="t" r="r" b="b"/>
              <a:pathLst>
                <a:path w="21886983" h="2927572" extrusionOk="0">
                  <a:moveTo>
                    <a:pt x="0" y="0"/>
                  </a:moveTo>
                  <a:lnTo>
                    <a:pt x="21886983" y="0"/>
                  </a:lnTo>
                  <a:lnTo>
                    <a:pt x="21886983" y="2927572"/>
                  </a:lnTo>
                  <a:lnTo>
                    <a:pt x="0" y="2927572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371;p11"/>
            <p:cNvSpPr txBox="1"/>
            <p:nvPr/>
          </p:nvSpPr>
          <p:spPr>
            <a:xfrm>
              <a:off x="0" y="-9525"/>
              <a:ext cx="21910796" cy="21989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254000" lvl="1">
                <a:buClr>
                  <a:srgbClr val="444C55"/>
                </a:buClr>
                <a:buSzPts val="4200"/>
              </a:pPr>
              <a:r>
                <a:rPr lang="en-US" sz="2800" b="0" i="0" u="none" strike="noStrike" cap="none" dirty="0">
                  <a:solidFill>
                    <a:srgbClr val="444C55"/>
                  </a:solidFill>
                  <a:latin typeface="Calibri"/>
                  <a:ea typeface="Arial"/>
                  <a:cs typeface="Arial"/>
                  <a:sym typeface="Arial"/>
                </a:rPr>
                <a:t>Provide</a:t>
              </a:r>
              <a:r>
                <a:rPr lang="en-US" sz="2800" dirty="0">
                  <a:solidFill>
                    <a:srgbClr val="444C55"/>
                  </a:solidFill>
                  <a:latin typeface="Calibri"/>
                </a:rPr>
                <a:t> annual training</a:t>
              </a:r>
              <a:r>
                <a:rPr lang="en-US" sz="2800" b="0" i="0" u="none" strike="noStrike" cap="none" dirty="0">
                  <a:solidFill>
                    <a:srgbClr val="444C55"/>
                  </a:solidFill>
                  <a:latin typeface="Calibri"/>
                  <a:ea typeface="Arial"/>
                  <a:cs typeface="Arial"/>
                  <a:sym typeface="Arial"/>
                </a:rPr>
                <a:t> </a:t>
              </a:r>
              <a:r>
                <a:rPr lang="en-US" sz="2800" dirty="0">
                  <a:solidFill>
                    <a:srgbClr val="444C55"/>
                  </a:solidFill>
                  <a:latin typeface="Calibri"/>
                </a:rPr>
                <a:t>for </a:t>
              </a:r>
              <a:r>
                <a:rPr lang="en-US" sz="2800" b="0" i="0" u="none" strike="noStrike" cap="none" dirty="0">
                  <a:solidFill>
                    <a:srgbClr val="444C55"/>
                  </a:solidFill>
                  <a:latin typeface="Calibri"/>
                  <a:ea typeface="Arial"/>
                  <a:cs typeface="Arial"/>
                  <a:sym typeface="Arial"/>
                </a:rPr>
                <a:t>clinical </a:t>
              </a:r>
              <a:r>
                <a:rPr lang="en-US" sz="2800" dirty="0">
                  <a:solidFill>
                    <a:srgbClr val="444C55"/>
                  </a:solidFill>
                  <a:latin typeface="Calibri"/>
                </a:rPr>
                <a:t>teams</a:t>
              </a:r>
              <a:r>
                <a:rPr lang="en-US" sz="2800" b="0" i="0" u="none" strike="noStrike" cap="none" dirty="0">
                  <a:solidFill>
                    <a:srgbClr val="444C55"/>
                  </a:solidFill>
                  <a:latin typeface="Calibri"/>
                  <a:ea typeface="Arial"/>
                  <a:cs typeface="Arial"/>
                  <a:sym typeface="Arial"/>
                </a:rPr>
                <a:t> </a:t>
              </a:r>
              <a:r>
                <a:rPr lang="en-US" sz="2800" dirty="0">
                  <a:solidFill>
                    <a:srgbClr val="444C55"/>
                  </a:solidFill>
                  <a:latin typeface="Calibri"/>
                </a:rPr>
                <a:t>and</a:t>
              </a:r>
              <a:r>
                <a:rPr lang="en-US" sz="2800" b="0" i="0" u="none" strike="noStrike" cap="none" dirty="0">
                  <a:solidFill>
                    <a:srgbClr val="444C55"/>
                  </a:solidFill>
                  <a:latin typeface="Calibri"/>
                  <a:ea typeface="Arial"/>
                  <a:cs typeface="Arial"/>
                  <a:sym typeface="Arial"/>
                </a:rPr>
                <a:t> new hires</a:t>
              </a:r>
              <a:r>
                <a:rPr lang="en-US" sz="2800" dirty="0">
                  <a:solidFill>
                    <a:srgbClr val="444C55"/>
                  </a:solidFill>
                  <a:latin typeface="Calibri"/>
                </a:rPr>
                <a:t> on respectful care,</a:t>
              </a:r>
              <a:r>
                <a:rPr lang="en-US" sz="2800" b="0" i="0" u="none" strike="noStrike" cap="none" dirty="0">
                  <a:solidFill>
                    <a:srgbClr val="444C55"/>
                  </a:solidFill>
                  <a:latin typeface="Calibri"/>
                  <a:ea typeface="Arial"/>
                  <a:cs typeface="Arial"/>
                  <a:sym typeface="Arial"/>
                </a:rPr>
                <a:t> </a:t>
              </a:r>
              <a:r>
                <a:rPr lang="en-US" sz="2800" dirty="0">
                  <a:solidFill>
                    <a:srgbClr val="444C55"/>
                  </a:solidFill>
                  <a:latin typeface="Calibri"/>
                </a:rPr>
                <a:t>with a focus on</a:t>
              </a:r>
              <a:r>
                <a:rPr lang="en-US" sz="2800" b="0" i="0" u="none" strike="noStrike" cap="none" dirty="0">
                  <a:solidFill>
                    <a:srgbClr val="444C55"/>
                  </a:solidFill>
                  <a:latin typeface="Calibri"/>
                  <a:ea typeface="Arial"/>
                  <a:cs typeface="Arial"/>
                  <a:sym typeface="Arial"/>
                </a:rPr>
                <a:t> reducing disparities, topics such as: </a:t>
              </a:r>
              <a:endParaRPr lang="en-US" sz="2800" b="0" i="0" u="none" strike="noStrike" cap="none" dirty="0">
                <a:solidFill>
                  <a:srgbClr val="444C55"/>
                </a:solidFill>
                <a:latin typeface="Calibri"/>
                <a:ea typeface="Calibri"/>
              </a:endParaRPr>
            </a:p>
          </p:txBody>
        </p:sp>
      </p:grpSp>
      <p:grpSp>
        <p:nvGrpSpPr>
          <p:cNvPr id="372" name="Google Shape;372;p11"/>
          <p:cNvGrpSpPr/>
          <p:nvPr/>
        </p:nvGrpSpPr>
        <p:grpSpPr>
          <a:xfrm>
            <a:off x="604434" y="262615"/>
            <a:ext cx="6217403" cy="652101"/>
            <a:chOff x="0" y="-122340"/>
            <a:chExt cx="12434806" cy="1304202"/>
          </a:xfrm>
        </p:grpSpPr>
        <p:sp>
          <p:nvSpPr>
            <p:cNvPr id="373" name="Google Shape;373;p11"/>
            <p:cNvSpPr/>
            <p:nvPr/>
          </p:nvSpPr>
          <p:spPr>
            <a:xfrm>
              <a:off x="0" y="0"/>
              <a:ext cx="12434806" cy="1181862"/>
            </a:xfrm>
            <a:custGeom>
              <a:avLst/>
              <a:gdLst/>
              <a:ahLst/>
              <a:cxnLst/>
              <a:rect l="l" t="t" r="r" b="b"/>
              <a:pathLst>
                <a:path w="12434806" h="1181862" extrusionOk="0">
                  <a:moveTo>
                    <a:pt x="0" y="0"/>
                  </a:moveTo>
                  <a:lnTo>
                    <a:pt x="12434806" y="0"/>
                  </a:lnTo>
                  <a:lnTo>
                    <a:pt x="12434806" y="1181862"/>
                  </a:lnTo>
                  <a:lnTo>
                    <a:pt x="0" y="1181862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374;p11"/>
            <p:cNvSpPr txBox="1"/>
            <p:nvPr/>
          </p:nvSpPr>
          <p:spPr>
            <a:xfrm>
              <a:off x="0" y="-122340"/>
              <a:ext cx="12434806" cy="112471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8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3600" b="1" dirty="0">
                  <a:solidFill>
                    <a:srgbClr val="1C498B"/>
                  </a:solidFill>
                  <a:latin typeface="Arial"/>
                  <a:ea typeface="Arial"/>
                  <a:cs typeface="Arial"/>
                  <a:sym typeface="Arial"/>
                </a:rPr>
                <a:t>New Hire and Ongoing Education</a:t>
              </a:r>
              <a:endParaRPr sz="622" dirty="0"/>
            </a:p>
          </p:txBody>
        </p:sp>
      </p:grpSp>
      <p:sp>
        <p:nvSpPr>
          <p:cNvPr id="379" name="Google Shape;379;p11"/>
          <p:cNvSpPr/>
          <p:nvPr/>
        </p:nvSpPr>
        <p:spPr>
          <a:xfrm>
            <a:off x="8276380" y="3429000"/>
            <a:ext cx="3411641" cy="2267712"/>
          </a:xfrm>
          <a:custGeom>
            <a:avLst/>
            <a:gdLst/>
            <a:ahLst/>
            <a:cxnLst/>
            <a:rect l="l" t="t" r="r" b="b"/>
            <a:pathLst>
              <a:path w="6823282" h="4535424" extrusionOk="0">
                <a:moveTo>
                  <a:pt x="0" y="0"/>
                </a:moveTo>
                <a:lnTo>
                  <a:pt x="6823282" y="0"/>
                </a:lnTo>
                <a:lnTo>
                  <a:pt x="6823282" y="4535424"/>
                </a:lnTo>
                <a:lnTo>
                  <a:pt x="0" y="4535424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3C733EF-BF6B-6521-0626-0B3E26B075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11942" y="2858012"/>
            <a:ext cx="5181600" cy="3687660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Calibri"/>
                <a:ea typeface="Calibri"/>
                <a:cs typeface="Arial"/>
              </a:rPr>
              <a:t>Equity &amp; Respect</a:t>
            </a:r>
          </a:p>
          <a:p>
            <a:pPr marL="914400" lvl="1" indent="-457200">
              <a:buFont typeface="Courier New" panose="020B0604020202020204" pitchFamily="34" charset="0"/>
              <a:buChar char="o"/>
            </a:pPr>
            <a:r>
              <a:rPr lang="en-US" dirty="0">
                <a:latin typeface="Calibri"/>
                <a:ea typeface="Calibri"/>
                <a:cs typeface="Arial"/>
              </a:rPr>
              <a:t>Address unconscious/implicit bias</a:t>
            </a:r>
          </a:p>
          <a:p>
            <a:pPr marL="914400" lvl="1" indent="-457200">
              <a:buFont typeface="Courier New" panose="020B0604020202020204" pitchFamily="34" charset="0"/>
              <a:buChar char="o"/>
            </a:pPr>
            <a:r>
              <a:rPr lang="en-US" dirty="0">
                <a:latin typeface="Calibri"/>
                <a:ea typeface="Calibri"/>
                <a:cs typeface="Arial"/>
              </a:rPr>
              <a:t>Foster respectful, equitable care</a:t>
            </a:r>
          </a:p>
          <a:p>
            <a:pPr marL="914400" lvl="1" indent="-457200">
              <a:buFont typeface="Courier New" panose="020B0604020202020204" pitchFamily="34" charset="0"/>
              <a:buChar char="o"/>
            </a:pPr>
            <a:endParaRPr lang="en-US" dirty="0">
              <a:latin typeface="Calibri"/>
              <a:ea typeface="Calibri"/>
              <a:cs typeface="Arial"/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Calibri"/>
                <a:ea typeface="Calibri"/>
                <a:cs typeface="Arial"/>
              </a:rPr>
              <a:t>Trauma-Informed Practices</a:t>
            </a:r>
          </a:p>
          <a:p>
            <a:pPr marL="914400" lvl="1" indent="-457200">
              <a:buFont typeface="Courier New" panose="020B0604020202020204" pitchFamily="34" charset="0"/>
              <a:buChar char="o"/>
            </a:pPr>
            <a:r>
              <a:rPr lang="en-US" dirty="0">
                <a:latin typeface="Calibri"/>
                <a:ea typeface="Calibri"/>
                <a:cs typeface="Arial"/>
              </a:rPr>
              <a:t>Promote trauma-informed approaches</a:t>
            </a:r>
          </a:p>
          <a:p>
            <a:pPr marL="914400" lvl="1" indent="-457200">
              <a:buFont typeface="Courier New" panose="020B0604020202020204" pitchFamily="34" charset="0"/>
              <a:buChar char="o"/>
            </a:pPr>
            <a:r>
              <a:rPr lang="en-US" dirty="0">
                <a:latin typeface="Calibri"/>
                <a:ea typeface="Calibri"/>
                <a:cs typeface="Arial"/>
              </a:rPr>
              <a:t>Reduce stigma in patient interactions</a:t>
            </a:r>
          </a:p>
          <a:p>
            <a:pPr marL="0" indent="0">
              <a:buNone/>
            </a:pPr>
            <a:r>
              <a:rPr lang="en-US" dirty="0"/>
              <a:t> </a:t>
            </a:r>
          </a:p>
          <a:p>
            <a:pPr lvl="1">
              <a:buFont typeface="Courier New" panose="020B0604020202020204" pitchFamily="34" charset="0"/>
              <a:buChar char="o"/>
            </a:pPr>
            <a:endParaRPr lang="en-US" dirty="0"/>
          </a:p>
          <a:p>
            <a:pPr lvl="1">
              <a:buFont typeface="Courier New" panose="020B0604020202020204" pitchFamily="34" charset="0"/>
              <a:buChar char="o"/>
            </a:pPr>
            <a:endParaRPr lang="en-US" sz="2800" dirty="0"/>
          </a:p>
          <a:p>
            <a:pPr lvl="1">
              <a:buFont typeface="Courier New" panose="020B0604020202020204" pitchFamily="34" charset="0"/>
              <a:buChar char="o"/>
            </a:pPr>
            <a:endParaRPr lang="en-US" sz="2800" dirty="0"/>
          </a:p>
        </p:txBody>
      </p:sp>
      <p:pic>
        <p:nvPicPr>
          <p:cNvPr id="9" name="Content Placeholder 8" descr="A group of hands holding each other&#10;&#10;AI-generated content may be incorrect.">
            <a:extLst>
              <a:ext uri="{FF2B5EF4-FFF2-40B4-BE49-F238E27FC236}">
                <a16:creationId xmlns:a16="http://schemas.microsoft.com/office/drawing/2014/main" id="{47415D30-3E20-1991-AE90-37FFC3DBE1F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5"/>
          <a:stretch>
            <a:fillRect/>
          </a:stretch>
        </p:blipFill>
        <p:spPr>
          <a:xfrm>
            <a:off x="451362" y="3329474"/>
            <a:ext cx="781050" cy="790575"/>
          </a:xfrm>
          <a:prstGeom prst="rect">
            <a:avLst/>
          </a:prstGeom>
        </p:spPr>
      </p:pic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1FF75442-D92F-1EB2-6404-2C7DEC6F9C83}"/>
              </a:ext>
            </a:extLst>
          </p:cNvPr>
          <p:cNvSpPr txBox="1">
            <a:spLocks/>
          </p:cNvSpPr>
          <p:nvPr/>
        </p:nvSpPr>
        <p:spPr>
          <a:xfrm>
            <a:off x="6828503" y="2899799"/>
            <a:ext cx="5181600" cy="368766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Calibri"/>
                <a:ea typeface="Calibri"/>
                <a:cs typeface="Arial"/>
              </a:rPr>
              <a:t>Shared decision making</a:t>
            </a:r>
          </a:p>
          <a:p>
            <a:pPr marL="914400" lvl="1" indent="-457200">
              <a:buFont typeface="Courier New" panose="020B0604020202020204" pitchFamily="34" charset="0"/>
              <a:buChar char="o"/>
            </a:pPr>
            <a:r>
              <a:rPr lang="en-US" dirty="0">
                <a:latin typeface="Calibri"/>
                <a:ea typeface="Calibri"/>
                <a:cs typeface="Arial"/>
              </a:rPr>
              <a:t>Support patient voice in care decisions</a:t>
            </a:r>
            <a:endParaRPr lang="en-US">
              <a:latin typeface="Calibri"/>
              <a:ea typeface="Calibri"/>
              <a:cs typeface="Calibri"/>
            </a:endParaRPr>
          </a:p>
          <a:p>
            <a:pPr marL="914400" lvl="1" indent="-457200">
              <a:buFont typeface="Courier New" panose="020B0604020202020204" pitchFamily="34" charset="0"/>
              <a:buChar char="o"/>
            </a:pPr>
            <a:r>
              <a:rPr lang="en-US" dirty="0">
                <a:latin typeface="Calibri"/>
                <a:ea typeface="Calibri"/>
                <a:cs typeface="Arial"/>
              </a:rPr>
              <a:t>build skills in active listening</a:t>
            </a:r>
          </a:p>
          <a:p>
            <a:pPr marL="914400" lvl="1" indent="-457200">
              <a:buFont typeface="Courier New" panose="020B0604020202020204" pitchFamily="34" charset="0"/>
              <a:buChar char="o"/>
            </a:pPr>
            <a:endParaRPr lang="en-US" dirty="0">
              <a:latin typeface="Arial"/>
              <a:cs typeface="Arial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b="1" dirty="0">
              <a:solidFill>
                <a:schemeClr val="accent1"/>
              </a:solidFill>
              <a:latin typeface="Arial"/>
              <a:cs typeface="Arial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 </a:t>
            </a:r>
          </a:p>
          <a:p>
            <a:pPr lvl="1">
              <a:buFont typeface="Courier New" panose="020B0604020202020204" pitchFamily="34" charset="0"/>
              <a:buChar char="o"/>
            </a:pPr>
            <a:endParaRPr lang="en-US" dirty="0"/>
          </a:p>
          <a:p>
            <a:pPr lvl="1">
              <a:buFont typeface="Courier New" panose="020B0604020202020204" pitchFamily="34" charset="0"/>
              <a:buChar char="o"/>
            </a:pPr>
            <a:endParaRPr lang="en-US" sz="2800" dirty="0"/>
          </a:p>
          <a:p>
            <a:pPr lvl="1">
              <a:buFont typeface="Courier New" panose="020B0604020202020204" pitchFamily="34" charset="0"/>
              <a:buChar char="o"/>
            </a:pPr>
            <a:endParaRPr lang="en-US" sz="2800" dirty="0"/>
          </a:p>
        </p:txBody>
      </p:sp>
      <p:grpSp>
        <p:nvGrpSpPr>
          <p:cNvPr id="12" name="Google Shape;4446;p12">
            <a:extLst>
              <a:ext uri="{FF2B5EF4-FFF2-40B4-BE49-F238E27FC236}">
                <a16:creationId xmlns:a16="http://schemas.microsoft.com/office/drawing/2014/main" id="{75CA868D-758C-84D2-49AA-5B0C70BE2287}"/>
              </a:ext>
            </a:extLst>
          </p:cNvPr>
          <p:cNvGrpSpPr/>
          <p:nvPr/>
        </p:nvGrpSpPr>
        <p:grpSpPr>
          <a:xfrm>
            <a:off x="455614" y="4989301"/>
            <a:ext cx="700053" cy="718531"/>
            <a:chOff x="6023130" y="4509978"/>
            <a:chExt cx="700053" cy="718531"/>
          </a:xfrm>
        </p:grpSpPr>
        <p:sp>
          <p:nvSpPr>
            <p:cNvPr id="13" name="Google Shape;4447;p12">
              <a:extLst>
                <a:ext uri="{FF2B5EF4-FFF2-40B4-BE49-F238E27FC236}">
                  <a16:creationId xmlns:a16="http://schemas.microsoft.com/office/drawing/2014/main" id="{88206F8D-9129-F507-603F-BE6549592ED8}"/>
                </a:ext>
              </a:extLst>
            </p:cNvPr>
            <p:cNvSpPr/>
            <p:nvPr/>
          </p:nvSpPr>
          <p:spPr>
            <a:xfrm>
              <a:off x="6023130" y="4694225"/>
              <a:ext cx="336550" cy="302895"/>
            </a:xfrm>
            <a:custGeom>
              <a:avLst/>
              <a:gdLst/>
              <a:ahLst/>
              <a:cxnLst/>
              <a:rect l="l" t="t" r="r" b="b"/>
              <a:pathLst>
                <a:path w="336550" h="302895" extrusionOk="0">
                  <a:moveTo>
                    <a:pt x="214004" y="0"/>
                  </a:moveTo>
                  <a:lnTo>
                    <a:pt x="122531" y="0"/>
                  </a:lnTo>
                  <a:lnTo>
                    <a:pt x="75121" y="9866"/>
                  </a:lnTo>
                  <a:lnTo>
                    <a:pt x="36203" y="36477"/>
                  </a:lnTo>
                  <a:lnTo>
                    <a:pt x="9840" y="75779"/>
                  </a:lnTo>
                  <a:lnTo>
                    <a:pt x="92" y="123717"/>
                  </a:lnTo>
                  <a:lnTo>
                    <a:pt x="0" y="129309"/>
                  </a:lnTo>
                  <a:lnTo>
                    <a:pt x="92" y="140389"/>
                  </a:lnTo>
                  <a:lnTo>
                    <a:pt x="9840" y="188342"/>
                  </a:lnTo>
                  <a:lnTo>
                    <a:pt x="36203" y="227677"/>
                  </a:lnTo>
                  <a:lnTo>
                    <a:pt x="75121" y="254321"/>
                  </a:lnTo>
                  <a:lnTo>
                    <a:pt x="122532" y="264202"/>
                  </a:lnTo>
                  <a:lnTo>
                    <a:pt x="177993" y="264202"/>
                  </a:lnTo>
                  <a:lnTo>
                    <a:pt x="187147" y="270975"/>
                  </a:lnTo>
                  <a:lnTo>
                    <a:pt x="207347" y="285444"/>
                  </a:lnTo>
                  <a:lnTo>
                    <a:pt x="227704" y="298831"/>
                  </a:lnTo>
                  <a:lnTo>
                    <a:pt x="237327" y="302357"/>
                  </a:lnTo>
                  <a:lnTo>
                    <a:pt x="236491" y="292568"/>
                  </a:lnTo>
                  <a:lnTo>
                    <a:pt x="233346" y="279535"/>
                  </a:lnTo>
                  <a:lnTo>
                    <a:pt x="229951" y="268138"/>
                  </a:lnTo>
                  <a:lnTo>
                    <a:pt x="228362" y="263255"/>
                  </a:lnTo>
                  <a:lnTo>
                    <a:pt x="270744" y="249752"/>
                  </a:lnTo>
                  <a:lnTo>
                    <a:pt x="305043" y="222622"/>
                  </a:lnTo>
                  <a:lnTo>
                    <a:pt x="328024" y="185092"/>
                  </a:lnTo>
                  <a:lnTo>
                    <a:pt x="336450" y="140389"/>
                  </a:lnTo>
                  <a:lnTo>
                    <a:pt x="336450" y="123717"/>
                  </a:lnTo>
                  <a:lnTo>
                    <a:pt x="326711" y="75779"/>
                  </a:lnTo>
                  <a:lnTo>
                    <a:pt x="300347" y="36477"/>
                  </a:lnTo>
                  <a:lnTo>
                    <a:pt x="261422" y="9866"/>
                  </a:lnTo>
                  <a:lnTo>
                    <a:pt x="214004" y="0"/>
                  </a:lnTo>
                  <a:close/>
                </a:path>
              </a:pathLst>
            </a:custGeom>
            <a:solidFill>
              <a:srgbClr val="FF8B83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4" name="Google Shape;4448;p12">
              <a:extLst>
                <a:ext uri="{FF2B5EF4-FFF2-40B4-BE49-F238E27FC236}">
                  <a16:creationId xmlns:a16="http://schemas.microsoft.com/office/drawing/2014/main" id="{96A86625-180F-42A5-5A8C-83E937BEE0B0}"/>
                </a:ext>
              </a:extLst>
            </p:cNvPr>
            <p:cNvSpPr/>
            <p:nvPr/>
          </p:nvSpPr>
          <p:spPr>
            <a:xfrm>
              <a:off x="6351308" y="4891959"/>
              <a:ext cx="295275" cy="336550"/>
            </a:xfrm>
            <a:custGeom>
              <a:avLst/>
              <a:gdLst/>
              <a:ahLst/>
              <a:cxnLst/>
              <a:rect l="l" t="t" r="r" b="b"/>
              <a:pathLst>
                <a:path w="295275" h="336550" extrusionOk="0">
                  <a:moveTo>
                    <a:pt x="147398" y="0"/>
                  </a:moveTo>
                  <a:lnTo>
                    <a:pt x="100809" y="7529"/>
                  </a:lnTo>
                  <a:lnTo>
                    <a:pt x="60346" y="28494"/>
                  </a:lnTo>
                  <a:lnTo>
                    <a:pt x="28439" y="60464"/>
                  </a:lnTo>
                  <a:lnTo>
                    <a:pt x="7514" y="101005"/>
                  </a:lnTo>
                  <a:lnTo>
                    <a:pt x="0" y="147684"/>
                  </a:lnTo>
                  <a:lnTo>
                    <a:pt x="6714" y="191872"/>
                  </a:lnTo>
                  <a:lnTo>
                    <a:pt x="25494" y="230714"/>
                  </a:lnTo>
                  <a:lnTo>
                    <a:pt x="54297" y="262168"/>
                  </a:lnTo>
                  <a:lnTo>
                    <a:pt x="91079" y="284189"/>
                  </a:lnTo>
                  <a:lnTo>
                    <a:pt x="86485" y="306883"/>
                  </a:lnTo>
                  <a:lnTo>
                    <a:pt x="83624" y="324413"/>
                  </a:lnTo>
                  <a:lnTo>
                    <a:pt x="82948" y="336434"/>
                  </a:lnTo>
                  <a:lnTo>
                    <a:pt x="93397" y="332576"/>
                  </a:lnTo>
                  <a:lnTo>
                    <a:pt x="115509" y="318165"/>
                  </a:lnTo>
                  <a:lnTo>
                    <a:pt x="137454" y="302615"/>
                  </a:lnTo>
                  <a:lnTo>
                    <a:pt x="147398" y="295340"/>
                  </a:lnTo>
                  <a:lnTo>
                    <a:pt x="193983" y="287812"/>
                  </a:lnTo>
                  <a:lnTo>
                    <a:pt x="234443" y="266849"/>
                  </a:lnTo>
                  <a:lnTo>
                    <a:pt x="266349" y="234885"/>
                  </a:lnTo>
                  <a:lnTo>
                    <a:pt x="287274" y="194352"/>
                  </a:lnTo>
                  <a:lnTo>
                    <a:pt x="294788" y="147685"/>
                  </a:lnTo>
                  <a:lnTo>
                    <a:pt x="287274" y="101005"/>
                  </a:lnTo>
                  <a:lnTo>
                    <a:pt x="266349" y="60464"/>
                  </a:lnTo>
                  <a:lnTo>
                    <a:pt x="234443" y="28494"/>
                  </a:lnTo>
                  <a:lnTo>
                    <a:pt x="193983" y="7529"/>
                  </a:lnTo>
                  <a:lnTo>
                    <a:pt x="147398" y="0"/>
                  </a:lnTo>
                  <a:close/>
                </a:path>
              </a:pathLst>
            </a:custGeom>
            <a:solidFill>
              <a:srgbClr val="6CD7D4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5" name="Google Shape;4449;p12">
              <a:extLst>
                <a:ext uri="{FF2B5EF4-FFF2-40B4-BE49-F238E27FC236}">
                  <a16:creationId xmlns:a16="http://schemas.microsoft.com/office/drawing/2014/main" id="{A5079A81-5213-A3C5-1261-2553B53F3AAD}"/>
                </a:ext>
              </a:extLst>
            </p:cNvPr>
            <p:cNvSpPr/>
            <p:nvPr/>
          </p:nvSpPr>
          <p:spPr>
            <a:xfrm>
              <a:off x="6370758" y="4509978"/>
              <a:ext cx="352425" cy="334645"/>
            </a:xfrm>
            <a:custGeom>
              <a:avLst/>
              <a:gdLst/>
              <a:ahLst/>
              <a:cxnLst/>
              <a:rect l="l" t="t" r="r" b="b"/>
              <a:pathLst>
                <a:path w="352425" h="334645" extrusionOk="0">
                  <a:moveTo>
                    <a:pt x="266192" y="0"/>
                  </a:moveTo>
                  <a:lnTo>
                    <a:pt x="86812" y="0"/>
                  </a:lnTo>
                  <a:lnTo>
                    <a:pt x="22360" y="28556"/>
                  </a:lnTo>
                  <a:lnTo>
                    <a:pt x="0" y="95554"/>
                  </a:lnTo>
                  <a:lnTo>
                    <a:pt x="9854" y="201842"/>
                  </a:lnTo>
                  <a:lnTo>
                    <a:pt x="18149" y="231748"/>
                  </a:lnTo>
                  <a:lnTo>
                    <a:pt x="35705" y="256162"/>
                  </a:lnTo>
                  <a:lnTo>
                    <a:pt x="60406" y="273167"/>
                  </a:lnTo>
                  <a:lnTo>
                    <a:pt x="90134" y="280842"/>
                  </a:lnTo>
                  <a:lnTo>
                    <a:pt x="86305" y="303859"/>
                  </a:lnTo>
                  <a:lnTo>
                    <a:pt x="83998" y="321826"/>
                  </a:lnTo>
                  <a:lnTo>
                    <a:pt x="83633" y="334495"/>
                  </a:lnTo>
                  <a:lnTo>
                    <a:pt x="96066" y="329138"/>
                  </a:lnTo>
                  <a:lnTo>
                    <a:pt x="122452" y="310800"/>
                  </a:lnTo>
                  <a:lnTo>
                    <a:pt x="148652" y="291202"/>
                  </a:lnTo>
                  <a:lnTo>
                    <a:pt x="160527" y="282065"/>
                  </a:lnTo>
                  <a:lnTo>
                    <a:pt x="249646" y="281071"/>
                  </a:lnTo>
                  <a:lnTo>
                    <a:pt x="306404" y="260069"/>
                  </a:lnTo>
                  <a:lnTo>
                    <a:pt x="335822" y="207173"/>
                  </a:lnTo>
                  <a:lnTo>
                    <a:pt x="352367" y="100791"/>
                  </a:lnTo>
                  <a:lnTo>
                    <a:pt x="349893" y="62700"/>
                  </a:lnTo>
                  <a:lnTo>
                    <a:pt x="332418" y="30536"/>
                  </a:lnTo>
                  <a:lnTo>
                    <a:pt x="303374" y="8301"/>
                  </a:lnTo>
                  <a:lnTo>
                    <a:pt x="266192" y="0"/>
                  </a:lnTo>
                  <a:close/>
                </a:path>
              </a:pathLst>
            </a:custGeom>
            <a:solidFill>
              <a:srgbClr val="FFB85C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6" name="Google Shape;4450;p12">
              <a:extLst>
                <a:ext uri="{FF2B5EF4-FFF2-40B4-BE49-F238E27FC236}">
                  <a16:creationId xmlns:a16="http://schemas.microsoft.com/office/drawing/2014/main" id="{6BC47A0E-74FD-E7C0-A083-FDA07F9CCF1A}"/>
                </a:ext>
              </a:extLst>
            </p:cNvPr>
            <p:cNvSpPr/>
            <p:nvPr/>
          </p:nvSpPr>
          <p:spPr>
            <a:xfrm>
              <a:off x="6135560" y="4800612"/>
              <a:ext cx="142875" cy="32384"/>
            </a:xfrm>
            <a:custGeom>
              <a:avLst/>
              <a:gdLst/>
              <a:ahLst/>
              <a:cxnLst/>
              <a:rect l="l" t="t" r="r" b="b"/>
              <a:pathLst>
                <a:path w="142875" h="32385" extrusionOk="0">
                  <a:moveTo>
                    <a:pt x="32258" y="7251"/>
                  </a:moveTo>
                  <a:lnTo>
                    <a:pt x="25044" y="0"/>
                  </a:lnTo>
                  <a:lnTo>
                    <a:pt x="7213" y="0"/>
                  </a:lnTo>
                  <a:lnTo>
                    <a:pt x="0" y="7251"/>
                  </a:lnTo>
                  <a:lnTo>
                    <a:pt x="0" y="25095"/>
                  </a:lnTo>
                  <a:lnTo>
                    <a:pt x="7213" y="32346"/>
                  </a:lnTo>
                  <a:lnTo>
                    <a:pt x="25044" y="32346"/>
                  </a:lnTo>
                  <a:lnTo>
                    <a:pt x="32258" y="25095"/>
                  </a:lnTo>
                  <a:lnTo>
                    <a:pt x="32258" y="16167"/>
                  </a:lnTo>
                  <a:lnTo>
                    <a:pt x="32258" y="7251"/>
                  </a:lnTo>
                  <a:close/>
                </a:path>
                <a:path w="142875" h="32385" extrusionOk="0">
                  <a:moveTo>
                    <a:pt x="142684" y="7251"/>
                  </a:moveTo>
                  <a:lnTo>
                    <a:pt x="135432" y="0"/>
                  </a:lnTo>
                  <a:lnTo>
                    <a:pt x="117627" y="0"/>
                  </a:lnTo>
                  <a:lnTo>
                    <a:pt x="110401" y="7251"/>
                  </a:lnTo>
                  <a:lnTo>
                    <a:pt x="110401" y="25095"/>
                  </a:lnTo>
                  <a:lnTo>
                    <a:pt x="117627" y="32346"/>
                  </a:lnTo>
                  <a:lnTo>
                    <a:pt x="135432" y="32346"/>
                  </a:lnTo>
                  <a:lnTo>
                    <a:pt x="142684" y="25095"/>
                  </a:lnTo>
                  <a:lnTo>
                    <a:pt x="142684" y="16167"/>
                  </a:lnTo>
                  <a:lnTo>
                    <a:pt x="142684" y="7251"/>
                  </a:lnTo>
                  <a:close/>
                </a:path>
              </a:pathLst>
            </a:custGeom>
            <a:solidFill>
              <a:srgbClr val="DD375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7" name="Google Shape;4451;p12">
              <a:extLst>
                <a:ext uri="{FF2B5EF4-FFF2-40B4-BE49-F238E27FC236}">
                  <a16:creationId xmlns:a16="http://schemas.microsoft.com/office/drawing/2014/main" id="{57E878C6-DCCA-202F-DAF0-351D1477C0FE}"/>
                </a:ext>
              </a:extLst>
            </p:cNvPr>
            <p:cNvSpPr/>
            <p:nvPr/>
          </p:nvSpPr>
          <p:spPr>
            <a:xfrm>
              <a:off x="6402565" y="4981447"/>
              <a:ext cx="135890" cy="34290"/>
            </a:xfrm>
            <a:custGeom>
              <a:avLst/>
              <a:gdLst/>
              <a:ahLst/>
              <a:cxnLst/>
              <a:rect l="l" t="t" r="r" b="b"/>
              <a:pathLst>
                <a:path w="135890" h="34289" extrusionOk="0">
                  <a:moveTo>
                    <a:pt x="33921" y="7594"/>
                  </a:moveTo>
                  <a:lnTo>
                    <a:pt x="26339" y="0"/>
                  </a:lnTo>
                  <a:lnTo>
                    <a:pt x="7607" y="0"/>
                  </a:lnTo>
                  <a:lnTo>
                    <a:pt x="0" y="7594"/>
                  </a:lnTo>
                  <a:lnTo>
                    <a:pt x="0" y="26365"/>
                  </a:lnTo>
                  <a:lnTo>
                    <a:pt x="7607" y="33985"/>
                  </a:lnTo>
                  <a:lnTo>
                    <a:pt x="26339" y="33985"/>
                  </a:lnTo>
                  <a:lnTo>
                    <a:pt x="33921" y="26365"/>
                  </a:lnTo>
                  <a:lnTo>
                    <a:pt x="33921" y="16992"/>
                  </a:lnTo>
                  <a:lnTo>
                    <a:pt x="33921" y="7594"/>
                  </a:lnTo>
                  <a:close/>
                </a:path>
                <a:path w="135890" h="34289" extrusionOk="0">
                  <a:moveTo>
                    <a:pt x="135699" y="7594"/>
                  </a:moveTo>
                  <a:lnTo>
                    <a:pt x="128104" y="0"/>
                  </a:lnTo>
                  <a:lnTo>
                    <a:pt x="109385" y="0"/>
                  </a:lnTo>
                  <a:lnTo>
                    <a:pt x="101777" y="7594"/>
                  </a:lnTo>
                  <a:lnTo>
                    <a:pt x="101777" y="26365"/>
                  </a:lnTo>
                  <a:lnTo>
                    <a:pt x="109385" y="33985"/>
                  </a:lnTo>
                  <a:lnTo>
                    <a:pt x="128104" y="33985"/>
                  </a:lnTo>
                  <a:lnTo>
                    <a:pt x="135699" y="26365"/>
                  </a:lnTo>
                  <a:lnTo>
                    <a:pt x="135699" y="16992"/>
                  </a:lnTo>
                  <a:lnTo>
                    <a:pt x="135699" y="7594"/>
                  </a:lnTo>
                  <a:close/>
                </a:path>
              </a:pathLst>
            </a:custGeom>
            <a:solidFill>
              <a:srgbClr val="44BBBB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8" name="Google Shape;4452;p12">
              <a:extLst>
                <a:ext uri="{FF2B5EF4-FFF2-40B4-BE49-F238E27FC236}">
                  <a16:creationId xmlns:a16="http://schemas.microsoft.com/office/drawing/2014/main" id="{A2686DB1-21CC-6855-EC28-0822D1130675}"/>
                </a:ext>
              </a:extLst>
            </p:cNvPr>
            <p:cNvSpPr/>
            <p:nvPr/>
          </p:nvSpPr>
          <p:spPr>
            <a:xfrm>
              <a:off x="6182220" y="4649888"/>
              <a:ext cx="394335" cy="425450"/>
            </a:xfrm>
            <a:custGeom>
              <a:avLst/>
              <a:gdLst/>
              <a:ahLst/>
              <a:cxnLst/>
              <a:rect l="l" t="t" r="r" b="b"/>
              <a:pathLst>
                <a:path w="394334" h="425450" extrusionOk="0">
                  <a:moveTo>
                    <a:pt x="54470" y="191452"/>
                  </a:moveTo>
                  <a:lnTo>
                    <a:pt x="51219" y="186880"/>
                  </a:lnTo>
                  <a:lnTo>
                    <a:pt x="41592" y="185254"/>
                  </a:lnTo>
                  <a:lnTo>
                    <a:pt x="37007" y="188518"/>
                  </a:lnTo>
                  <a:lnTo>
                    <a:pt x="35077" y="200202"/>
                  </a:lnTo>
                  <a:lnTo>
                    <a:pt x="31038" y="201142"/>
                  </a:lnTo>
                  <a:lnTo>
                    <a:pt x="23444" y="201142"/>
                  </a:lnTo>
                  <a:lnTo>
                    <a:pt x="19405" y="200202"/>
                  </a:lnTo>
                  <a:lnTo>
                    <a:pt x="17449" y="188518"/>
                  </a:lnTo>
                  <a:lnTo>
                    <a:pt x="12839" y="185254"/>
                  </a:lnTo>
                  <a:lnTo>
                    <a:pt x="3251" y="186880"/>
                  </a:lnTo>
                  <a:lnTo>
                    <a:pt x="0" y="191452"/>
                  </a:lnTo>
                  <a:lnTo>
                    <a:pt x="812" y="196278"/>
                  </a:lnTo>
                  <a:lnTo>
                    <a:pt x="3949" y="205689"/>
                  </a:lnTo>
                  <a:lnTo>
                    <a:pt x="9639" y="212801"/>
                  </a:lnTo>
                  <a:lnTo>
                    <a:pt x="17538" y="217309"/>
                  </a:lnTo>
                  <a:lnTo>
                    <a:pt x="27241" y="218871"/>
                  </a:lnTo>
                  <a:lnTo>
                    <a:pt x="36931" y="217309"/>
                  </a:lnTo>
                  <a:lnTo>
                    <a:pt x="44818" y="212801"/>
                  </a:lnTo>
                  <a:lnTo>
                    <a:pt x="50520" y="205689"/>
                  </a:lnTo>
                  <a:lnTo>
                    <a:pt x="53670" y="196278"/>
                  </a:lnTo>
                  <a:lnTo>
                    <a:pt x="54470" y="191452"/>
                  </a:lnTo>
                  <a:close/>
                </a:path>
                <a:path w="394334" h="425450" extrusionOk="0">
                  <a:moveTo>
                    <a:pt x="313601" y="399338"/>
                  </a:moveTo>
                  <a:lnTo>
                    <a:pt x="310857" y="395973"/>
                  </a:lnTo>
                  <a:lnTo>
                    <a:pt x="267195" y="395973"/>
                  </a:lnTo>
                  <a:lnTo>
                    <a:pt x="263486" y="395973"/>
                  </a:lnTo>
                  <a:lnTo>
                    <a:pt x="260731" y="399338"/>
                  </a:lnTo>
                  <a:lnTo>
                    <a:pt x="261366" y="403009"/>
                  </a:lnTo>
                  <a:lnTo>
                    <a:pt x="263944" y="411518"/>
                  </a:lnTo>
                  <a:lnTo>
                    <a:pt x="268909" y="418566"/>
                  </a:lnTo>
                  <a:lnTo>
                    <a:pt x="276542" y="423367"/>
                  </a:lnTo>
                  <a:lnTo>
                    <a:pt x="287172" y="425145"/>
                  </a:lnTo>
                  <a:lnTo>
                    <a:pt x="297789" y="423367"/>
                  </a:lnTo>
                  <a:lnTo>
                    <a:pt x="305435" y="418566"/>
                  </a:lnTo>
                  <a:lnTo>
                    <a:pt x="310400" y="411518"/>
                  </a:lnTo>
                  <a:lnTo>
                    <a:pt x="312991" y="403009"/>
                  </a:lnTo>
                  <a:lnTo>
                    <a:pt x="313601" y="399338"/>
                  </a:lnTo>
                  <a:close/>
                </a:path>
                <a:path w="394334" h="425450" extrusionOk="0">
                  <a:moveTo>
                    <a:pt x="393941" y="6362"/>
                  </a:moveTo>
                  <a:lnTo>
                    <a:pt x="388759" y="0"/>
                  </a:lnTo>
                  <a:lnTo>
                    <a:pt x="306133" y="0"/>
                  </a:lnTo>
                  <a:lnTo>
                    <a:pt x="299123" y="0"/>
                  </a:lnTo>
                  <a:lnTo>
                    <a:pt x="293941" y="6362"/>
                  </a:lnTo>
                  <a:lnTo>
                    <a:pt x="295097" y="13296"/>
                  </a:lnTo>
                  <a:lnTo>
                    <a:pt x="299986" y="29400"/>
                  </a:lnTo>
                  <a:lnTo>
                    <a:pt x="309372" y="42735"/>
                  </a:lnTo>
                  <a:lnTo>
                    <a:pt x="323837" y="51828"/>
                  </a:lnTo>
                  <a:lnTo>
                    <a:pt x="343941" y="55194"/>
                  </a:lnTo>
                  <a:lnTo>
                    <a:pt x="364045" y="51828"/>
                  </a:lnTo>
                  <a:lnTo>
                    <a:pt x="378510" y="42735"/>
                  </a:lnTo>
                  <a:lnTo>
                    <a:pt x="387896" y="29400"/>
                  </a:lnTo>
                  <a:lnTo>
                    <a:pt x="392798" y="13296"/>
                  </a:lnTo>
                  <a:lnTo>
                    <a:pt x="393941" y="63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19" name="Google Shape;4453;p12">
              <a:extLst>
                <a:ext uri="{FF2B5EF4-FFF2-40B4-BE49-F238E27FC236}">
                  <a16:creationId xmlns:a16="http://schemas.microsoft.com/office/drawing/2014/main" id="{7B8E74EC-195C-0463-86A2-33F0F866C485}"/>
                </a:ext>
              </a:extLst>
            </p:cNvPr>
            <p:cNvSpPr/>
            <p:nvPr/>
          </p:nvSpPr>
          <p:spPr>
            <a:xfrm>
              <a:off x="6451346" y="4584953"/>
              <a:ext cx="156845" cy="25400"/>
            </a:xfrm>
            <a:custGeom>
              <a:avLst/>
              <a:gdLst/>
              <a:ahLst/>
              <a:cxnLst/>
              <a:rect l="l" t="t" r="r" b="b"/>
              <a:pathLst>
                <a:path w="156845" h="25400" extrusionOk="0">
                  <a:moveTo>
                    <a:pt x="55638" y="13868"/>
                  </a:moveTo>
                  <a:lnTo>
                    <a:pt x="52285" y="10312"/>
                  </a:lnTo>
                  <a:lnTo>
                    <a:pt x="40779" y="2692"/>
                  </a:lnTo>
                  <a:lnTo>
                    <a:pt x="27381" y="0"/>
                  </a:lnTo>
                  <a:lnTo>
                    <a:pt x="14503" y="1358"/>
                  </a:lnTo>
                  <a:lnTo>
                    <a:pt x="4584" y="5918"/>
                  </a:lnTo>
                  <a:lnTo>
                    <a:pt x="711" y="8902"/>
                  </a:lnTo>
                  <a:lnTo>
                    <a:pt x="0" y="14465"/>
                  </a:lnTo>
                  <a:lnTo>
                    <a:pt x="5943" y="22250"/>
                  </a:lnTo>
                  <a:lnTo>
                    <a:pt x="11506" y="22987"/>
                  </a:lnTo>
                  <a:lnTo>
                    <a:pt x="15367" y="19989"/>
                  </a:lnTo>
                  <a:lnTo>
                    <a:pt x="19977" y="18161"/>
                  </a:lnTo>
                  <a:lnTo>
                    <a:pt x="26644" y="17653"/>
                  </a:lnTo>
                  <a:lnTo>
                    <a:pt x="33693" y="18935"/>
                  </a:lnTo>
                  <a:lnTo>
                    <a:pt x="39433" y="22479"/>
                  </a:lnTo>
                  <a:lnTo>
                    <a:pt x="41148" y="24320"/>
                  </a:lnTo>
                  <a:lnTo>
                    <a:pt x="43510" y="25247"/>
                  </a:lnTo>
                  <a:lnTo>
                    <a:pt x="45847" y="25247"/>
                  </a:lnTo>
                  <a:lnTo>
                    <a:pt x="48044" y="25247"/>
                  </a:lnTo>
                  <a:lnTo>
                    <a:pt x="50203" y="24460"/>
                  </a:lnTo>
                  <a:lnTo>
                    <a:pt x="55486" y="19469"/>
                  </a:lnTo>
                  <a:lnTo>
                    <a:pt x="55638" y="13868"/>
                  </a:lnTo>
                  <a:close/>
                </a:path>
                <a:path w="156845" h="25400" extrusionOk="0">
                  <a:moveTo>
                    <a:pt x="156679" y="14465"/>
                  </a:moveTo>
                  <a:lnTo>
                    <a:pt x="155943" y="8902"/>
                  </a:lnTo>
                  <a:lnTo>
                    <a:pt x="152069" y="5918"/>
                  </a:lnTo>
                  <a:lnTo>
                    <a:pt x="142163" y="1358"/>
                  </a:lnTo>
                  <a:lnTo>
                    <a:pt x="129298" y="0"/>
                  </a:lnTo>
                  <a:lnTo>
                    <a:pt x="115887" y="2692"/>
                  </a:lnTo>
                  <a:lnTo>
                    <a:pt x="104368" y="10312"/>
                  </a:lnTo>
                  <a:lnTo>
                    <a:pt x="101015" y="13868"/>
                  </a:lnTo>
                  <a:lnTo>
                    <a:pt x="101180" y="19469"/>
                  </a:lnTo>
                  <a:lnTo>
                    <a:pt x="106451" y="24460"/>
                  </a:lnTo>
                  <a:lnTo>
                    <a:pt x="108635" y="25247"/>
                  </a:lnTo>
                  <a:lnTo>
                    <a:pt x="110807" y="25247"/>
                  </a:lnTo>
                  <a:lnTo>
                    <a:pt x="113157" y="25247"/>
                  </a:lnTo>
                  <a:lnTo>
                    <a:pt x="115506" y="24320"/>
                  </a:lnTo>
                  <a:lnTo>
                    <a:pt x="117259" y="22479"/>
                  </a:lnTo>
                  <a:lnTo>
                    <a:pt x="122999" y="18948"/>
                  </a:lnTo>
                  <a:lnTo>
                    <a:pt x="130022" y="17665"/>
                  </a:lnTo>
                  <a:lnTo>
                    <a:pt x="136690" y="18161"/>
                  </a:lnTo>
                  <a:lnTo>
                    <a:pt x="141287" y="19989"/>
                  </a:lnTo>
                  <a:lnTo>
                    <a:pt x="145186" y="22987"/>
                  </a:lnTo>
                  <a:lnTo>
                    <a:pt x="150736" y="22250"/>
                  </a:lnTo>
                  <a:lnTo>
                    <a:pt x="156679" y="14465"/>
                  </a:lnTo>
                  <a:close/>
                </a:path>
              </a:pathLst>
            </a:custGeom>
            <a:solidFill>
              <a:srgbClr val="F7844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pic>
        <p:nvPicPr>
          <p:cNvPr id="20" name="Picture 19" descr="A couple of people wearing masks&#10;&#10;AI-generated content may be incorrect.">
            <a:extLst>
              <a:ext uri="{FF2B5EF4-FFF2-40B4-BE49-F238E27FC236}">
                <a16:creationId xmlns:a16="http://schemas.microsoft.com/office/drawing/2014/main" id="{CE368669-6D18-1B2C-E52A-DB5BB03511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23230" y="3331906"/>
            <a:ext cx="820380" cy="968477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" name="Google Shape;390;p12"/>
          <p:cNvSpPr/>
          <p:nvPr/>
        </p:nvSpPr>
        <p:spPr>
          <a:xfrm>
            <a:off x="9264319" y="228371"/>
            <a:ext cx="2025315" cy="911940"/>
          </a:xfrm>
          <a:custGeom>
            <a:avLst/>
            <a:gdLst/>
            <a:ahLst/>
            <a:cxnLst/>
            <a:rect l="l" t="t" r="r" b="b"/>
            <a:pathLst>
              <a:path w="3037973" h="1367910" extrusionOk="0">
                <a:moveTo>
                  <a:pt x="0" y="0"/>
                </a:moveTo>
                <a:lnTo>
                  <a:pt x="3037973" y="0"/>
                </a:lnTo>
                <a:lnTo>
                  <a:pt x="3037973" y="1367910"/>
                </a:lnTo>
                <a:lnTo>
                  <a:pt x="0" y="136791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b="-95"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1" name="Google Shape;391;p12"/>
          <p:cNvSpPr/>
          <p:nvPr/>
        </p:nvSpPr>
        <p:spPr>
          <a:xfrm>
            <a:off x="7191543" y="1"/>
            <a:ext cx="5000459" cy="1425992"/>
          </a:xfrm>
          <a:custGeom>
            <a:avLst/>
            <a:gdLst/>
            <a:ahLst/>
            <a:cxnLst/>
            <a:rect l="l" t="t" r="r" b="b"/>
            <a:pathLst>
              <a:path w="7500689" h="2138988" extrusionOk="0">
                <a:moveTo>
                  <a:pt x="0" y="0"/>
                </a:moveTo>
                <a:lnTo>
                  <a:pt x="7500689" y="0"/>
                </a:lnTo>
                <a:lnTo>
                  <a:pt x="7500689" y="2138989"/>
                </a:lnTo>
                <a:lnTo>
                  <a:pt x="0" y="213898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92" name="Google Shape;392;p12"/>
          <p:cNvCxnSpPr/>
          <p:nvPr/>
        </p:nvCxnSpPr>
        <p:spPr>
          <a:xfrm rot="1988">
            <a:off x="606424" y="6335713"/>
            <a:ext cx="10979152" cy="0"/>
          </a:xfrm>
          <a:prstGeom prst="straightConnector1">
            <a:avLst/>
          </a:prstGeom>
          <a:noFill/>
          <a:ln w="9525" cap="rnd" cmpd="sng">
            <a:solidFill>
              <a:srgbClr val="79818A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393" name="Google Shape;393;p12"/>
          <p:cNvGrpSpPr/>
          <p:nvPr/>
        </p:nvGrpSpPr>
        <p:grpSpPr>
          <a:xfrm>
            <a:off x="4038600" y="6356350"/>
            <a:ext cx="4114800" cy="365125"/>
            <a:chOff x="0" y="0"/>
            <a:chExt cx="8229600" cy="730250"/>
          </a:xfrm>
        </p:grpSpPr>
        <p:sp>
          <p:nvSpPr>
            <p:cNvPr id="394" name="Google Shape;394;p12"/>
            <p:cNvSpPr/>
            <p:nvPr/>
          </p:nvSpPr>
          <p:spPr>
            <a:xfrm>
              <a:off x="0" y="0"/>
              <a:ext cx="8229600" cy="730250"/>
            </a:xfrm>
            <a:custGeom>
              <a:avLst/>
              <a:gdLst/>
              <a:ahLst/>
              <a:cxnLst/>
              <a:rect l="l" t="t" r="r" b="b"/>
              <a:pathLst>
                <a:path w="8229600" h="730250" extrusionOk="0">
                  <a:moveTo>
                    <a:pt x="0" y="0"/>
                  </a:moveTo>
                  <a:lnTo>
                    <a:pt x="8229600" y="0"/>
                  </a:lnTo>
                  <a:lnTo>
                    <a:pt x="82296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" name="Google Shape;395;p12"/>
            <p:cNvSpPr txBox="1"/>
            <p:nvPr/>
          </p:nvSpPr>
          <p:spPr>
            <a:xfrm>
              <a:off x="0" y="0"/>
              <a:ext cx="82296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Illinois Perinatal Quality Collaborative</a:t>
              </a:r>
              <a:endParaRPr sz="622"/>
            </a:p>
          </p:txBody>
        </p:sp>
      </p:grpSp>
      <p:grpSp>
        <p:nvGrpSpPr>
          <p:cNvPr id="396" name="Google Shape;396;p12"/>
          <p:cNvGrpSpPr/>
          <p:nvPr/>
        </p:nvGrpSpPr>
        <p:grpSpPr>
          <a:xfrm>
            <a:off x="8610600" y="6356350"/>
            <a:ext cx="2743200" cy="365125"/>
            <a:chOff x="0" y="0"/>
            <a:chExt cx="5486400" cy="730250"/>
          </a:xfrm>
        </p:grpSpPr>
        <p:sp>
          <p:nvSpPr>
            <p:cNvPr id="397" name="Google Shape;397;p12"/>
            <p:cNvSpPr/>
            <p:nvPr/>
          </p:nvSpPr>
          <p:spPr>
            <a:xfrm>
              <a:off x="0" y="0"/>
              <a:ext cx="5486400" cy="730250"/>
            </a:xfrm>
            <a:custGeom>
              <a:avLst/>
              <a:gdLst/>
              <a:ahLst/>
              <a:cxnLst/>
              <a:rect l="l" t="t" r="r" b="b"/>
              <a:pathLst>
                <a:path w="5486400" h="730250" extrusionOk="0">
                  <a:moveTo>
                    <a:pt x="0" y="0"/>
                  </a:moveTo>
                  <a:lnTo>
                    <a:pt x="5486400" y="0"/>
                  </a:lnTo>
                  <a:lnTo>
                    <a:pt x="54864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8" name="Google Shape;398;p12"/>
            <p:cNvSpPr txBox="1"/>
            <p:nvPr/>
          </p:nvSpPr>
          <p:spPr>
            <a:xfrm>
              <a:off x="0" y="0"/>
              <a:ext cx="54864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11</a:t>
              </a:r>
              <a:endParaRPr sz="622"/>
            </a:p>
          </p:txBody>
        </p:sp>
      </p:grpSp>
      <p:sp>
        <p:nvSpPr>
          <p:cNvPr id="400" name="Google Shape;400;p12"/>
          <p:cNvSpPr/>
          <p:nvPr/>
        </p:nvSpPr>
        <p:spPr>
          <a:xfrm>
            <a:off x="3971752" y="684341"/>
            <a:ext cx="7099488" cy="3006000"/>
          </a:xfrm>
          <a:custGeom>
            <a:avLst/>
            <a:gdLst/>
            <a:ahLst/>
            <a:cxnLst/>
            <a:rect l="l" t="t" r="r" b="b"/>
            <a:pathLst>
              <a:path w="14968494" h="6012000" extrusionOk="0">
                <a:moveTo>
                  <a:pt x="0" y="0"/>
                </a:moveTo>
                <a:lnTo>
                  <a:pt x="14968494" y="0"/>
                </a:lnTo>
                <a:lnTo>
                  <a:pt x="14968494" y="6012000"/>
                </a:lnTo>
                <a:lnTo>
                  <a:pt x="0" y="601200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02" name="Google Shape;402;p12"/>
          <p:cNvGrpSpPr/>
          <p:nvPr/>
        </p:nvGrpSpPr>
        <p:grpSpPr>
          <a:xfrm>
            <a:off x="582984" y="501413"/>
            <a:ext cx="7438556" cy="590931"/>
            <a:chOff x="0" y="0"/>
            <a:chExt cx="14877112" cy="1181862"/>
          </a:xfrm>
        </p:grpSpPr>
        <p:sp>
          <p:nvSpPr>
            <p:cNvPr id="403" name="Google Shape;403;p12"/>
            <p:cNvSpPr/>
            <p:nvPr/>
          </p:nvSpPr>
          <p:spPr>
            <a:xfrm>
              <a:off x="0" y="0"/>
              <a:ext cx="14877112" cy="1181862"/>
            </a:xfrm>
            <a:custGeom>
              <a:avLst/>
              <a:gdLst/>
              <a:ahLst/>
              <a:cxnLst/>
              <a:rect l="l" t="t" r="r" b="b"/>
              <a:pathLst>
                <a:path w="14877112" h="1181862" extrusionOk="0">
                  <a:moveTo>
                    <a:pt x="0" y="0"/>
                  </a:moveTo>
                  <a:lnTo>
                    <a:pt x="14877112" y="0"/>
                  </a:lnTo>
                  <a:lnTo>
                    <a:pt x="14877112" y="1181862"/>
                  </a:lnTo>
                  <a:lnTo>
                    <a:pt x="0" y="1181862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4" name="Google Shape;404;p12"/>
            <p:cNvSpPr txBox="1"/>
            <p:nvPr/>
          </p:nvSpPr>
          <p:spPr>
            <a:xfrm>
              <a:off x="0" y="57150"/>
              <a:ext cx="14877112" cy="112471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8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3600" b="1" dirty="0">
                  <a:solidFill>
                    <a:srgbClr val="1C498B"/>
                  </a:solidFill>
                  <a:latin typeface="Arial"/>
                  <a:ea typeface="Arial"/>
                  <a:cs typeface="Arial"/>
                  <a:sym typeface="Arial"/>
                </a:rPr>
                <a:t>Engage patients and community</a:t>
              </a:r>
              <a:endParaRPr sz="3600" b="1" dirty="0">
                <a:solidFill>
                  <a:srgbClr val="1C498B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A91339-8931-3CFC-D3B8-3101AEEF7F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3200" dirty="0">
                <a:latin typeface="Arial"/>
                <a:ea typeface="+mn-lt"/>
                <a:cs typeface="+mn-lt"/>
              </a:rPr>
              <a:t>👥 </a:t>
            </a:r>
            <a:r>
              <a:rPr lang="en-US" b="1" dirty="0">
                <a:latin typeface="Arial"/>
                <a:ea typeface="+mn-lt"/>
                <a:cs typeface="+mn-lt"/>
              </a:rPr>
              <a:t>Engage a patient partner</a:t>
            </a:r>
            <a:r>
              <a:rPr lang="en-US" dirty="0">
                <a:latin typeface="Arial"/>
                <a:ea typeface="+mn-lt"/>
                <a:cs typeface="+mn-lt"/>
              </a:rPr>
              <a:t> in the QI team</a:t>
            </a:r>
            <a:endParaRPr lang="en-US" dirty="0">
              <a:latin typeface="Arial"/>
              <a:cs typeface="Arial"/>
            </a:endParaRPr>
          </a:p>
          <a:p>
            <a:endParaRPr lang="en-US" dirty="0">
              <a:latin typeface="Arial"/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sz="3200" dirty="0">
                <a:latin typeface="Arial"/>
                <a:ea typeface="+mn-lt"/>
                <a:cs typeface="+mn-lt"/>
              </a:rPr>
              <a:t>☕ </a:t>
            </a:r>
            <a:r>
              <a:rPr lang="en-US" b="1" dirty="0">
                <a:latin typeface="Arial"/>
                <a:ea typeface="+mn-lt"/>
                <a:cs typeface="+mn-lt"/>
              </a:rPr>
              <a:t>Host 2+ Respectful Care Breakfasts</a:t>
            </a:r>
            <a:r>
              <a:rPr lang="en-US" dirty="0">
                <a:latin typeface="Arial"/>
                <a:ea typeface="+mn-lt"/>
                <a:cs typeface="+mn-lt"/>
              </a:rPr>
              <a:t> per year</a:t>
            </a:r>
            <a:endParaRPr lang="en-US" dirty="0">
              <a:latin typeface="Arial"/>
              <a:cs typeface="Arial"/>
            </a:endParaRPr>
          </a:p>
          <a:p>
            <a:pPr lvl="2">
              <a:buFont typeface="Wingdings" panose="020B0604020202020204" pitchFamily="34" charset="0"/>
              <a:buChar char="§"/>
            </a:pPr>
            <a:r>
              <a:rPr lang="en-US" i="1" dirty="0">
                <a:latin typeface="Arial"/>
                <a:ea typeface="+mn-lt"/>
                <a:cs typeface="+mn-lt"/>
              </a:rPr>
              <a:t>At least one by application deadline 09/30</a:t>
            </a:r>
            <a:endParaRPr lang="en-US" dirty="0">
              <a:latin typeface="Arial"/>
              <a:cs typeface="Arial"/>
            </a:endParaRPr>
          </a:p>
          <a:p>
            <a:pPr lvl="2">
              <a:buFont typeface="Wingdings" panose="020B0604020202020204" pitchFamily="34" charset="0"/>
              <a:buChar char="§"/>
            </a:pPr>
            <a:endParaRPr lang="en-US" i="1" dirty="0">
              <a:latin typeface="Arial"/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sz="3200" dirty="0">
                <a:latin typeface="Arial"/>
                <a:ea typeface="+mn-lt"/>
                <a:cs typeface="+mn-lt"/>
              </a:rPr>
              <a:t>📋 </a:t>
            </a:r>
            <a:r>
              <a:rPr lang="en-US" b="1" dirty="0">
                <a:latin typeface="Arial"/>
                <a:ea typeface="+mn-lt"/>
                <a:cs typeface="+mn-lt"/>
              </a:rPr>
              <a:t>Implement PREM surveys</a:t>
            </a:r>
            <a:r>
              <a:rPr lang="en-US" dirty="0">
                <a:latin typeface="Arial"/>
                <a:ea typeface="+mn-lt"/>
                <a:cs typeface="+mn-lt"/>
              </a:rPr>
              <a:t> on respectful care</a:t>
            </a:r>
            <a:endParaRPr lang="en-US" dirty="0">
              <a:latin typeface="Arial"/>
              <a:cs typeface="Arial"/>
            </a:endParaRPr>
          </a:p>
          <a:p>
            <a:pPr lvl="2">
              <a:buFont typeface="Wingdings" panose="020B0604020202020204" pitchFamily="34" charset="0"/>
              <a:buChar char="§"/>
            </a:pPr>
            <a:r>
              <a:rPr lang="en-US" i="1" dirty="0">
                <a:latin typeface="Arial"/>
                <a:ea typeface="+mn-lt"/>
                <a:cs typeface="+mn-lt"/>
              </a:rPr>
              <a:t>≥10% of deliveries per month OR at least 15 deliveries/month</a:t>
            </a:r>
            <a:endParaRPr lang="en-US" dirty="0">
              <a:latin typeface="Arial"/>
              <a:cs typeface="Arial"/>
            </a:endParaRPr>
          </a:p>
          <a:p>
            <a:endParaRPr lang="en-US" dirty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9">
          <a:extLst>
            <a:ext uri="{FF2B5EF4-FFF2-40B4-BE49-F238E27FC236}">
              <a16:creationId xmlns:a16="http://schemas.microsoft.com/office/drawing/2014/main" id="{F27A0B49-5BCA-A4CB-9769-96AB9E3E61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690503EF-9D9B-D16E-9133-E9E0250402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7551648"/>
              </p:ext>
            </p:extLst>
          </p:nvPr>
        </p:nvGraphicFramePr>
        <p:xfrm>
          <a:off x="2687" y="683457"/>
          <a:ext cx="11227721" cy="52162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90" name="Google Shape;390;p12">
            <a:extLst>
              <a:ext uri="{FF2B5EF4-FFF2-40B4-BE49-F238E27FC236}">
                <a16:creationId xmlns:a16="http://schemas.microsoft.com/office/drawing/2014/main" id="{A88C879F-59FF-5DC9-301B-D8D3540449DA}"/>
              </a:ext>
            </a:extLst>
          </p:cNvPr>
          <p:cNvSpPr/>
          <p:nvPr/>
        </p:nvSpPr>
        <p:spPr>
          <a:xfrm>
            <a:off x="9819675" y="131507"/>
            <a:ext cx="2025315" cy="911940"/>
          </a:xfrm>
          <a:custGeom>
            <a:avLst/>
            <a:gdLst/>
            <a:ahLst/>
            <a:cxnLst/>
            <a:rect l="l" t="t" r="r" b="b"/>
            <a:pathLst>
              <a:path w="3037973" h="1367910" extrusionOk="0">
                <a:moveTo>
                  <a:pt x="0" y="0"/>
                </a:moveTo>
                <a:lnTo>
                  <a:pt x="3037973" y="0"/>
                </a:lnTo>
                <a:lnTo>
                  <a:pt x="3037973" y="1367910"/>
                </a:lnTo>
                <a:lnTo>
                  <a:pt x="0" y="136791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8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b="-95"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92" name="Google Shape;392;p12">
            <a:extLst>
              <a:ext uri="{FF2B5EF4-FFF2-40B4-BE49-F238E27FC236}">
                <a16:creationId xmlns:a16="http://schemas.microsoft.com/office/drawing/2014/main" id="{28AF9AA4-72CC-964A-2268-C5498FBE543F}"/>
              </a:ext>
            </a:extLst>
          </p:cNvPr>
          <p:cNvCxnSpPr/>
          <p:nvPr/>
        </p:nvCxnSpPr>
        <p:spPr>
          <a:xfrm rot="1988">
            <a:off x="606424" y="6335713"/>
            <a:ext cx="10979152" cy="0"/>
          </a:xfrm>
          <a:prstGeom prst="straightConnector1">
            <a:avLst/>
          </a:prstGeom>
          <a:noFill/>
          <a:ln w="9525" cap="rnd" cmpd="sng">
            <a:solidFill>
              <a:srgbClr val="79818A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393" name="Google Shape;393;p12">
            <a:extLst>
              <a:ext uri="{FF2B5EF4-FFF2-40B4-BE49-F238E27FC236}">
                <a16:creationId xmlns:a16="http://schemas.microsoft.com/office/drawing/2014/main" id="{B4E50B46-662D-9BE6-5B3C-DE61B2D9F6D9}"/>
              </a:ext>
            </a:extLst>
          </p:cNvPr>
          <p:cNvGrpSpPr/>
          <p:nvPr/>
        </p:nvGrpSpPr>
        <p:grpSpPr>
          <a:xfrm>
            <a:off x="4038600" y="6356350"/>
            <a:ext cx="4114800" cy="365125"/>
            <a:chOff x="0" y="0"/>
            <a:chExt cx="8229600" cy="730250"/>
          </a:xfrm>
        </p:grpSpPr>
        <p:sp>
          <p:nvSpPr>
            <p:cNvPr id="394" name="Google Shape;394;p12">
              <a:extLst>
                <a:ext uri="{FF2B5EF4-FFF2-40B4-BE49-F238E27FC236}">
                  <a16:creationId xmlns:a16="http://schemas.microsoft.com/office/drawing/2014/main" id="{319848F1-A42C-1CC9-0F10-59B4DCF8D673}"/>
                </a:ext>
              </a:extLst>
            </p:cNvPr>
            <p:cNvSpPr/>
            <p:nvPr/>
          </p:nvSpPr>
          <p:spPr>
            <a:xfrm>
              <a:off x="0" y="0"/>
              <a:ext cx="8229600" cy="730250"/>
            </a:xfrm>
            <a:custGeom>
              <a:avLst/>
              <a:gdLst/>
              <a:ahLst/>
              <a:cxnLst/>
              <a:rect l="l" t="t" r="r" b="b"/>
              <a:pathLst>
                <a:path w="8229600" h="730250" extrusionOk="0">
                  <a:moveTo>
                    <a:pt x="0" y="0"/>
                  </a:moveTo>
                  <a:lnTo>
                    <a:pt x="8229600" y="0"/>
                  </a:lnTo>
                  <a:lnTo>
                    <a:pt x="82296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" name="Google Shape;395;p12">
              <a:extLst>
                <a:ext uri="{FF2B5EF4-FFF2-40B4-BE49-F238E27FC236}">
                  <a16:creationId xmlns:a16="http://schemas.microsoft.com/office/drawing/2014/main" id="{DE3F54A0-E3C1-8518-7A4C-C551FD8A176F}"/>
                </a:ext>
              </a:extLst>
            </p:cNvPr>
            <p:cNvSpPr txBox="1"/>
            <p:nvPr/>
          </p:nvSpPr>
          <p:spPr>
            <a:xfrm>
              <a:off x="0" y="0"/>
              <a:ext cx="82296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Illinois Perinatal Quality Collaborative</a:t>
              </a:r>
              <a:endParaRPr sz="622"/>
            </a:p>
          </p:txBody>
        </p:sp>
      </p:grpSp>
      <p:grpSp>
        <p:nvGrpSpPr>
          <p:cNvPr id="396" name="Google Shape;396;p12">
            <a:extLst>
              <a:ext uri="{FF2B5EF4-FFF2-40B4-BE49-F238E27FC236}">
                <a16:creationId xmlns:a16="http://schemas.microsoft.com/office/drawing/2014/main" id="{511AF072-8586-BCDB-8432-114A6A48720D}"/>
              </a:ext>
            </a:extLst>
          </p:cNvPr>
          <p:cNvGrpSpPr/>
          <p:nvPr/>
        </p:nvGrpSpPr>
        <p:grpSpPr>
          <a:xfrm>
            <a:off x="8610600" y="6356350"/>
            <a:ext cx="2743200" cy="365125"/>
            <a:chOff x="0" y="0"/>
            <a:chExt cx="5486400" cy="730250"/>
          </a:xfrm>
        </p:grpSpPr>
        <p:sp>
          <p:nvSpPr>
            <p:cNvPr id="397" name="Google Shape;397;p12">
              <a:extLst>
                <a:ext uri="{FF2B5EF4-FFF2-40B4-BE49-F238E27FC236}">
                  <a16:creationId xmlns:a16="http://schemas.microsoft.com/office/drawing/2014/main" id="{1D356D47-4BAF-BB69-B299-93C16FC91C6E}"/>
                </a:ext>
              </a:extLst>
            </p:cNvPr>
            <p:cNvSpPr/>
            <p:nvPr/>
          </p:nvSpPr>
          <p:spPr>
            <a:xfrm>
              <a:off x="0" y="0"/>
              <a:ext cx="5486400" cy="730250"/>
            </a:xfrm>
            <a:custGeom>
              <a:avLst/>
              <a:gdLst/>
              <a:ahLst/>
              <a:cxnLst/>
              <a:rect l="l" t="t" r="r" b="b"/>
              <a:pathLst>
                <a:path w="5486400" h="730250" extrusionOk="0">
                  <a:moveTo>
                    <a:pt x="0" y="0"/>
                  </a:moveTo>
                  <a:lnTo>
                    <a:pt x="5486400" y="0"/>
                  </a:lnTo>
                  <a:lnTo>
                    <a:pt x="54864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8" name="Google Shape;398;p12">
              <a:extLst>
                <a:ext uri="{FF2B5EF4-FFF2-40B4-BE49-F238E27FC236}">
                  <a16:creationId xmlns:a16="http://schemas.microsoft.com/office/drawing/2014/main" id="{996C8165-4DC9-503E-0D05-C00F8856DCF0}"/>
                </a:ext>
              </a:extLst>
            </p:cNvPr>
            <p:cNvSpPr txBox="1"/>
            <p:nvPr/>
          </p:nvSpPr>
          <p:spPr>
            <a:xfrm>
              <a:off x="0" y="0"/>
              <a:ext cx="54864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11</a:t>
              </a:r>
              <a:endParaRPr sz="622"/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4E13067A-F4A7-48BB-BC67-E276BA9F733B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5038" y="3061372"/>
            <a:ext cx="1517523" cy="1517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662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DM Sans" pitchFamily="2" charset="77"/>
                <a:ea typeface="Lato Medium"/>
                <a:cs typeface="Lato Medium"/>
              </a:rPr>
              <a:t>Upcoming ILPQC 13th Annual Conference</a:t>
            </a:r>
            <a:endParaRPr lang="en-US" dirty="0">
              <a:latin typeface="DM Sans" pitchFamily="2" charset="77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3310" y="2800286"/>
            <a:ext cx="9365380" cy="986569"/>
          </a:xfrm>
        </p:spPr>
        <p:txBody>
          <a:bodyPr/>
          <a:lstStyle/>
          <a:p>
            <a:r>
              <a:rPr lang="en-US" dirty="0">
                <a:latin typeface="DM Sans" pitchFamily="2" charset="77"/>
              </a:rPr>
              <a:t>The Westin Lombard, IL </a:t>
            </a:r>
          </a:p>
        </p:txBody>
      </p:sp>
    </p:spTree>
    <p:extLst>
      <p:ext uri="{BB962C8B-B14F-4D97-AF65-F5344CB8AC3E}">
        <p14:creationId xmlns:p14="http://schemas.microsoft.com/office/powerpoint/2010/main" val="9213623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9">
          <a:extLst>
            <a:ext uri="{FF2B5EF4-FFF2-40B4-BE49-F238E27FC236}">
              <a16:creationId xmlns:a16="http://schemas.microsoft.com/office/drawing/2014/main" id="{96D122C8-27BB-8AB7-D520-C115944C88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" name="Google Shape;390;p12">
            <a:extLst>
              <a:ext uri="{FF2B5EF4-FFF2-40B4-BE49-F238E27FC236}">
                <a16:creationId xmlns:a16="http://schemas.microsoft.com/office/drawing/2014/main" id="{824C2B34-5ED5-F142-8B8E-0FE280AFA34C}"/>
              </a:ext>
            </a:extLst>
          </p:cNvPr>
          <p:cNvSpPr/>
          <p:nvPr/>
        </p:nvSpPr>
        <p:spPr>
          <a:xfrm>
            <a:off x="9264319" y="228371"/>
            <a:ext cx="2025315" cy="911940"/>
          </a:xfrm>
          <a:custGeom>
            <a:avLst/>
            <a:gdLst/>
            <a:ahLst/>
            <a:cxnLst/>
            <a:rect l="l" t="t" r="r" b="b"/>
            <a:pathLst>
              <a:path w="3037973" h="1367910" extrusionOk="0">
                <a:moveTo>
                  <a:pt x="0" y="0"/>
                </a:moveTo>
                <a:lnTo>
                  <a:pt x="3037973" y="0"/>
                </a:lnTo>
                <a:lnTo>
                  <a:pt x="3037973" y="1367910"/>
                </a:lnTo>
                <a:lnTo>
                  <a:pt x="0" y="136791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b="-95"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1" name="Google Shape;391;p12">
            <a:extLst>
              <a:ext uri="{FF2B5EF4-FFF2-40B4-BE49-F238E27FC236}">
                <a16:creationId xmlns:a16="http://schemas.microsoft.com/office/drawing/2014/main" id="{ED263072-BB45-AEEC-66DA-D1B6CF812D25}"/>
              </a:ext>
            </a:extLst>
          </p:cNvPr>
          <p:cNvSpPr/>
          <p:nvPr/>
        </p:nvSpPr>
        <p:spPr>
          <a:xfrm>
            <a:off x="7191543" y="1"/>
            <a:ext cx="5000459" cy="1425992"/>
          </a:xfrm>
          <a:custGeom>
            <a:avLst/>
            <a:gdLst/>
            <a:ahLst/>
            <a:cxnLst/>
            <a:rect l="l" t="t" r="r" b="b"/>
            <a:pathLst>
              <a:path w="7500689" h="2138988" extrusionOk="0">
                <a:moveTo>
                  <a:pt x="0" y="0"/>
                </a:moveTo>
                <a:lnTo>
                  <a:pt x="7500689" y="0"/>
                </a:lnTo>
                <a:lnTo>
                  <a:pt x="7500689" y="2138989"/>
                </a:lnTo>
                <a:lnTo>
                  <a:pt x="0" y="213898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92" name="Google Shape;392;p12">
            <a:extLst>
              <a:ext uri="{FF2B5EF4-FFF2-40B4-BE49-F238E27FC236}">
                <a16:creationId xmlns:a16="http://schemas.microsoft.com/office/drawing/2014/main" id="{39396770-59A3-69D2-3212-264F2C4AC341}"/>
              </a:ext>
            </a:extLst>
          </p:cNvPr>
          <p:cNvCxnSpPr/>
          <p:nvPr/>
        </p:nvCxnSpPr>
        <p:spPr>
          <a:xfrm rot="1988">
            <a:off x="606424" y="6335713"/>
            <a:ext cx="10979152" cy="0"/>
          </a:xfrm>
          <a:prstGeom prst="straightConnector1">
            <a:avLst/>
          </a:prstGeom>
          <a:noFill/>
          <a:ln w="9525" cap="rnd" cmpd="sng">
            <a:solidFill>
              <a:srgbClr val="79818A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393" name="Google Shape;393;p12">
            <a:extLst>
              <a:ext uri="{FF2B5EF4-FFF2-40B4-BE49-F238E27FC236}">
                <a16:creationId xmlns:a16="http://schemas.microsoft.com/office/drawing/2014/main" id="{64DCE3B1-FA2B-7D43-EB89-2F95DA9A8B82}"/>
              </a:ext>
            </a:extLst>
          </p:cNvPr>
          <p:cNvGrpSpPr/>
          <p:nvPr/>
        </p:nvGrpSpPr>
        <p:grpSpPr>
          <a:xfrm>
            <a:off x="4038600" y="6356350"/>
            <a:ext cx="4114800" cy="365125"/>
            <a:chOff x="0" y="0"/>
            <a:chExt cx="8229600" cy="730250"/>
          </a:xfrm>
        </p:grpSpPr>
        <p:sp>
          <p:nvSpPr>
            <p:cNvPr id="394" name="Google Shape;394;p12">
              <a:extLst>
                <a:ext uri="{FF2B5EF4-FFF2-40B4-BE49-F238E27FC236}">
                  <a16:creationId xmlns:a16="http://schemas.microsoft.com/office/drawing/2014/main" id="{8CA53D86-3BA5-EC01-68E6-61176320A1E4}"/>
                </a:ext>
              </a:extLst>
            </p:cNvPr>
            <p:cNvSpPr/>
            <p:nvPr/>
          </p:nvSpPr>
          <p:spPr>
            <a:xfrm>
              <a:off x="0" y="0"/>
              <a:ext cx="8229600" cy="730250"/>
            </a:xfrm>
            <a:custGeom>
              <a:avLst/>
              <a:gdLst/>
              <a:ahLst/>
              <a:cxnLst/>
              <a:rect l="l" t="t" r="r" b="b"/>
              <a:pathLst>
                <a:path w="8229600" h="730250" extrusionOk="0">
                  <a:moveTo>
                    <a:pt x="0" y="0"/>
                  </a:moveTo>
                  <a:lnTo>
                    <a:pt x="8229600" y="0"/>
                  </a:lnTo>
                  <a:lnTo>
                    <a:pt x="82296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" name="Google Shape;395;p12">
              <a:extLst>
                <a:ext uri="{FF2B5EF4-FFF2-40B4-BE49-F238E27FC236}">
                  <a16:creationId xmlns:a16="http://schemas.microsoft.com/office/drawing/2014/main" id="{2F2F6066-CE11-A065-6F11-624B31D3D47D}"/>
                </a:ext>
              </a:extLst>
            </p:cNvPr>
            <p:cNvSpPr txBox="1"/>
            <p:nvPr/>
          </p:nvSpPr>
          <p:spPr>
            <a:xfrm>
              <a:off x="0" y="0"/>
              <a:ext cx="82296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Illinois Perinatal Quality Collaborative</a:t>
              </a:r>
              <a:endParaRPr sz="622"/>
            </a:p>
          </p:txBody>
        </p:sp>
      </p:grpSp>
      <p:grpSp>
        <p:nvGrpSpPr>
          <p:cNvPr id="396" name="Google Shape;396;p12">
            <a:extLst>
              <a:ext uri="{FF2B5EF4-FFF2-40B4-BE49-F238E27FC236}">
                <a16:creationId xmlns:a16="http://schemas.microsoft.com/office/drawing/2014/main" id="{DC3335E2-9A66-DD56-DC20-BEB34A8ABBC2}"/>
              </a:ext>
            </a:extLst>
          </p:cNvPr>
          <p:cNvGrpSpPr/>
          <p:nvPr/>
        </p:nvGrpSpPr>
        <p:grpSpPr>
          <a:xfrm>
            <a:off x="8610600" y="6356350"/>
            <a:ext cx="2743200" cy="365125"/>
            <a:chOff x="0" y="0"/>
            <a:chExt cx="5486400" cy="730250"/>
          </a:xfrm>
        </p:grpSpPr>
        <p:sp>
          <p:nvSpPr>
            <p:cNvPr id="397" name="Google Shape;397;p12">
              <a:extLst>
                <a:ext uri="{FF2B5EF4-FFF2-40B4-BE49-F238E27FC236}">
                  <a16:creationId xmlns:a16="http://schemas.microsoft.com/office/drawing/2014/main" id="{2EE9E8FA-146A-B731-628A-9DB18014B5E9}"/>
                </a:ext>
              </a:extLst>
            </p:cNvPr>
            <p:cNvSpPr/>
            <p:nvPr/>
          </p:nvSpPr>
          <p:spPr>
            <a:xfrm>
              <a:off x="0" y="0"/>
              <a:ext cx="5486400" cy="730250"/>
            </a:xfrm>
            <a:custGeom>
              <a:avLst/>
              <a:gdLst/>
              <a:ahLst/>
              <a:cxnLst/>
              <a:rect l="l" t="t" r="r" b="b"/>
              <a:pathLst>
                <a:path w="5486400" h="730250" extrusionOk="0">
                  <a:moveTo>
                    <a:pt x="0" y="0"/>
                  </a:moveTo>
                  <a:lnTo>
                    <a:pt x="5486400" y="0"/>
                  </a:lnTo>
                  <a:lnTo>
                    <a:pt x="54864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8" name="Google Shape;398;p12">
              <a:extLst>
                <a:ext uri="{FF2B5EF4-FFF2-40B4-BE49-F238E27FC236}">
                  <a16:creationId xmlns:a16="http://schemas.microsoft.com/office/drawing/2014/main" id="{AB5A90D5-C3E7-7020-D81C-F71BAC251F86}"/>
                </a:ext>
              </a:extLst>
            </p:cNvPr>
            <p:cNvSpPr txBox="1"/>
            <p:nvPr/>
          </p:nvSpPr>
          <p:spPr>
            <a:xfrm>
              <a:off x="0" y="0"/>
              <a:ext cx="54864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11</a:t>
              </a:r>
              <a:endParaRPr sz="622"/>
            </a:p>
          </p:txBody>
        </p:sp>
      </p:grpSp>
      <p:grpSp>
        <p:nvGrpSpPr>
          <p:cNvPr id="402" name="Google Shape;402;p12">
            <a:extLst>
              <a:ext uri="{FF2B5EF4-FFF2-40B4-BE49-F238E27FC236}">
                <a16:creationId xmlns:a16="http://schemas.microsoft.com/office/drawing/2014/main" id="{89FDA70A-76A0-EA61-AB98-E5C69CA459FB}"/>
              </a:ext>
            </a:extLst>
          </p:cNvPr>
          <p:cNvGrpSpPr/>
          <p:nvPr/>
        </p:nvGrpSpPr>
        <p:grpSpPr>
          <a:xfrm>
            <a:off x="437841" y="101070"/>
            <a:ext cx="7583699" cy="991274"/>
            <a:chOff x="-290285" y="-800687"/>
            <a:chExt cx="15167397" cy="1982549"/>
          </a:xfrm>
        </p:grpSpPr>
        <p:sp>
          <p:nvSpPr>
            <p:cNvPr id="403" name="Google Shape;403;p12">
              <a:extLst>
                <a:ext uri="{FF2B5EF4-FFF2-40B4-BE49-F238E27FC236}">
                  <a16:creationId xmlns:a16="http://schemas.microsoft.com/office/drawing/2014/main" id="{1E9C7990-A73C-54B7-D61B-A23C302FEF39}"/>
                </a:ext>
              </a:extLst>
            </p:cNvPr>
            <p:cNvSpPr/>
            <p:nvPr/>
          </p:nvSpPr>
          <p:spPr>
            <a:xfrm>
              <a:off x="0" y="0"/>
              <a:ext cx="14877112" cy="1181862"/>
            </a:xfrm>
            <a:custGeom>
              <a:avLst/>
              <a:gdLst/>
              <a:ahLst/>
              <a:cxnLst/>
              <a:rect l="l" t="t" r="r" b="b"/>
              <a:pathLst>
                <a:path w="14877112" h="1181862" extrusionOk="0">
                  <a:moveTo>
                    <a:pt x="0" y="0"/>
                  </a:moveTo>
                  <a:lnTo>
                    <a:pt x="14877112" y="0"/>
                  </a:lnTo>
                  <a:lnTo>
                    <a:pt x="14877112" y="1181862"/>
                  </a:lnTo>
                  <a:lnTo>
                    <a:pt x="0" y="1181862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4" name="Google Shape;404;p12">
              <a:extLst>
                <a:ext uri="{FF2B5EF4-FFF2-40B4-BE49-F238E27FC236}">
                  <a16:creationId xmlns:a16="http://schemas.microsoft.com/office/drawing/2014/main" id="{0CA8A0E4-7559-DD99-A0A2-2FDE7E68DB8E}"/>
                </a:ext>
              </a:extLst>
            </p:cNvPr>
            <p:cNvSpPr txBox="1"/>
            <p:nvPr/>
          </p:nvSpPr>
          <p:spPr>
            <a:xfrm>
              <a:off x="-290285" y="-800687"/>
              <a:ext cx="14877112" cy="112471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>
                <a:lnSpc>
                  <a:spcPct val="108000"/>
                </a:lnSpc>
              </a:pPr>
              <a:r>
                <a:rPr lang="en-US" sz="3600" b="1" dirty="0">
                  <a:solidFill>
                    <a:srgbClr val="1C498B"/>
                  </a:solidFill>
                  <a:latin typeface="Arial"/>
                  <a:ea typeface="Arial"/>
                  <a:cs typeface="Arial"/>
                  <a:sym typeface="Arial"/>
                </a:rPr>
                <a:t>Birth Equity Sustainability: </a:t>
              </a:r>
              <a:r>
                <a:rPr lang="en-US" sz="3600" b="1" dirty="0">
                  <a:solidFill>
                    <a:srgbClr val="1C498B"/>
                  </a:solidFill>
                </a:rPr>
                <a:t>Key Structure Measures</a:t>
              </a:r>
              <a:endParaRPr lang="en-US" sz="3600" b="1" dirty="0">
                <a:solidFill>
                  <a:srgbClr val="1C498B"/>
                </a:solidFill>
                <a:latin typeface="Arial"/>
                <a:ea typeface="Arial"/>
                <a:cs typeface="Arial"/>
              </a:endParaRPr>
            </a:p>
          </p:txBody>
        </p:sp>
      </p:grp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38B4D75E-DC57-89A4-6373-96145D95F37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0265113"/>
              </p:ext>
            </p:extLst>
          </p:nvPr>
        </p:nvGraphicFramePr>
        <p:xfrm>
          <a:off x="345756" y="1502456"/>
          <a:ext cx="8420339" cy="52162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E0DE1140-98D4-1658-9445-5497DA076159}"/>
              </a:ext>
            </a:extLst>
          </p:cNvPr>
          <p:cNvSpPr/>
          <p:nvPr/>
        </p:nvSpPr>
        <p:spPr>
          <a:xfrm>
            <a:off x="9448800" y="1955503"/>
            <a:ext cx="2532185" cy="4091354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3600" dirty="0">
                <a:solidFill>
                  <a:schemeClr val="bg1"/>
                </a:solidFill>
              </a:rPr>
              <a:t>Existing BE Structure Measures should be In Place</a:t>
            </a:r>
          </a:p>
        </p:txBody>
      </p:sp>
      <p:sp>
        <p:nvSpPr>
          <p:cNvPr id="5" name="Right Brace 4">
            <a:extLst>
              <a:ext uri="{FF2B5EF4-FFF2-40B4-BE49-F238E27FC236}">
                <a16:creationId xmlns:a16="http://schemas.microsoft.com/office/drawing/2014/main" id="{7DC93C7B-7E42-979E-4C8C-EDDE17DC3F30}"/>
              </a:ext>
            </a:extLst>
          </p:cNvPr>
          <p:cNvSpPr/>
          <p:nvPr/>
        </p:nvSpPr>
        <p:spPr>
          <a:xfrm>
            <a:off x="8944708" y="1654363"/>
            <a:ext cx="504092" cy="4943520"/>
          </a:xfrm>
          <a:prstGeom prst="rightBrac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endParaRPr lang="en-US" sz="622"/>
          </a:p>
        </p:txBody>
      </p:sp>
      <p:pic>
        <p:nvPicPr>
          <p:cNvPr id="481" name="Picture 480" descr="A group of people standing together&#10;&#10;AI-generated content may be incorrect.">
            <a:extLst>
              <a:ext uri="{FF2B5EF4-FFF2-40B4-BE49-F238E27FC236}">
                <a16:creationId xmlns:a16="http://schemas.microsoft.com/office/drawing/2014/main" id="{5E380E02-AC78-DB98-F4E0-DF5164CB4F5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23539" y="5372828"/>
            <a:ext cx="993667" cy="929736"/>
          </a:xfrm>
          <a:prstGeom prst="rect">
            <a:avLst/>
          </a:prstGeom>
        </p:spPr>
      </p:pic>
      <p:pic>
        <p:nvPicPr>
          <p:cNvPr id="514" name="Picture 513" descr="A blue house and hands&#10;&#10;AI-generated content may be incorrect.">
            <a:extLst>
              <a:ext uri="{FF2B5EF4-FFF2-40B4-BE49-F238E27FC236}">
                <a16:creationId xmlns:a16="http://schemas.microsoft.com/office/drawing/2014/main" id="{61943A51-6117-C704-9EEA-758A9455B44C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8466" r="529" b="662"/>
          <a:stretch>
            <a:fillRect/>
          </a:stretch>
        </p:blipFill>
        <p:spPr>
          <a:xfrm>
            <a:off x="7191214" y="3517954"/>
            <a:ext cx="1109537" cy="965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48913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Google Shape;414;p13"/>
          <p:cNvSpPr/>
          <p:nvPr/>
        </p:nvSpPr>
        <p:spPr>
          <a:xfrm>
            <a:off x="9264319" y="228371"/>
            <a:ext cx="2025315" cy="911940"/>
          </a:xfrm>
          <a:custGeom>
            <a:avLst/>
            <a:gdLst/>
            <a:ahLst/>
            <a:cxnLst/>
            <a:rect l="l" t="t" r="r" b="b"/>
            <a:pathLst>
              <a:path w="3037973" h="1367910" extrusionOk="0">
                <a:moveTo>
                  <a:pt x="0" y="0"/>
                </a:moveTo>
                <a:lnTo>
                  <a:pt x="3037973" y="0"/>
                </a:lnTo>
                <a:lnTo>
                  <a:pt x="3037973" y="1367910"/>
                </a:lnTo>
                <a:lnTo>
                  <a:pt x="0" y="136791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b="-95"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5" name="Google Shape;415;p13"/>
          <p:cNvSpPr/>
          <p:nvPr/>
        </p:nvSpPr>
        <p:spPr>
          <a:xfrm>
            <a:off x="7191543" y="1"/>
            <a:ext cx="5000459" cy="1425992"/>
          </a:xfrm>
          <a:custGeom>
            <a:avLst/>
            <a:gdLst/>
            <a:ahLst/>
            <a:cxnLst/>
            <a:rect l="l" t="t" r="r" b="b"/>
            <a:pathLst>
              <a:path w="7500689" h="2138988" extrusionOk="0">
                <a:moveTo>
                  <a:pt x="0" y="0"/>
                </a:moveTo>
                <a:lnTo>
                  <a:pt x="7500689" y="0"/>
                </a:lnTo>
                <a:lnTo>
                  <a:pt x="7500689" y="2138989"/>
                </a:lnTo>
                <a:lnTo>
                  <a:pt x="0" y="213898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416" name="Google Shape;416;p13"/>
          <p:cNvCxnSpPr/>
          <p:nvPr/>
        </p:nvCxnSpPr>
        <p:spPr>
          <a:xfrm rot="1988">
            <a:off x="606424" y="6335713"/>
            <a:ext cx="10979152" cy="0"/>
          </a:xfrm>
          <a:prstGeom prst="straightConnector1">
            <a:avLst/>
          </a:prstGeom>
          <a:noFill/>
          <a:ln w="9525" cap="rnd" cmpd="sng">
            <a:solidFill>
              <a:srgbClr val="79818A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417" name="Google Shape;417;p13"/>
          <p:cNvGrpSpPr/>
          <p:nvPr/>
        </p:nvGrpSpPr>
        <p:grpSpPr>
          <a:xfrm>
            <a:off x="4038600" y="6356350"/>
            <a:ext cx="4114800" cy="365125"/>
            <a:chOff x="0" y="0"/>
            <a:chExt cx="8229600" cy="730250"/>
          </a:xfrm>
        </p:grpSpPr>
        <p:sp>
          <p:nvSpPr>
            <p:cNvPr id="418" name="Google Shape;418;p13"/>
            <p:cNvSpPr/>
            <p:nvPr/>
          </p:nvSpPr>
          <p:spPr>
            <a:xfrm>
              <a:off x="0" y="0"/>
              <a:ext cx="8229600" cy="730250"/>
            </a:xfrm>
            <a:custGeom>
              <a:avLst/>
              <a:gdLst/>
              <a:ahLst/>
              <a:cxnLst/>
              <a:rect l="l" t="t" r="r" b="b"/>
              <a:pathLst>
                <a:path w="8229600" h="730250" extrusionOk="0">
                  <a:moveTo>
                    <a:pt x="0" y="0"/>
                  </a:moveTo>
                  <a:lnTo>
                    <a:pt x="8229600" y="0"/>
                  </a:lnTo>
                  <a:lnTo>
                    <a:pt x="82296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3"/>
            <p:cNvSpPr txBox="1"/>
            <p:nvPr/>
          </p:nvSpPr>
          <p:spPr>
            <a:xfrm>
              <a:off x="0" y="0"/>
              <a:ext cx="82296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dirty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Illinois Perinatal Quality Collaborative</a:t>
              </a:r>
              <a:endParaRPr sz="622" dirty="0"/>
            </a:p>
          </p:txBody>
        </p:sp>
      </p:grpSp>
      <p:grpSp>
        <p:nvGrpSpPr>
          <p:cNvPr id="420" name="Google Shape;420;p13"/>
          <p:cNvGrpSpPr/>
          <p:nvPr/>
        </p:nvGrpSpPr>
        <p:grpSpPr>
          <a:xfrm>
            <a:off x="8610600" y="6356350"/>
            <a:ext cx="2743200" cy="365125"/>
            <a:chOff x="0" y="0"/>
            <a:chExt cx="5486400" cy="730250"/>
          </a:xfrm>
        </p:grpSpPr>
        <p:sp>
          <p:nvSpPr>
            <p:cNvPr id="421" name="Google Shape;421;p13"/>
            <p:cNvSpPr/>
            <p:nvPr/>
          </p:nvSpPr>
          <p:spPr>
            <a:xfrm>
              <a:off x="0" y="0"/>
              <a:ext cx="5486400" cy="730250"/>
            </a:xfrm>
            <a:custGeom>
              <a:avLst/>
              <a:gdLst/>
              <a:ahLst/>
              <a:cxnLst/>
              <a:rect l="l" t="t" r="r" b="b"/>
              <a:pathLst>
                <a:path w="5486400" h="730250" extrusionOk="0">
                  <a:moveTo>
                    <a:pt x="0" y="0"/>
                  </a:moveTo>
                  <a:lnTo>
                    <a:pt x="5486400" y="0"/>
                  </a:lnTo>
                  <a:lnTo>
                    <a:pt x="54864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3"/>
            <p:cNvSpPr txBox="1"/>
            <p:nvPr/>
          </p:nvSpPr>
          <p:spPr>
            <a:xfrm>
              <a:off x="0" y="0"/>
              <a:ext cx="54864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12</a:t>
              </a:r>
              <a:endParaRPr sz="622"/>
            </a:p>
          </p:txBody>
        </p:sp>
      </p:grpSp>
      <p:grpSp>
        <p:nvGrpSpPr>
          <p:cNvPr id="423" name="Google Shape;423;p13"/>
          <p:cNvGrpSpPr/>
          <p:nvPr/>
        </p:nvGrpSpPr>
        <p:grpSpPr>
          <a:xfrm>
            <a:off x="609600" y="1317202"/>
            <a:ext cx="5297437" cy="910112"/>
            <a:chOff x="0" y="-9525"/>
            <a:chExt cx="13068302" cy="9517715"/>
          </a:xfrm>
        </p:grpSpPr>
        <p:sp>
          <p:nvSpPr>
            <p:cNvPr id="424" name="Google Shape;424;p13"/>
            <p:cNvSpPr/>
            <p:nvPr/>
          </p:nvSpPr>
          <p:spPr>
            <a:xfrm>
              <a:off x="0" y="0"/>
              <a:ext cx="13068302" cy="9508190"/>
            </a:xfrm>
            <a:custGeom>
              <a:avLst/>
              <a:gdLst/>
              <a:ahLst/>
              <a:cxnLst/>
              <a:rect l="l" t="t" r="r" b="b"/>
              <a:pathLst>
                <a:path w="13068302" h="9508190" extrusionOk="0">
                  <a:moveTo>
                    <a:pt x="0" y="0"/>
                  </a:moveTo>
                  <a:lnTo>
                    <a:pt x="13068302" y="0"/>
                  </a:lnTo>
                  <a:lnTo>
                    <a:pt x="13068302" y="9508190"/>
                  </a:lnTo>
                  <a:lnTo>
                    <a:pt x="0" y="950819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3"/>
            <p:cNvSpPr txBox="1"/>
            <p:nvPr/>
          </p:nvSpPr>
          <p:spPr>
            <a:xfrm>
              <a:off x="0" y="-9525"/>
              <a:ext cx="12747414" cy="247268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506755" marR="0" lvl="1" indent="-253165" algn="l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4C55"/>
                </a:buClr>
                <a:buSzPts val="4200"/>
                <a:buFont typeface="Arial"/>
                <a:buChar char="•"/>
              </a:pPr>
              <a:endParaRPr lang="en-US" sz="622" dirty="0"/>
            </a:p>
          </p:txBody>
        </p:sp>
      </p:grpSp>
      <p:grpSp>
        <p:nvGrpSpPr>
          <p:cNvPr id="426" name="Google Shape;426;p13"/>
          <p:cNvGrpSpPr/>
          <p:nvPr/>
        </p:nvGrpSpPr>
        <p:grpSpPr>
          <a:xfrm>
            <a:off x="171697" y="396181"/>
            <a:ext cx="8260582" cy="610298"/>
            <a:chOff x="-716781" y="0"/>
            <a:chExt cx="16521164" cy="1220595"/>
          </a:xfrm>
        </p:grpSpPr>
        <p:sp>
          <p:nvSpPr>
            <p:cNvPr id="427" name="Google Shape;427;p13"/>
            <p:cNvSpPr/>
            <p:nvPr/>
          </p:nvSpPr>
          <p:spPr>
            <a:xfrm>
              <a:off x="0" y="0"/>
              <a:ext cx="15804383" cy="1181862"/>
            </a:xfrm>
            <a:custGeom>
              <a:avLst/>
              <a:gdLst/>
              <a:ahLst/>
              <a:cxnLst/>
              <a:rect l="l" t="t" r="r" b="b"/>
              <a:pathLst>
                <a:path w="15804383" h="1181862" extrusionOk="0">
                  <a:moveTo>
                    <a:pt x="0" y="0"/>
                  </a:moveTo>
                  <a:lnTo>
                    <a:pt x="15804383" y="0"/>
                  </a:lnTo>
                  <a:lnTo>
                    <a:pt x="15804383" y="1181862"/>
                  </a:lnTo>
                  <a:lnTo>
                    <a:pt x="0" y="1181862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3"/>
            <p:cNvSpPr txBox="1"/>
            <p:nvPr/>
          </p:nvSpPr>
          <p:spPr>
            <a:xfrm>
              <a:off x="-716781" y="95884"/>
              <a:ext cx="15804382" cy="11247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8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3600" b="1" dirty="0">
                  <a:solidFill>
                    <a:srgbClr val="1C498B"/>
                  </a:solidFill>
                  <a:latin typeface="Arial"/>
                  <a:ea typeface="Arial"/>
                  <a:cs typeface="Arial"/>
                  <a:sym typeface="Arial"/>
                </a:rPr>
                <a:t>Achieve aims and reduce disparities</a:t>
              </a:r>
              <a:endParaRPr sz="622" dirty="0"/>
            </a:p>
          </p:txBody>
        </p:sp>
      </p:grp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A14A2D3-08AD-9563-3DED-08996D3B06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5286" y="1425252"/>
            <a:ext cx="4884549" cy="799644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0" indent="0">
              <a:buNone/>
            </a:pPr>
            <a:r>
              <a:rPr lang="en-US" dirty="0"/>
              <a:t>3 of 3 criteria needed to achieve Birth Quality Excellence Award</a:t>
            </a:r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0702CB2F-8A43-83F4-3D48-E1B28C0931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0076941"/>
              </p:ext>
            </p:extLst>
          </p:nvPr>
        </p:nvGraphicFramePr>
        <p:xfrm>
          <a:off x="497237" y="-401665"/>
          <a:ext cx="11197525" cy="83070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95A0BCCE-55BC-4DDC-8A2A-5EED42F50487}"/>
              </a:ext>
            </a:extLst>
          </p:cNvPr>
          <p:cNvSpPr txBox="1"/>
          <p:nvPr/>
        </p:nvSpPr>
        <p:spPr>
          <a:xfrm>
            <a:off x="822425" y="1317202"/>
            <a:ext cx="4583185" cy="805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4198">
          <a:extLst>
            <a:ext uri="{FF2B5EF4-FFF2-40B4-BE49-F238E27FC236}">
              <a16:creationId xmlns:a16="http://schemas.microsoft.com/office/drawing/2014/main" id="{9936FB4D-3F99-B2CA-211F-B6C188D381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9" name="Google Shape;4199;p4">
            <a:extLst>
              <a:ext uri="{FF2B5EF4-FFF2-40B4-BE49-F238E27FC236}">
                <a16:creationId xmlns:a16="http://schemas.microsoft.com/office/drawing/2014/main" id="{B71F5349-7278-5B04-7173-B0CAC5BBDD3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DM Sans" pitchFamily="2" charset="77"/>
            </a:endParaRPr>
          </a:p>
        </p:txBody>
      </p:sp>
      <p:grpSp>
        <p:nvGrpSpPr>
          <p:cNvPr id="4200" name="Google Shape;4200;p4">
            <a:extLst>
              <a:ext uri="{FF2B5EF4-FFF2-40B4-BE49-F238E27FC236}">
                <a16:creationId xmlns:a16="http://schemas.microsoft.com/office/drawing/2014/main" id="{8E4DCAFE-65E6-D695-53EF-EF903A466257}"/>
              </a:ext>
            </a:extLst>
          </p:cNvPr>
          <p:cNvGrpSpPr/>
          <p:nvPr/>
        </p:nvGrpSpPr>
        <p:grpSpPr>
          <a:xfrm>
            <a:off x="0" y="5019724"/>
            <a:ext cx="12192000" cy="1838895"/>
            <a:chOff x="0" y="5019724"/>
            <a:chExt cx="12192000" cy="1838895"/>
          </a:xfrm>
        </p:grpSpPr>
        <p:sp>
          <p:nvSpPr>
            <p:cNvPr id="4201" name="Google Shape;4201;p4">
              <a:extLst>
                <a:ext uri="{FF2B5EF4-FFF2-40B4-BE49-F238E27FC236}">
                  <a16:creationId xmlns:a16="http://schemas.microsoft.com/office/drawing/2014/main" id="{5FECA16D-C320-502E-E452-E252C79B359F}"/>
                </a:ext>
              </a:extLst>
            </p:cNvPr>
            <p:cNvSpPr/>
            <p:nvPr/>
          </p:nvSpPr>
          <p:spPr>
            <a:xfrm>
              <a:off x="0" y="5095859"/>
              <a:ext cx="7115175" cy="1762760"/>
            </a:xfrm>
            <a:custGeom>
              <a:avLst/>
              <a:gdLst/>
              <a:ahLst/>
              <a:cxnLst/>
              <a:rect l="l" t="t" r="r" b="b"/>
              <a:pathLst>
                <a:path w="7115175" h="1762759" extrusionOk="0">
                  <a:moveTo>
                    <a:pt x="612604" y="79"/>
                  </a:moveTo>
                  <a:lnTo>
                    <a:pt x="558749" y="0"/>
                  </a:lnTo>
                  <a:lnTo>
                    <a:pt x="504757" y="343"/>
                  </a:lnTo>
                  <a:lnTo>
                    <a:pt x="450629" y="1113"/>
                  </a:lnTo>
                  <a:lnTo>
                    <a:pt x="396364" y="2315"/>
                  </a:lnTo>
                  <a:lnTo>
                    <a:pt x="341960" y="3952"/>
                  </a:lnTo>
                  <a:lnTo>
                    <a:pt x="293138" y="5835"/>
                  </a:lnTo>
                  <a:lnTo>
                    <a:pt x="244415" y="8110"/>
                  </a:lnTo>
                  <a:lnTo>
                    <a:pt x="195788" y="10784"/>
                  </a:lnTo>
                  <a:lnTo>
                    <a:pt x="147255" y="13859"/>
                  </a:lnTo>
                  <a:lnTo>
                    <a:pt x="98813" y="17341"/>
                  </a:lnTo>
                  <a:lnTo>
                    <a:pt x="50462" y="21234"/>
                  </a:lnTo>
                  <a:lnTo>
                    <a:pt x="0" y="25796"/>
                  </a:lnTo>
                  <a:lnTo>
                    <a:pt x="0" y="1762140"/>
                  </a:lnTo>
                  <a:lnTo>
                    <a:pt x="7115175" y="1762140"/>
                  </a:lnTo>
                  <a:lnTo>
                    <a:pt x="6704330" y="1640990"/>
                  </a:lnTo>
                  <a:lnTo>
                    <a:pt x="6611056" y="1611866"/>
                  </a:lnTo>
                  <a:lnTo>
                    <a:pt x="6471146" y="1567351"/>
                  </a:lnTo>
                  <a:lnTo>
                    <a:pt x="6331190" y="1521903"/>
                  </a:lnTo>
                  <a:lnTo>
                    <a:pt x="6191135" y="1475584"/>
                  </a:lnTo>
                  <a:lnTo>
                    <a:pt x="6004150" y="1412585"/>
                  </a:lnTo>
                  <a:lnTo>
                    <a:pt x="5769847" y="1332062"/>
                  </a:lnTo>
                  <a:lnTo>
                    <a:pt x="5487521" y="1233227"/>
                  </a:lnTo>
                  <a:lnTo>
                    <a:pt x="4288404" y="806749"/>
                  </a:lnTo>
                  <a:lnTo>
                    <a:pt x="3992903" y="703643"/>
                  </a:lnTo>
                  <a:lnTo>
                    <a:pt x="3743724" y="618298"/>
                  </a:lnTo>
                  <a:lnTo>
                    <a:pt x="3545715" y="551785"/>
                  </a:lnTo>
                  <a:lnTo>
                    <a:pt x="3451294" y="520764"/>
                  </a:lnTo>
                  <a:lnTo>
                    <a:pt x="3356611" y="490258"/>
                  </a:lnTo>
                  <a:lnTo>
                    <a:pt x="3261657" y="460304"/>
                  </a:lnTo>
                  <a:lnTo>
                    <a:pt x="3166423" y="430941"/>
                  </a:lnTo>
                  <a:lnTo>
                    <a:pt x="3070900" y="402207"/>
                  </a:lnTo>
                  <a:lnTo>
                    <a:pt x="2975079" y="374140"/>
                  </a:lnTo>
                  <a:lnTo>
                    <a:pt x="2878951" y="346778"/>
                  </a:lnTo>
                  <a:lnTo>
                    <a:pt x="2782506" y="320160"/>
                  </a:lnTo>
                  <a:lnTo>
                    <a:pt x="2685737" y="294324"/>
                  </a:lnTo>
                  <a:lnTo>
                    <a:pt x="2588633" y="269308"/>
                  </a:lnTo>
                  <a:lnTo>
                    <a:pt x="2491186" y="245151"/>
                  </a:lnTo>
                  <a:lnTo>
                    <a:pt x="2393387" y="221889"/>
                  </a:lnTo>
                  <a:lnTo>
                    <a:pt x="2295227" y="199563"/>
                  </a:lnTo>
                  <a:lnTo>
                    <a:pt x="2246009" y="188762"/>
                  </a:lnTo>
                  <a:lnTo>
                    <a:pt x="2196697" y="178209"/>
                  </a:lnTo>
                  <a:lnTo>
                    <a:pt x="2147290" y="167909"/>
                  </a:lnTo>
                  <a:lnTo>
                    <a:pt x="2097787" y="157866"/>
                  </a:lnTo>
                  <a:lnTo>
                    <a:pt x="2048188" y="148086"/>
                  </a:lnTo>
                  <a:lnTo>
                    <a:pt x="1998490" y="138573"/>
                  </a:lnTo>
                  <a:lnTo>
                    <a:pt x="1948692" y="129332"/>
                  </a:lnTo>
                  <a:lnTo>
                    <a:pt x="1898795" y="120368"/>
                  </a:lnTo>
                  <a:lnTo>
                    <a:pt x="1848796" y="111684"/>
                  </a:lnTo>
                  <a:lnTo>
                    <a:pt x="1798694" y="103288"/>
                  </a:lnTo>
                  <a:lnTo>
                    <a:pt x="1748488" y="95182"/>
                  </a:lnTo>
                  <a:lnTo>
                    <a:pt x="1698178" y="87372"/>
                  </a:lnTo>
                  <a:lnTo>
                    <a:pt x="1647761" y="79862"/>
                  </a:lnTo>
                  <a:lnTo>
                    <a:pt x="1597238" y="72658"/>
                  </a:lnTo>
                  <a:lnTo>
                    <a:pt x="1546606" y="65763"/>
                  </a:lnTo>
                  <a:lnTo>
                    <a:pt x="1495864" y="59184"/>
                  </a:lnTo>
                  <a:lnTo>
                    <a:pt x="1445012" y="52924"/>
                  </a:lnTo>
                  <a:lnTo>
                    <a:pt x="1394049" y="46989"/>
                  </a:lnTo>
                  <a:lnTo>
                    <a:pt x="1342972" y="41383"/>
                  </a:lnTo>
                  <a:lnTo>
                    <a:pt x="1291782" y="36111"/>
                  </a:lnTo>
                  <a:lnTo>
                    <a:pt x="1240477" y="31178"/>
                  </a:lnTo>
                  <a:lnTo>
                    <a:pt x="1189055" y="26588"/>
                  </a:lnTo>
                  <a:lnTo>
                    <a:pt x="1137516" y="22346"/>
                  </a:lnTo>
                  <a:lnTo>
                    <a:pt x="1085859" y="18458"/>
                  </a:lnTo>
                  <a:lnTo>
                    <a:pt x="1034082" y="14927"/>
                  </a:lnTo>
                  <a:lnTo>
                    <a:pt x="982185" y="11759"/>
                  </a:lnTo>
                  <a:lnTo>
                    <a:pt x="930166" y="8959"/>
                  </a:lnTo>
                  <a:lnTo>
                    <a:pt x="878024" y="6530"/>
                  </a:lnTo>
                  <a:lnTo>
                    <a:pt x="825757" y="4479"/>
                  </a:lnTo>
                  <a:lnTo>
                    <a:pt x="773366" y="2809"/>
                  </a:lnTo>
                  <a:lnTo>
                    <a:pt x="719912" y="1489"/>
                  </a:lnTo>
                  <a:lnTo>
                    <a:pt x="666325" y="577"/>
                  </a:lnTo>
                  <a:lnTo>
                    <a:pt x="61260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DM Sans" pitchFamily="2" charset="77"/>
              </a:endParaRPr>
            </a:p>
          </p:txBody>
        </p:sp>
        <p:pic>
          <p:nvPicPr>
            <p:cNvPr id="4202" name="Google Shape;4202;p4">
              <a:extLst>
                <a:ext uri="{FF2B5EF4-FFF2-40B4-BE49-F238E27FC236}">
                  <a16:creationId xmlns:a16="http://schemas.microsoft.com/office/drawing/2014/main" id="{ED7530AC-97D6-AB5D-8840-BE9FFB30A30F}"/>
                </a:ext>
              </a:extLst>
            </p:cNvPr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041899"/>
              <a:ext cx="12192000" cy="18161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203" name="Google Shape;4203;p4">
              <a:extLst>
                <a:ext uri="{FF2B5EF4-FFF2-40B4-BE49-F238E27FC236}">
                  <a16:creationId xmlns:a16="http://schemas.microsoft.com/office/drawing/2014/main" id="{6E4C988E-90DD-3F40-8DF3-2BE527BB4AB8}"/>
                </a:ext>
              </a:extLst>
            </p:cNvPr>
            <p:cNvSpPr/>
            <p:nvPr/>
          </p:nvSpPr>
          <p:spPr>
            <a:xfrm>
              <a:off x="0" y="5019724"/>
              <a:ext cx="12192000" cy="1838325"/>
            </a:xfrm>
            <a:custGeom>
              <a:avLst/>
              <a:gdLst/>
              <a:ahLst/>
              <a:cxnLst/>
              <a:rect l="l" t="t" r="r" b="b"/>
              <a:pathLst>
                <a:path w="12192000" h="1838325" extrusionOk="0">
                  <a:moveTo>
                    <a:pt x="682693" y="0"/>
                  </a:moveTo>
                  <a:lnTo>
                    <a:pt x="631977" y="203"/>
                  </a:lnTo>
                  <a:lnTo>
                    <a:pt x="584149" y="711"/>
                  </a:lnTo>
                  <a:lnTo>
                    <a:pt x="536385" y="1596"/>
                  </a:lnTo>
                  <a:lnTo>
                    <a:pt x="488688" y="2855"/>
                  </a:lnTo>
                  <a:lnTo>
                    <a:pt x="441056" y="4484"/>
                  </a:lnTo>
                  <a:lnTo>
                    <a:pt x="393493" y="6480"/>
                  </a:lnTo>
                  <a:lnTo>
                    <a:pt x="345998" y="8839"/>
                  </a:lnTo>
                  <a:lnTo>
                    <a:pt x="0" y="38176"/>
                  </a:lnTo>
                  <a:lnTo>
                    <a:pt x="0" y="105613"/>
                  </a:lnTo>
                  <a:lnTo>
                    <a:pt x="50435" y="101051"/>
                  </a:lnTo>
                  <a:lnTo>
                    <a:pt x="98760" y="97161"/>
                  </a:lnTo>
                  <a:lnTo>
                    <a:pt x="147174" y="93686"/>
                  </a:lnTo>
                  <a:lnTo>
                    <a:pt x="195680" y="90624"/>
                  </a:lnTo>
                  <a:lnTo>
                    <a:pt x="244279" y="87974"/>
                  </a:lnTo>
                  <a:lnTo>
                    <a:pt x="292975" y="85732"/>
                  </a:lnTo>
                  <a:lnTo>
                    <a:pt x="341769" y="83896"/>
                  </a:lnTo>
                  <a:lnTo>
                    <a:pt x="394500" y="82301"/>
                  </a:lnTo>
                  <a:lnTo>
                    <a:pt x="447100" y="81115"/>
                  </a:lnTo>
                  <a:lnTo>
                    <a:pt x="499570" y="80333"/>
                  </a:lnTo>
                  <a:lnTo>
                    <a:pt x="551912" y="79951"/>
                  </a:lnTo>
                  <a:lnTo>
                    <a:pt x="604125" y="79965"/>
                  </a:lnTo>
                  <a:lnTo>
                    <a:pt x="656212" y="80369"/>
                  </a:lnTo>
                  <a:lnTo>
                    <a:pt x="708174" y="81159"/>
                  </a:lnTo>
                  <a:lnTo>
                    <a:pt x="760011" y="82330"/>
                  </a:lnTo>
                  <a:lnTo>
                    <a:pt x="811724" y="83878"/>
                  </a:lnTo>
                  <a:lnTo>
                    <a:pt x="863316" y="85799"/>
                  </a:lnTo>
                  <a:lnTo>
                    <a:pt x="914786" y="88087"/>
                  </a:lnTo>
                  <a:lnTo>
                    <a:pt x="966136" y="90738"/>
                  </a:lnTo>
                  <a:lnTo>
                    <a:pt x="1017368" y="93748"/>
                  </a:lnTo>
                  <a:lnTo>
                    <a:pt x="1068481" y="97112"/>
                  </a:lnTo>
                  <a:lnTo>
                    <a:pt x="1119477" y="100826"/>
                  </a:lnTo>
                  <a:lnTo>
                    <a:pt x="1170358" y="104884"/>
                  </a:lnTo>
                  <a:lnTo>
                    <a:pt x="1221124" y="109282"/>
                  </a:lnTo>
                  <a:lnTo>
                    <a:pt x="1271777" y="114016"/>
                  </a:lnTo>
                  <a:lnTo>
                    <a:pt x="1322317" y="119081"/>
                  </a:lnTo>
                  <a:lnTo>
                    <a:pt x="1372746" y="124473"/>
                  </a:lnTo>
                  <a:lnTo>
                    <a:pt x="1423064" y="130186"/>
                  </a:lnTo>
                  <a:lnTo>
                    <a:pt x="1473274" y="136217"/>
                  </a:lnTo>
                  <a:lnTo>
                    <a:pt x="1523375" y="142560"/>
                  </a:lnTo>
                  <a:lnTo>
                    <a:pt x="1573369" y="149212"/>
                  </a:lnTo>
                  <a:lnTo>
                    <a:pt x="1623258" y="156167"/>
                  </a:lnTo>
                  <a:lnTo>
                    <a:pt x="1673041" y="163421"/>
                  </a:lnTo>
                  <a:lnTo>
                    <a:pt x="1722721" y="170970"/>
                  </a:lnTo>
                  <a:lnTo>
                    <a:pt x="1772298" y="178808"/>
                  </a:lnTo>
                  <a:lnTo>
                    <a:pt x="1821774" y="186932"/>
                  </a:lnTo>
                  <a:lnTo>
                    <a:pt x="1871149" y="195336"/>
                  </a:lnTo>
                  <a:lnTo>
                    <a:pt x="1920424" y="204016"/>
                  </a:lnTo>
                  <a:lnTo>
                    <a:pt x="1969602" y="212968"/>
                  </a:lnTo>
                  <a:lnTo>
                    <a:pt x="2018682" y="222187"/>
                  </a:lnTo>
                  <a:lnTo>
                    <a:pt x="2067666" y="231668"/>
                  </a:lnTo>
                  <a:lnTo>
                    <a:pt x="2116555" y="241407"/>
                  </a:lnTo>
                  <a:lnTo>
                    <a:pt x="2165350" y="251399"/>
                  </a:lnTo>
                  <a:lnTo>
                    <a:pt x="2214052" y="261639"/>
                  </a:lnTo>
                  <a:lnTo>
                    <a:pt x="2262663" y="272124"/>
                  </a:lnTo>
                  <a:lnTo>
                    <a:pt x="2359613" y="293806"/>
                  </a:lnTo>
                  <a:lnTo>
                    <a:pt x="2456209" y="316410"/>
                  </a:lnTo>
                  <a:lnTo>
                    <a:pt x="2552460" y="339898"/>
                  </a:lnTo>
                  <a:lnTo>
                    <a:pt x="2648374" y="364234"/>
                  </a:lnTo>
                  <a:lnTo>
                    <a:pt x="2743961" y="389381"/>
                  </a:lnTo>
                  <a:lnTo>
                    <a:pt x="2839228" y="415302"/>
                  </a:lnTo>
                  <a:lnTo>
                    <a:pt x="2934185" y="441961"/>
                  </a:lnTo>
                  <a:lnTo>
                    <a:pt x="3028841" y="469321"/>
                  </a:lnTo>
                  <a:lnTo>
                    <a:pt x="3123203" y="497346"/>
                  </a:lnTo>
                  <a:lnTo>
                    <a:pt x="3217281" y="525998"/>
                  </a:lnTo>
                  <a:lnTo>
                    <a:pt x="3311083" y="555241"/>
                  </a:lnTo>
                  <a:lnTo>
                    <a:pt x="3404619" y="585039"/>
                  </a:lnTo>
                  <a:lnTo>
                    <a:pt x="3497896" y="615354"/>
                  </a:lnTo>
                  <a:lnTo>
                    <a:pt x="3590925" y="646151"/>
                  </a:lnTo>
                  <a:lnTo>
                    <a:pt x="3791765" y="713839"/>
                  </a:lnTo>
                  <a:lnTo>
                    <a:pt x="4040248" y="799137"/>
                  </a:lnTo>
                  <a:lnTo>
                    <a:pt x="4334983" y="902103"/>
                  </a:lnTo>
                  <a:lnTo>
                    <a:pt x="5625855" y="1360072"/>
                  </a:lnTo>
                  <a:lnTo>
                    <a:pt x="5907361" y="1457546"/>
                  </a:lnTo>
                  <a:lnTo>
                    <a:pt x="6094434" y="1521066"/>
                  </a:lnTo>
                  <a:lnTo>
                    <a:pt x="6281174" y="1583235"/>
                  </a:lnTo>
                  <a:lnTo>
                    <a:pt x="6421086" y="1628884"/>
                  </a:lnTo>
                  <a:lnTo>
                    <a:pt x="6560935" y="1673621"/>
                  </a:lnTo>
                  <a:lnTo>
                    <a:pt x="6700774" y="1717382"/>
                  </a:lnTo>
                  <a:lnTo>
                    <a:pt x="7111365" y="1838274"/>
                  </a:lnTo>
                  <a:lnTo>
                    <a:pt x="12192000" y="1838274"/>
                  </a:lnTo>
                  <a:lnTo>
                    <a:pt x="12192000" y="1009003"/>
                  </a:lnTo>
                  <a:lnTo>
                    <a:pt x="12147974" y="1028041"/>
                  </a:lnTo>
                  <a:lnTo>
                    <a:pt x="12103691" y="1046752"/>
                  </a:lnTo>
                  <a:lnTo>
                    <a:pt x="12059157" y="1065136"/>
                  </a:lnTo>
                  <a:lnTo>
                    <a:pt x="12014376" y="1083194"/>
                  </a:lnTo>
                  <a:lnTo>
                    <a:pt x="11969352" y="1100926"/>
                  </a:lnTo>
                  <a:lnTo>
                    <a:pt x="11924092" y="1118334"/>
                  </a:lnTo>
                  <a:lnTo>
                    <a:pt x="11878600" y="1135416"/>
                  </a:lnTo>
                  <a:lnTo>
                    <a:pt x="11832881" y="1152175"/>
                  </a:lnTo>
                  <a:lnTo>
                    <a:pt x="11786940" y="1168610"/>
                  </a:lnTo>
                  <a:lnTo>
                    <a:pt x="11740782" y="1184722"/>
                  </a:lnTo>
                  <a:lnTo>
                    <a:pt x="11694411" y="1200512"/>
                  </a:lnTo>
                  <a:lnTo>
                    <a:pt x="11647834" y="1215980"/>
                  </a:lnTo>
                  <a:lnTo>
                    <a:pt x="11601055" y="1231126"/>
                  </a:lnTo>
                  <a:lnTo>
                    <a:pt x="11554079" y="1245952"/>
                  </a:lnTo>
                  <a:lnTo>
                    <a:pt x="11506910" y="1260457"/>
                  </a:lnTo>
                  <a:lnTo>
                    <a:pt x="11459555" y="1274642"/>
                  </a:lnTo>
                  <a:lnTo>
                    <a:pt x="11412017" y="1288509"/>
                  </a:lnTo>
                  <a:lnTo>
                    <a:pt x="11364303" y="1302056"/>
                  </a:lnTo>
                  <a:lnTo>
                    <a:pt x="11316416" y="1315285"/>
                  </a:lnTo>
                  <a:lnTo>
                    <a:pt x="11268362" y="1328197"/>
                  </a:lnTo>
                  <a:lnTo>
                    <a:pt x="11220147" y="1340792"/>
                  </a:lnTo>
                  <a:lnTo>
                    <a:pt x="11171774" y="1353070"/>
                  </a:lnTo>
                  <a:lnTo>
                    <a:pt x="11123248" y="1365031"/>
                  </a:lnTo>
                  <a:lnTo>
                    <a:pt x="11074576" y="1376678"/>
                  </a:lnTo>
                  <a:lnTo>
                    <a:pt x="11025762" y="1388009"/>
                  </a:lnTo>
                  <a:lnTo>
                    <a:pt x="10976810" y="1399026"/>
                  </a:lnTo>
                  <a:lnTo>
                    <a:pt x="10927726" y="1409729"/>
                  </a:lnTo>
                  <a:lnTo>
                    <a:pt x="10878515" y="1420119"/>
                  </a:lnTo>
                  <a:lnTo>
                    <a:pt x="10829182" y="1430195"/>
                  </a:lnTo>
                  <a:lnTo>
                    <a:pt x="10779731" y="1439960"/>
                  </a:lnTo>
                  <a:lnTo>
                    <a:pt x="10730169" y="1449413"/>
                  </a:lnTo>
                  <a:lnTo>
                    <a:pt x="10680499" y="1458554"/>
                  </a:lnTo>
                  <a:lnTo>
                    <a:pt x="10630726" y="1467385"/>
                  </a:lnTo>
                  <a:lnTo>
                    <a:pt x="10580857" y="1475905"/>
                  </a:lnTo>
                  <a:lnTo>
                    <a:pt x="10530895" y="1484116"/>
                  </a:lnTo>
                  <a:lnTo>
                    <a:pt x="10480846" y="1492017"/>
                  </a:lnTo>
                  <a:lnTo>
                    <a:pt x="10430715" y="1499610"/>
                  </a:lnTo>
                  <a:lnTo>
                    <a:pt x="10380506" y="1506895"/>
                  </a:lnTo>
                  <a:lnTo>
                    <a:pt x="10330225" y="1513873"/>
                  </a:lnTo>
                  <a:lnTo>
                    <a:pt x="10279877" y="1520543"/>
                  </a:lnTo>
                  <a:lnTo>
                    <a:pt x="10229466" y="1526907"/>
                  </a:lnTo>
                  <a:lnTo>
                    <a:pt x="10178998" y="1532965"/>
                  </a:lnTo>
                  <a:lnTo>
                    <a:pt x="10128478" y="1538718"/>
                  </a:lnTo>
                  <a:lnTo>
                    <a:pt x="10077910" y="1544166"/>
                  </a:lnTo>
                  <a:lnTo>
                    <a:pt x="10027300" y="1549309"/>
                  </a:lnTo>
                  <a:lnTo>
                    <a:pt x="9976653" y="1554149"/>
                  </a:lnTo>
                  <a:lnTo>
                    <a:pt x="9925973" y="1558685"/>
                  </a:lnTo>
                  <a:lnTo>
                    <a:pt x="9875266" y="1562919"/>
                  </a:lnTo>
                  <a:lnTo>
                    <a:pt x="9824536" y="1566851"/>
                  </a:lnTo>
                  <a:lnTo>
                    <a:pt x="9773789" y="1570480"/>
                  </a:lnTo>
                  <a:lnTo>
                    <a:pt x="9723029" y="1573809"/>
                  </a:lnTo>
                  <a:lnTo>
                    <a:pt x="9672262" y="1576837"/>
                  </a:lnTo>
                  <a:lnTo>
                    <a:pt x="9621493" y="1579565"/>
                  </a:lnTo>
                  <a:lnTo>
                    <a:pt x="9570726" y="1581994"/>
                  </a:lnTo>
                  <a:lnTo>
                    <a:pt x="9519966" y="1584123"/>
                  </a:lnTo>
                  <a:lnTo>
                    <a:pt x="9469219" y="1585954"/>
                  </a:lnTo>
                  <a:lnTo>
                    <a:pt x="9418490" y="1587487"/>
                  </a:lnTo>
                  <a:lnTo>
                    <a:pt x="9367782" y="1588723"/>
                  </a:lnTo>
                  <a:lnTo>
                    <a:pt x="9317103" y="1589661"/>
                  </a:lnTo>
                  <a:lnTo>
                    <a:pt x="9266456" y="1590304"/>
                  </a:lnTo>
                  <a:lnTo>
                    <a:pt x="9215846" y="1590650"/>
                  </a:lnTo>
                  <a:lnTo>
                    <a:pt x="9165279" y="1590702"/>
                  </a:lnTo>
                  <a:lnTo>
                    <a:pt x="9114759" y="1590458"/>
                  </a:lnTo>
                  <a:lnTo>
                    <a:pt x="9064291" y="1589921"/>
                  </a:lnTo>
                  <a:lnTo>
                    <a:pt x="9013881" y="1589089"/>
                  </a:lnTo>
                  <a:lnTo>
                    <a:pt x="8963534" y="1587965"/>
                  </a:lnTo>
                  <a:lnTo>
                    <a:pt x="8913253" y="1586548"/>
                  </a:lnTo>
                  <a:lnTo>
                    <a:pt x="8863046" y="1584839"/>
                  </a:lnTo>
                  <a:lnTo>
                    <a:pt x="8812915" y="1582838"/>
                  </a:lnTo>
                  <a:lnTo>
                    <a:pt x="8762867" y="1580546"/>
                  </a:lnTo>
                  <a:lnTo>
                    <a:pt x="8712906" y="1577964"/>
                  </a:lnTo>
                  <a:lnTo>
                    <a:pt x="8663037" y="1575092"/>
                  </a:lnTo>
                  <a:lnTo>
                    <a:pt x="8613266" y="1571930"/>
                  </a:lnTo>
                  <a:lnTo>
                    <a:pt x="8563597" y="1568480"/>
                  </a:lnTo>
                  <a:lnTo>
                    <a:pt x="8514035" y="1564741"/>
                  </a:lnTo>
                  <a:lnTo>
                    <a:pt x="8464586" y="1560714"/>
                  </a:lnTo>
                  <a:lnTo>
                    <a:pt x="8415254" y="1556401"/>
                  </a:lnTo>
                  <a:lnTo>
                    <a:pt x="8366044" y="1551800"/>
                  </a:lnTo>
                  <a:lnTo>
                    <a:pt x="8316961" y="1546913"/>
                  </a:lnTo>
                  <a:lnTo>
                    <a:pt x="8268011" y="1541740"/>
                  </a:lnTo>
                  <a:lnTo>
                    <a:pt x="8219198" y="1536283"/>
                  </a:lnTo>
                  <a:lnTo>
                    <a:pt x="8170527" y="1530540"/>
                  </a:lnTo>
                  <a:lnTo>
                    <a:pt x="8122003" y="1524514"/>
                  </a:lnTo>
                  <a:lnTo>
                    <a:pt x="8073632" y="1518204"/>
                  </a:lnTo>
                  <a:lnTo>
                    <a:pt x="8025417" y="1511611"/>
                  </a:lnTo>
                  <a:lnTo>
                    <a:pt x="7977365" y="1504736"/>
                  </a:lnTo>
                  <a:lnTo>
                    <a:pt x="7929480" y="1497578"/>
                  </a:lnTo>
                  <a:lnTo>
                    <a:pt x="7881767" y="1490139"/>
                  </a:lnTo>
                  <a:lnTo>
                    <a:pt x="7834231" y="1482420"/>
                  </a:lnTo>
                  <a:lnTo>
                    <a:pt x="7786878" y="1474419"/>
                  </a:lnTo>
                  <a:lnTo>
                    <a:pt x="7738102" y="1465911"/>
                  </a:lnTo>
                  <a:lnTo>
                    <a:pt x="7640468" y="1448268"/>
                  </a:lnTo>
                  <a:lnTo>
                    <a:pt x="7542730" y="1429817"/>
                  </a:lnTo>
                  <a:lnTo>
                    <a:pt x="7444891" y="1410588"/>
                  </a:lnTo>
                  <a:lnTo>
                    <a:pt x="7346956" y="1390615"/>
                  </a:lnTo>
                  <a:lnTo>
                    <a:pt x="7248928" y="1369929"/>
                  </a:lnTo>
                  <a:lnTo>
                    <a:pt x="7150812" y="1348563"/>
                  </a:lnTo>
                  <a:lnTo>
                    <a:pt x="7052613" y="1326549"/>
                  </a:lnTo>
                  <a:lnTo>
                    <a:pt x="6954334" y="1303918"/>
                  </a:lnTo>
                  <a:lnTo>
                    <a:pt x="6855980" y="1280704"/>
                  </a:lnTo>
                  <a:lnTo>
                    <a:pt x="6757555" y="1256937"/>
                  </a:lnTo>
                  <a:lnTo>
                    <a:pt x="6609794" y="1220322"/>
                  </a:lnTo>
                  <a:lnTo>
                    <a:pt x="6461898" y="1182646"/>
                  </a:lnTo>
                  <a:lnTo>
                    <a:pt x="6313880" y="1144018"/>
                  </a:lnTo>
                  <a:lnTo>
                    <a:pt x="6116360" y="1091217"/>
                  </a:lnTo>
                  <a:lnTo>
                    <a:pt x="5918684" y="1037173"/>
                  </a:lnTo>
                  <a:lnTo>
                    <a:pt x="5671422" y="968259"/>
                  </a:lnTo>
                  <a:lnTo>
                    <a:pt x="4632356" y="673291"/>
                  </a:lnTo>
                  <a:lnTo>
                    <a:pt x="4335773" y="590842"/>
                  </a:lnTo>
                  <a:lnTo>
                    <a:pt x="4138233" y="537158"/>
                  </a:lnTo>
                  <a:lnTo>
                    <a:pt x="3940879" y="484797"/>
                  </a:lnTo>
                  <a:lnTo>
                    <a:pt x="3793006" y="446551"/>
                  </a:lnTo>
                  <a:lnTo>
                    <a:pt x="3645271" y="409303"/>
                  </a:lnTo>
                  <a:lnTo>
                    <a:pt x="3497689" y="373160"/>
                  </a:lnTo>
                  <a:lnTo>
                    <a:pt x="3399392" y="349734"/>
                  </a:lnTo>
                  <a:lnTo>
                    <a:pt x="3301174" y="326879"/>
                  </a:lnTo>
                  <a:lnTo>
                    <a:pt x="3203039" y="304628"/>
                  </a:lnTo>
                  <a:lnTo>
                    <a:pt x="3104991" y="283014"/>
                  </a:lnTo>
                  <a:lnTo>
                    <a:pt x="3007034" y="262067"/>
                  </a:lnTo>
                  <a:lnTo>
                    <a:pt x="2909172" y="241822"/>
                  </a:lnTo>
                  <a:lnTo>
                    <a:pt x="2811410" y="222308"/>
                  </a:lnTo>
                  <a:lnTo>
                    <a:pt x="2713753" y="203560"/>
                  </a:lnTo>
                  <a:lnTo>
                    <a:pt x="2616204" y="185608"/>
                  </a:lnTo>
                  <a:lnTo>
                    <a:pt x="2518767" y="168485"/>
                  </a:lnTo>
                  <a:lnTo>
                    <a:pt x="2421447" y="152222"/>
                  </a:lnTo>
                  <a:lnTo>
                    <a:pt x="2324248" y="136853"/>
                  </a:lnTo>
                  <a:lnTo>
                    <a:pt x="2227175" y="122410"/>
                  </a:lnTo>
                  <a:lnTo>
                    <a:pt x="2130231" y="108923"/>
                  </a:lnTo>
                  <a:lnTo>
                    <a:pt x="2033421" y="96426"/>
                  </a:lnTo>
                  <a:lnTo>
                    <a:pt x="1936750" y="84950"/>
                  </a:lnTo>
                  <a:lnTo>
                    <a:pt x="1888467" y="79606"/>
                  </a:lnTo>
                  <a:lnTo>
                    <a:pt x="1840221" y="74528"/>
                  </a:lnTo>
                  <a:lnTo>
                    <a:pt x="1792011" y="69722"/>
                  </a:lnTo>
                  <a:lnTo>
                    <a:pt x="1743838" y="65192"/>
                  </a:lnTo>
                  <a:lnTo>
                    <a:pt x="1695704" y="60941"/>
                  </a:lnTo>
                  <a:lnTo>
                    <a:pt x="1647607" y="56974"/>
                  </a:lnTo>
                  <a:lnTo>
                    <a:pt x="1599549" y="53294"/>
                  </a:lnTo>
                  <a:lnTo>
                    <a:pt x="1551531" y="49905"/>
                  </a:lnTo>
                  <a:lnTo>
                    <a:pt x="1503553" y="46812"/>
                  </a:lnTo>
                  <a:lnTo>
                    <a:pt x="1451758" y="41342"/>
                  </a:lnTo>
                  <a:lnTo>
                    <a:pt x="1400026" y="36186"/>
                  </a:lnTo>
                  <a:lnTo>
                    <a:pt x="1348357" y="31349"/>
                  </a:lnTo>
                  <a:lnTo>
                    <a:pt x="1296752" y="26837"/>
                  </a:lnTo>
                  <a:lnTo>
                    <a:pt x="1245210" y="22655"/>
                  </a:lnTo>
                  <a:lnTo>
                    <a:pt x="1193734" y="18809"/>
                  </a:lnTo>
                  <a:lnTo>
                    <a:pt x="1142323" y="15303"/>
                  </a:lnTo>
                  <a:lnTo>
                    <a:pt x="1090978" y="12145"/>
                  </a:lnTo>
                  <a:lnTo>
                    <a:pt x="1039701" y="9338"/>
                  </a:lnTo>
                  <a:lnTo>
                    <a:pt x="988491" y="6888"/>
                  </a:lnTo>
                  <a:lnTo>
                    <a:pt x="937350" y="4801"/>
                  </a:lnTo>
                  <a:lnTo>
                    <a:pt x="886277" y="3083"/>
                  </a:lnTo>
                  <a:lnTo>
                    <a:pt x="835275" y="1738"/>
                  </a:lnTo>
                  <a:lnTo>
                    <a:pt x="784343" y="772"/>
                  </a:lnTo>
                  <a:lnTo>
                    <a:pt x="733482" y="191"/>
                  </a:lnTo>
                  <a:lnTo>
                    <a:pt x="682693" y="0"/>
                  </a:lnTo>
                  <a:close/>
                </a:path>
              </a:pathLst>
            </a:custGeom>
            <a:solidFill>
              <a:srgbClr val="1C488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DM Sans" pitchFamily="2" charset="77"/>
              </a:endParaRPr>
            </a:p>
          </p:txBody>
        </p:sp>
        <p:pic>
          <p:nvPicPr>
            <p:cNvPr id="4204" name="Google Shape;4204;p4">
              <a:extLst>
                <a:ext uri="{FF2B5EF4-FFF2-40B4-BE49-F238E27FC236}">
                  <a16:creationId xmlns:a16="http://schemas.microsoft.com/office/drawing/2014/main" id="{9592394A-A384-3114-690E-AD0551E13020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14325" y="5562599"/>
              <a:ext cx="2028825" cy="9144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205" name="Google Shape;4205;p4">
            <a:extLst>
              <a:ext uri="{FF2B5EF4-FFF2-40B4-BE49-F238E27FC236}">
                <a16:creationId xmlns:a16="http://schemas.microsoft.com/office/drawing/2014/main" id="{CD9AD2D2-A79F-093E-1F0A-9B749A01F4D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80757" y="1942262"/>
            <a:ext cx="9265686" cy="10598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25" rIns="0" bIns="0" anchor="t" anchorCtr="0">
            <a:spAutoFit/>
          </a:bodyPr>
          <a:lstStyle/>
          <a:p>
            <a:pPr marL="12700">
              <a:lnSpc>
                <a:spcPct val="100000"/>
              </a:lnSpc>
              <a:spcBef>
                <a:spcPts val="0"/>
              </a:spcBef>
            </a:pPr>
            <a:r>
              <a:rPr lang="en-US" sz="3200" b="1" dirty="0">
                <a:solidFill>
                  <a:schemeClr val="accent1"/>
                </a:solidFill>
                <a:latin typeface="DM Sans"/>
                <a:ea typeface="+mj-lt"/>
                <a:cs typeface="+mj-lt"/>
                <a:sym typeface="DM Sans"/>
              </a:rPr>
              <a:t>2025 ILPQC Birth Quality Designation Application</a:t>
            </a:r>
            <a:r>
              <a:rPr lang="en-US" sz="3600" dirty="0">
                <a:solidFill>
                  <a:srgbClr val="000000"/>
                </a:solidFill>
                <a:ea typeface="+mj-lt"/>
                <a:cs typeface="+mj-lt"/>
                <a:sym typeface="DM Sans"/>
              </a:rPr>
              <a:t> </a:t>
            </a:r>
            <a:endParaRPr lang="en-US" sz="3600" dirty="0">
              <a:solidFill>
                <a:srgbClr val="000000"/>
              </a:solidFill>
              <a:ea typeface="+mj-lt"/>
              <a:cs typeface="+mj-lt"/>
            </a:endParaRPr>
          </a:p>
        </p:txBody>
      </p:sp>
      <p:sp>
        <p:nvSpPr>
          <p:cNvPr id="4206" name="Google Shape;4206;p4">
            <a:extLst>
              <a:ext uri="{FF2B5EF4-FFF2-40B4-BE49-F238E27FC236}">
                <a16:creationId xmlns:a16="http://schemas.microsoft.com/office/drawing/2014/main" id="{C08740FF-EBD3-A0B7-F0F8-D3CE06F3312A}"/>
              </a:ext>
            </a:extLst>
          </p:cNvPr>
          <p:cNvSpPr txBox="1"/>
          <p:nvPr/>
        </p:nvSpPr>
        <p:spPr>
          <a:xfrm>
            <a:off x="12003658" y="6434454"/>
            <a:ext cx="118110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919396"/>
                </a:solidFill>
                <a:latin typeface="DM Sans" pitchFamily="2" charset="77"/>
                <a:sym typeface="Arial"/>
              </a:rPr>
              <a:t>4</a:t>
            </a:r>
            <a:endParaRPr sz="1200">
              <a:latin typeface="DM Sans" pitchFamily="2" charset="77"/>
              <a:sym typeface="Arial"/>
            </a:endParaRPr>
          </a:p>
        </p:txBody>
      </p:sp>
      <p:sp>
        <p:nvSpPr>
          <p:cNvPr id="4207" name="Google Shape;4207;p4">
            <a:extLst>
              <a:ext uri="{FF2B5EF4-FFF2-40B4-BE49-F238E27FC236}">
                <a16:creationId xmlns:a16="http://schemas.microsoft.com/office/drawing/2014/main" id="{2EC45F3D-7FC2-E0B3-B273-108903BD29A7}"/>
              </a:ext>
            </a:extLst>
          </p:cNvPr>
          <p:cNvSpPr txBox="1"/>
          <p:nvPr/>
        </p:nvSpPr>
        <p:spPr>
          <a:xfrm>
            <a:off x="78739" y="6434454"/>
            <a:ext cx="2623820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919396"/>
                </a:solidFill>
                <a:latin typeface="DM Sans" pitchFamily="2" charset="77"/>
                <a:sym typeface="Arial"/>
              </a:rPr>
              <a:t>Illinois Perinatal Quality Collaborative</a:t>
            </a:r>
            <a:endParaRPr sz="1200">
              <a:latin typeface="DM Sans" pitchFamily="2" charset="77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491090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">
          <a:extLst>
            <a:ext uri="{FF2B5EF4-FFF2-40B4-BE49-F238E27FC236}">
              <a16:creationId xmlns:a16="http://schemas.microsoft.com/office/drawing/2014/main" id="{45632A8E-AD8E-204A-306E-852CCE9CA1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Google Shape;125;p3">
            <a:extLst>
              <a:ext uri="{FF2B5EF4-FFF2-40B4-BE49-F238E27FC236}">
                <a16:creationId xmlns:a16="http://schemas.microsoft.com/office/drawing/2014/main" id="{946A42B0-EFB0-66B2-BF32-187ADA5F60E3}"/>
              </a:ext>
            </a:extLst>
          </p:cNvPr>
          <p:cNvSpPr/>
          <p:nvPr/>
        </p:nvSpPr>
        <p:spPr>
          <a:xfrm>
            <a:off x="9264319" y="228371"/>
            <a:ext cx="2025315" cy="911940"/>
          </a:xfrm>
          <a:custGeom>
            <a:avLst/>
            <a:gdLst/>
            <a:ahLst/>
            <a:cxnLst/>
            <a:rect l="l" t="t" r="r" b="b"/>
            <a:pathLst>
              <a:path w="3037973" h="1367910" extrusionOk="0">
                <a:moveTo>
                  <a:pt x="0" y="0"/>
                </a:moveTo>
                <a:lnTo>
                  <a:pt x="3037973" y="0"/>
                </a:lnTo>
                <a:lnTo>
                  <a:pt x="3037973" y="1367910"/>
                </a:lnTo>
                <a:lnTo>
                  <a:pt x="0" y="136791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b="-95"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/>
          <a:p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" name="Google Shape;126;p3">
            <a:extLst>
              <a:ext uri="{FF2B5EF4-FFF2-40B4-BE49-F238E27FC236}">
                <a16:creationId xmlns:a16="http://schemas.microsoft.com/office/drawing/2014/main" id="{D21CF04E-086C-1AD5-835D-F00BCBB530A0}"/>
              </a:ext>
            </a:extLst>
          </p:cNvPr>
          <p:cNvSpPr/>
          <p:nvPr/>
        </p:nvSpPr>
        <p:spPr>
          <a:xfrm>
            <a:off x="7186640" y="1"/>
            <a:ext cx="5000459" cy="1425992"/>
          </a:xfrm>
          <a:custGeom>
            <a:avLst/>
            <a:gdLst/>
            <a:ahLst/>
            <a:cxnLst/>
            <a:rect l="l" t="t" r="r" b="b"/>
            <a:pathLst>
              <a:path w="7500689" h="2138988" extrusionOk="0">
                <a:moveTo>
                  <a:pt x="0" y="0"/>
                </a:moveTo>
                <a:lnTo>
                  <a:pt x="7500689" y="0"/>
                </a:lnTo>
                <a:lnTo>
                  <a:pt x="7500689" y="2138989"/>
                </a:lnTo>
                <a:lnTo>
                  <a:pt x="0" y="213898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/>
          <a:p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27" name="Google Shape;127;p3">
            <a:extLst>
              <a:ext uri="{FF2B5EF4-FFF2-40B4-BE49-F238E27FC236}">
                <a16:creationId xmlns:a16="http://schemas.microsoft.com/office/drawing/2014/main" id="{656B2B71-3F6B-5794-50DA-0359B3F578A2}"/>
              </a:ext>
            </a:extLst>
          </p:cNvPr>
          <p:cNvCxnSpPr/>
          <p:nvPr/>
        </p:nvCxnSpPr>
        <p:spPr>
          <a:xfrm rot="1988">
            <a:off x="606424" y="6335713"/>
            <a:ext cx="10979152" cy="0"/>
          </a:xfrm>
          <a:prstGeom prst="straightConnector1">
            <a:avLst/>
          </a:prstGeom>
          <a:noFill/>
          <a:ln w="9525" cap="rnd" cmpd="sng">
            <a:solidFill>
              <a:srgbClr val="79818A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128" name="Google Shape;128;p3">
            <a:extLst>
              <a:ext uri="{FF2B5EF4-FFF2-40B4-BE49-F238E27FC236}">
                <a16:creationId xmlns:a16="http://schemas.microsoft.com/office/drawing/2014/main" id="{3F32B988-5537-8492-DC7B-AFF4B3D99D2E}"/>
              </a:ext>
            </a:extLst>
          </p:cNvPr>
          <p:cNvGrpSpPr/>
          <p:nvPr/>
        </p:nvGrpSpPr>
        <p:grpSpPr>
          <a:xfrm>
            <a:off x="383381" y="230655"/>
            <a:ext cx="8454887" cy="1444625"/>
            <a:chOff x="-612122" y="0"/>
            <a:chExt cx="22877928" cy="2889250"/>
          </a:xfrm>
        </p:grpSpPr>
        <p:sp>
          <p:nvSpPr>
            <p:cNvPr id="129" name="Google Shape;129;p3">
              <a:extLst>
                <a:ext uri="{FF2B5EF4-FFF2-40B4-BE49-F238E27FC236}">
                  <a16:creationId xmlns:a16="http://schemas.microsoft.com/office/drawing/2014/main" id="{7C192D30-44D1-87E8-4244-0209524CDADC}"/>
                </a:ext>
              </a:extLst>
            </p:cNvPr>
            <p:cNvSpPr/>
            <p:nvPr/>
          </p:nvSpPr>
          <p:spPr>
            <a:xfrm>
              <a:off x="0" y="0"/>
              <a:ext cx="21945600" cy="2651126"/>
            </a:xfrm>
            <a:custGeom>
              <a:avLst/>
              <a:gdLst/>
              <a:ahLst/>
              <a:cxnLst/>
              <a:rect l="l" t="t" r="r" b="b"/>
              <a:pathLst>
                <a:path w="21945600" h="2651126" extrusionOk="0">
                  <a:moveTo>
                    <a:pt x="0" y="0"/>
                  </a:moveTo>
                  <a:lnTo>
                    <a:pt x="21945600" y="0"/>
                  </a:lnTo>
                  <a:lnTo>
                    <a:pt x="21945600" y="2651126"/>
                  </a:lnTo>
                  <a:lnTo>
                    <a:pt x="0" y="2651126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130;p3">
              <a:extLst>
                <a:ext uri="{FF2B5EF4-FFF2-40B4-BE49-F238E27FC236}">
                  <a16:creationId xmlns:a16="http://schemas.microsoft.com/office/drawing/2014/main" id="{338DEE35-16CB-040F-8752-F4F0C440382E}"/>
                </a:ext>
              </a:extLst>
            </p:cNvPr>
            <p:cNvSpPr txBox="1"/>
            <p:nvPr/>
          </p:nvSpPr>
          <p:spPr>
            <a:xfrm>
              <a:off x="-612122" y="238124"/>
              <a:ext cx="22877928" cy="265112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sz="3600" b="1" dirty="0">
                  <a:solidFill>
                    <a:srgbClr val="1C498B"/>
                  </a:solidFill>
                  <a:latin typeface="Arial"/>
                  <a:cs typeface="Arial"/>
                  <a:sym typeface="Arial"/>
                </a:rPr>
                <a:t>Completing the Application</a:t>
              </a:r>
              <a:endParaRPr lang="en-US" sz="3600" b="1" dirty="0">
                <a:solidFill>
                  <a:srgbClr val="1C498B"/>
                </a:solidFill>
                <a:latin typeface="Arial"/>
                <a:cs typeface="Arial"/>
              </a:endParaRPr>
            </a:p>
          </p:txBody>
        </p:sp>
      </p:grpSp>
      <p:sp>
        <p:nvSpPr>
          <p:cNvPr id="135" name="Google Shape;135;p3">
            <a:extLst>
              <a:ext uri="{FF2B5EF4-FFF2-40B4-BE49-F238E27FC236}">
                <a16:creationId xmlns:a16="http://schemas.microsoft.com/office/drawing/2014/main" id="{4DFE6E1C-9F6B-1038-4056-FDDEF8C6C55E}"/>
              </a:ext>
            </a:extLst>
          </p:cNvPr>
          <p:cNvSpPr/>
          <p:nvPr/>
        </p:nvSpPr>
        <p:spPr>
          <a:xfrm>
            <a:off x="8839200" y="6356351"/>
            <a:ext cx="2743200" cy="365125"/>
          </a:xfrm>
          <a:custGeom>
            <a:avLst/>
            <a:gdLst/>
            <a:ahLst/>
            <a:cxnLst/>
            <a:rect l="l" t="t" r="r" b="b"/>
            <a:pathLst>
              <a:path w="5486400" h="730250" extrusionOk="0">
                <a:moveTo>
                  <a:pt x="0" y="0"/>
                </a:moveTo>
                <a:lnTo>
                  <a:pt x="5486400" y="0"/>
                </a:lnTo>
                <a:lnTo>
                  <a:pt x="5486400" y="730250"/>
                </a:lnTo>
                <a:lnTo>
                  <a:pt x="0" y="73025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/>
          <a:p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37" name="Google Shape;137;p3">
            <a:extLst>
              <a:ext uri="{FF2B5EF4-FFF2-40B4-BE49-F238E27FC236}">
                <a16:creationId xmlns:a16="http://schemas.microsoft.com/office/drawing/2014/main" id="{47B1639E-00E3-C94F-4853-071A97549BF6}"/>
              </a:ext>
            </a:extLst>
          </p:cNvPr>
          <p:cNvGrpSpPr/>
          <p:nvPr/>
        </p:nvGrpSpPr>
        <p:grpSpPr>
          <a:xfrm>
            <a:off x="609600" y="6356350"/>
            <a:ext cx="4114800" cy="365125"/>
            <a:chOff x="0" y="0"/>
            <a:chExt cx="8229600" cy="730250"/>
          </a:xfrm>
        </p:grpSpPr>
        <p:sp>
          <p:nvSpPr>
            <p:cNvPr id="138" name="Google Shape;138;p3">
              <a:extLst>
                <a:ext uri="{FF2B5EF4-FFF2-40B4-BE49-F238E27FC236}">
                  <a16:creationId xmlns:a16="http://schemas.microsoft.com/office/drawing/2014/main" id="{674B4566-47C0-5FD7-B0DE-B97F0AD69AE1}"/>
                </a:ext>
              </a:extLst>
            </p:cNvPr>
            <p:cNvSpPr/>
            <p:nvPr/>
          </p:nvSpPr>
          <p:spPr>
            <a:xfrm>
              <a:off x="0" y="0"/>
              <a:ext cx="8229600" cy="730250"/>
            </a:xfrm>
            <a:custGeom>
              <a:avLst/>
              <a:gdLst/>
              <a:ahLst/>
              <a:cxnLst/>
              <a:rect l="l" t="t" r="r" b="b"/>
              <a:pathLst>
                <a:path w="8229600" h="730250" extrusionOk="0">
                  <a:moveTo>
                    <a:pt x="0" y="0"/>
                  </a:moveTo>
                  <a:lnTo>
                    <a:pt x="8229600" y="0"/>
                  </a:lnTo>
                  <a:lnTo>
                    <a:pt x="82296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139;p3">
              <a:extLst>
                <a:ext uri="{FF2B5EF4-FFF2-40B4-BE49-F238E27FC236}">
                  <a16:creationId xmlns:a16="http://schemas.microsoft.com/office/drawing/2014/main" id="{C576765D-0E63-C7B2-5B63-02586191C739}"/>
                </a:ext>
              </a:extLst>
            </p:cNvPr>
            <p:cNvSpPr txBox="1"/>
            <p:nvPr/>
          </p:nvSpPr>
          <p:spPr>
            <a:xfrm>
              <a:off x="0" y="0"/>
              <a:ext cx="82296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>
                  <a:solidFill>
                    <a:srgbClr val="939699"/>
                  </a:solidFill>
                  <a:latin typeface="Arial"/>
                  <a:ea typeface="Arial"/>
                  <a:cs typeface="Arial"/>
                  <a:sym typeface="Arial"/>
                </a:rPr>
                <a:t>Illinois Perinatal Quality Collaborative</a:t>
              </a:r>
              <a:endParaRPr sz="1200"/>
            </a:p>
          </p:txBody>
        </p:sp>
      </p:grpSp>
      <p:sp>
        <p:nvSpPr>
          <p:cNvPr id="5" name="TextBox 7">
            <a:extLst>
              <a:ext uri="{FF2B5EF4-FFF2-40B4-BE49-F238E27FC236}">
                <a16:creationId xmlns:a16="http://schemas.microsoft.com/office/drawing/2014/main" id="{5D4CDF06-1DA6-BF51-0583-6E5C6CA86AC4}"/>
              </a:ext>
            </a:extLst>
          </p:cNvPr>
          <p:cNvSpPr txBox="1"/>
          <p:nvPr/>
        </p:nvSpPr>
        <p:spPr>
          <a:xfrm>
            <a:off x="1424588" y="1796894"/>
            <a:ext cx="8461697" cy="196957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dirty="0">
                <a:solidFill>
                  <a:srgbClr val="002060"/>
                </a:solidFill>
                <a:latin typeface="Calibri"/>
              </a:rPr>
              <a:t>Use the following link to access the application:</a:t>
            </a:r>
            <a:r>
              <a:rPr lang="en-US" sz="2100" dirty="0">
                <a:solidFill>
                  <a:srgbClr val="002060"/>
                </a:solidFill>
                <a:latin typeface="Calibri"/>
              </a:rPr>
              <a:t> </a:t>
            </a:r>
            <a:r>
              <a:rPr lang="en-US" sz="2100" b="1" dirty="0">
                <a:solidFill>
                  <a:srgbClr val="002060"/>
                </a:solidFill>
                <a:latin typeface="Calibri"/>
                <a:ea typeface="+mn-lt"/>
                <a:cs typeface="+mn-lt"/>
                <a:hlinkClick r:id="rId5"/>
              </a:rPr>
              <a:t>https://redcap.healthlnk.org/surveys/?s=L3XJ9P7WATXFMCYF</a:t>
            </a:r>
            <a:endParaRPr lang="en-US" sz="2100" b="1" dirty="0">
              <a:solidFill>
                <a:srgbClr val="002060"/>
              </a:solidFill>
              <a:latin typeface="Calibri"/>
            </a:endParaRPr>
          </a:p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>
              <a:solidFill>
                <a:srgbClr val="002060"/>
              </a:solidFill>
              <a:latin typeface="Calibri"/>
              <a:ea typeface="Calibri"/>
              <a:cs typeface="Calibri"/>
            </a:endParaRPr>
          </a:p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 dirty="0">
              <a:solidFill>
                <a:srgbClr val="336352"/>
              </a:solidFill>
              <a:uFillTx/>
              <a:latin typeface="RoxboroughCF"/>
              <a:ea typeface="Calibri"/>
              <a:cs typeface="Calibri"/>
            </a:endParaRPr>
          </a:p>
          <a:p>
            <a:pPr marL="474345" marR="0" lvl="1" indent="-236855" algn="l" defTabSz="609539" rtl="0" fontAlgn="auto" hangingPunct="1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1" i="0" u="none" strike="noStrike" kern="0" cap="none" spc="0" baseline="0" dirty="0">
              <a:solidFill>
                <a:srgbClr val="336352"/>
              </a:solidFill>
              <a:uFillTx/>
              <a:latin typeface="Calibri"/>
              <a:ea typeface="RoxboroughCF Bold"/>
              <a:cs typeface="RoxboroughCF Bold"/>
            </a:endParaRPr>
          </a:p>
        </p:txBody>
      </p:sp>
      <p:pic>
        <p:nvPicPr>
          <p:cNvPr id="4" name="Picture 3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983D71D2-2F91-456F-7420-40E01B617780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8629" b="1005"/>
          <a:stretch>
            <a:fillRect/>
          </a:stretch>
        </p:blipFill>
        <p:spPr>
          <a:xfrm>
            <a:off x="5096716" y="3430401"/>
            <a:ext cx="2010404" cy="221587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7F5E810-877B-1C2A-058D-826DF25CAFD1}"/>
              </a:ext>
            </a:extLst>
          </p:cNvPr>
          <p:cNvSpPr txBox="1"/>
          <p:nvPr/>
        </p:nvSpPr>
        <p:spPr>
          <a:xfrm>
            <a:off x="5378236" y="3216489"/>
            <a:ext cx="1439314" cy="408623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/>
              <a:t>Scan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45531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screenshot of a computer&#10;&#10;AI-generated content may be incorrect.">
            <a:extLst>
              <a:ext uri="{FF2B5EF4-FFF2-40B4-BE49-F238E27FC236}">
                <a16:creationId xmlns:a16="http://schemas.microsoft.com/office/drawing/2014/main" id="{052E4BA2-4787-4F04-4BAD-464C38BA55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1163" y="0"/>
            <a:ext cx="9210675" cy="6858000"/>
          </a:xfrm>
          <a:prstGeom prst="rect">
            <a:avLst/>
          </a:prstGeom>
          <a:ln w="28575">
            <a:solidFill>
              <a:srgbClr val="4472C4"/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F974534-09BC-ECCA-5746-8F2FF46B6411}"/>
              </a:ext>
            </a:extLst>
          </p:cNvPr>
          <p:cNvSpPr txBox="1"/>
          <p:nvPr/>
        </p:nvSpPr>
        <p:spPr>
          <a:xfrm>
            <a:off x="10887081" y="206961"/>
            <a:ext cx="1108917" cy="116955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8575">
            <a:solidFill>
              <a:schemeClr val="accent2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dirty="0">
                <a:latin typeface="Calibri"/>
                <a:ea typeface="Calibri"/>
                <a:cs typeface="Calibri"/>
              </a:rPr>
              <a:t>You have the ability to save your work and come back</a:t>
            </a:r>
            <a:endParaRPr lang="en-US" sz="1400" b="1">
              <a:latin typeface="Aptos"/>
              <a:ea typeface="Calibri"/>
              <a:cs typeface="Calibri"/>
            </a:endParaRPr>
          </a:p>
        </p:txBody>
      </p:sp>
      <p:sp>
        <p:nvSpPr>
          <p:cNvPr id="4" name="Arrow: Bent 3">
            <a:extLst>
              <a:ext uri="{FF2B5EF4-FFF2-40B4-BE49-F238E27FC236}">
                <a16:creationId xmlns:a16="http://schemas.microsoft.com/office/drawing/2014/main" id="{3B9C10BD-AC94-7861-4A82-97DB3E07A4BE}"/>
              </a:ext>
            </a:extLst>
          </p:cNvPr>
          <p:cNvSpPr/>
          <p:nvPr/>
        </p:nvSpPr>
        <p:spPr>
          <a:xfrm rot="-5400000">
            <a:off x="10203923" y="240855"/>
            <a:ext cx="655212" cy="716866"/>
          </a:xfrm>
          <a:prstGeom prst="bentArrow">
            <a:avLst/>
          </a:prstGeom>
          <a:ln w="63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126CE86-6E85-A7F4-70C1-2AED5618DCD5}"/>
              </a:ext>
            </a:extLst>
          </p:cNvPr>
          <p:cNvSpPr/>
          <p:nvPr/>
        </p:nvSpPr>
        <p:spPr>
          <a:xfrm>
            <a:off x="1512098" y="5342748"/>
            <a:ext cx="4838716" cy="722447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FE408A5-B22D-0A91-D652-949A54E87463}"/>
              </a:ext>
            </a:extLst>
          </p:cNvPr>
          <p:cNvSpPr txBox="1"/>
          <p:nvPr/>
        </p:nvSpPr>
        <p:spPr>
          <a:xfrm>
            <a:off x="8354551" y="5036696"/>
            <a:ext cx="1288211" cy="138499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chemeClr val="accent2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dirty="0">
                <a:latin typeface="Calibri"/>
                <a:ea typeface="Calibri"/>
                <a:cs typeface="Calibri"/>
              </a:rPr>
              <a:t>You will not be able to proceed unless you have data from Jan-Aug</a:t>
            </a:r>
          </a:p>
        </p:txBody>
      </p:sp>
      <p:sp>
        <p:nvSpPr>
          <p:cNvPr id="7" name="Arrow: Left 6">
            <a:extLst>
              <a:ext uri="{FF2B5EF4-FFF2-40B4-BE49-F238E27FC236}">
                <a16:creationId xmlns:a16="http://schemas.microsoft.com/office/drawing/2014/main" id="{5725DCFE-8AAF-54D1-783A-9A71B8A3F5E3}"/>
              </a:ext>
            </a:extLst>
          </p:cNvPr>
          <p:cNvSpPr/>
          <p:nvPr/>
        </p:nvSpPr>
        <p:spPr>
          <a:xfrm>
            <a:off x="7414941" y="5370679"/>
            <a:ext cx="918541" cy="263336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1885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">
          <a:extLst>
            <a:ext uri="{FF2B5EF4-FFF2-40B4-BE49-F238E27FC236}">
              <a16:creationId xmlns:a16="http://schemas.microsoft.com/office/drawing/2014/main" id="{45632A8E-AD8E-204A-306E-852CCE9CA1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7" name="Google Shape;127;p3">
            <a:extLst>
              <a:ext uri="{FF2B5EF4-FFF2-40B4-BE49-F238E27FC236}">
                <a16:creationId xmlns:a16="http://schemas.microsoft.com/office/drawing/2014/main" id="{656B2B71-3F6B-5794-50DA-0359B3F578A2}"/>
              </a:ext>
            </a:extLst>
          </p:cNvPr>
          <p:cNvCxnSpPr/>
          <p:nvPr/>
        </p:nvCxnSpPr>
        <p:spPr>
          <a:xfrm rot="1988">
            <a:off x="606424" y="6335713"/>
            <a:ext cx="10979152" cy="0"/>
          </a:xfrm>
          <a:prstGeom prst="straightConnector1">
            <a:avLst/>
          </a:prstGeom>
          <a:noFill/>
          <a:ln w="9525" cap="rnd" cmpd="sng">
            <a:solidFill>
              <a:srgbClr val="79818A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137" name="Google Shape;137;p3">
            <a:extLst>
              <a:ext uri="{FF2B5EF4-FFF2-40B4-BE49-F238E27FC236}">
                <a16:creationId xmlns:a16="http://schemas.microsoft.com/office/drawing/2014/main" id="{47B1639E-00E3-C94F-4853-071A97549BF6}"/>
              </a:ext>
            </a:extLst>
          </p:cNvPr>
          <p:cNvGrpSpPr/>
          <p:nvPr/>
        </p:nvGrpSpPr>
        <p:grpSpPr>
          <a:xfrm>
            <a:off x="609600" y="6356350"/>
            <a:ext cx="4114800" cy="365125"/>
            <a:chOff x="0" y="0"/>
            <a:chExt cx="8229600" cy="730250"/>
          </a:xfrm>
        </p:grpSpPr>
        <p:sp>
          <p:nvSpPr>
            <p:cNvPr id="138" name="Google Shape;138;p3">
              <a:extLst>
                <a:ext uri="{FF2B5EF4-FFF2-40B4-BE49-F238E27FC236}">
                  <a16:creationId xmlns:a16="http://schemas.microsoft.com/office/drawing/2014/main" id="{674B4566-47C0-5FD7-B0DE-B97F0AD69AE1}"/>
                </a:ext>
              </a:extLst>
            </p:cNvPr>
            <p:cNvSpPr/>
            <p:nvPr/>
          </p:nvSpPr>
          <p:spPr>
            <a:xfrm>
              <a:off x="0" y="0"/>
              <a:ext cx="8229600" cy="730250"/>
            </a:xfrm>
            <a:custGeom>
              <a:avLst/>
              <a:gdLst/>
              <a:ahLst/>
              <a:cxnLst/>
              <a:rect l="l" t="t" r="r" b="b"/>
              <a:pathLst>
                <a:path w="8229600" h="730250" extrusionOk="0">
                  <a:moveTo>
                    <a:pt x="0" y="0"/>
                  </a:moveTo>
                  <a:lnTo>
                    <a:pt x="8229600" y="0"/>
                  </a:lnTo>
                  <a:lnTo>
                    <a:pt x="82296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139;p3">
              <a:extLst>
                <a:ext uri="{FF2B5EF4-FFF2-40B4-BE49-F238E27FC236}">
                  <a16:creationId xmlns:a16="http://schemas.microsoft.com/office/drawing/2014/main" id="{C576765D-0E63-C7B2-5B63-02586191C739}"/>
                </a:ext>
              </a:extLst>
            </p:cNvPr>
            <p:cNvSpPr txBox="1"/>
            <p:nvPr/>
          </p:nvSpPr>
          <p:spPr>
            <a:xfrm>
              <a:off x="0" y="0"/>
              <a:ext cx="82296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>
                  <a:solidFill>
                    <a:srgbClr val="939699"/>
                  </a:solidFill>
                  <a:latin typeface="Arial"/>
                  <a:ea typeface="Arial"/>
                  <a:cs typeface="Arial"/>
                  <a:sym typeface="Arial"/>
                </a:rPr>
                <a:t>Illinois Perinatal Quality Collaborative</a:t>
              </a:r>
              <a:endParaRPr sz="1200"/>
            </a:p>
          </p:txBody>
        </p:sp>
      </p:grpSp>
      <p:pic>
        <p:nvPicPr>
          <p:cNvPr id="3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7B5ECB7D-5A59-3412-ED03-4ECA0E60E2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3074" y="0"/>
            <a:ext cx="9294497" cy="685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AD9081A-FA3E-B1FE-F2DB-91A1319C7954}"/>
              </a:ext>
            </a:extLst>
          </p:cNvPr>
          <p:cNvSpPr txBox="1"/>
          <p:nvPr/>
        </p:nvSpPr>
        <p:spPr>
          <a:xfrm>
            <a:off x="10752611" y="3434254"/>
            <a:ext cx="1288211" cy="138499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8575">
            <a:solidFill>
              <a:schemeClr val="accent2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dirty="0">
                <a:latin typeface="Calibri"/>
                <a:ea typeface="Calibri"/>
                <a:cs typeface="Calibri"/>
              </a:rPr>
              <a:t>Use Text Box fields to explain how structure measures were met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3D8887-B386-3FDE-29BA-7AC3CD9BC6A1}"/>
              </a:ext>
            </a:extLst>
          </p:cNvPr>
          <p:cNvCxnSpPr/>
          <p:nvPr/>
        </p:nvCxnSpPr>
        <p:spPr>
          <a:xfrm flipH="1">
            <a:off x="8763636" y="4341003"/>
            <a:ext cx="1973083" cy="42528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4F202B4-EE57-F144-D19C-6125F6ADA75C}"/>
              </a:ext>
            </a:extLst>
          </p:cNvPr>
          <p:cNvCxnSpPr>
            <a:cxnSpLocks/>
          </p:cNvCxnSpPr>
          <p:nvPr/>
        </p:nvCxnSpPr>
        <p:spPr>
          <a:xfrm flipH="1" flipV="1">
            <a:off x="8808459" y="2984550"/>
            <a:ext cx="1917054" cy="90821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3F7C5DB0-2646-1E92-6A52-9DACDC96B82E}"/>
              </a:ext>
            </a:extLst>
          </p:cNvPr>
          <p:cNvCxnSpPr>
            <a:cxnSpLocks/>
          </p:cNvCxnSpPr>
          <p:nvPr/>
        </p:nvCxnSpPr>
        <p:spPr>
          <a:xfrm flipH="1">
            <a:off x="9066193" y="4789238"/>
            <a:ext cx="1648113" cy="190445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0027AEFB-A0C3-FCBB-9D7F-0C0AE280DFBF}"/>
              </a:ext>
            </a:extLst>
          </p:cNvPr>
          <p:cNvSpPr txBox="1"/>
          <p:nvPr/>
        </p:nvSpPr>
        <p:spPr>
          <a:xfrm>
            <a:off x="10752611" y="330224"/>
            <a:ext cx="1288211" cy="95410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8575">
            <a:solidFill>
              <a:schemeClr val="accent2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dirty="0">
                <a:latin typeface="Calibri"/>
                <a:ea typeface="Calibri"/>
                <a:cs typeface="Calibri"/>
              </a:rPr>
              <a:t>Upload PNG file from ILPQC Quality Dashboard</a:t>
            </a:r>
          </a:p>
        </p:txBody>
      </p:sp>
    </p:spTree>
    <p:extLst>
      <p:ext uri="{BB962C8B-B14F-4D97-AF65-F5344CB8AC3E}">
        <p14:creationId xmlns:p14="http://schemas.microsoft.com/office/powerpoint/2010/main" val="328928091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">
          <a:extLst>
            <a:ext uri="{FF2B5EF4-FFF2-40B4-BE49-F238E27FC236}">
              <a16:creationId xmlns:a16="http://schemas.microsoft.com/office/drawing/2014/main" id="{4BC5451F-DA1F-869A-85E2-77B6448902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Google Shape;125;p3">
            <a:extLst>
              <a:ext uri="{FF2B5EF4-FFF2-40B4-BE49-F238E27FC236}">
                <a16:creationId xmlns:a16="http://schemas.microsoft.com/office/drawing/2014/main" id="{FD2BD9A7-B17E-BB14-3244-A4E54967C292}"/>
              </a:ext>
            </a:extLst>
          </p:cNvPr>
          <p:cNvSpPr/>
          <p:nvPr/>
        </p:nvSpPr>
        <p:spPr>
          <a:xfrm>
            <a:off x="9264319" y="228371"/>
            <a:ext cx="2025315" cy="911940"/>
          </a:xfrm>
          <a:custGeom>
            <a:avLst/>
            <a:gdLst/>
            <a:ahLst/>
            <a:cxnLst/>
            <a:rect l="l" t="t" r="r" b="b"/>
            <a:pathLst>
              <a:path w="3037973" h="1367910" extrusionOk="0">
                <a:moveTo>
                  <a:pt x="0" y="0"/>
                </a:moveTo>
                <a:lnTo>
                  <a:pt x="3037973" y="0"/>
                </a:lnTo>
                <a:lnTo>
                  <a:pt x="3037973" y="1367910"/>
                </a:lnTo>
                <a:lnTo>
                  <a:pt x="0" y="136791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b="-95"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/>
          <a:p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" name="Google Shape;126;p3">
            <a:extLst>
              <a:ext uri="{FF2B5EF4-FFF2-40B4-BE49-F238E27FC236}">
                <a16:creationId xmlns:a16="http://schemas.microsoft.com/office/drawing/2014/main" id="{688C6599-E1A5-5E40-A73C-4E64B8DFAC77}"/>
              </a:ext>
            </a:extLst>
          </p:cNvPr>
          <p:cNvSpPr/>
          <p:nvPr/>
        </p:nvSpPr>
        <p:spPr>
          <a:xfrm>
            <a:off x="7186640" y="1"/>
            <a:ext cx="5000459" cy="1425992"/>
          </a:xfrm>
          <a:custGeom>
            <a:avLst/>
            <a:gdLst/>
            <a:ahLst/>
            <a:cxnLst/>
            <a:rect l="l" t="t" r="r" b="b"/>
            <a:pathLst>
              <a:path w="7500689" h="2138988" extrusionOk="0">
                <a:moveTo>
                  <a:pt x="0" y="0"/>
                </a:moveTo>
                <a:lnTo>
                  <a:pt x="7500689" y="0"/>
                </a:lnTo>
                <a:lnTo>
                  <a:pt x="7500689" y="2138989"/>
                </a:lnTo>
                <a:lnTo>
                  <a:pt x="0" y="213898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/>
          <a:p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27" name="Google Shape;127;p3">
            <a:extLst>
              <a:ext uri="{FF2B5EF4-FFF2-40B4-BE49-F238E27FC236}">
                <a16:creationId xmlns:a16="http://schemas.microsoft.com/office/drawing/2014/main" id="{EEBA9F10-9E79-BE10-683E-64A04AB8A95C}"/>
              </a:ext>
            </a:extLst>
          </p:cNvPr>
          <p:cNvCxnSpPr/>
          <p:nvPr/>
        </p:nvCxnSpPr>
        <p:spPr>
          <a:xfrm rot="1988">
            <a:off x="606424" y="6335713"/>
            <a:ext cx="10979152" cy="0"/>
          </a:xfrm>
          <a:prstGeom prst="straightConnector1">
            <a:avLst/>
          </a:prstGeom>
          <a:noFill/>
          <a:ln w="9525" cap="rnd" cmpd="sng">
            <a:solidFill>
              <a:srgbClr val="79818A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0" name="Google Shape;130;p3">
            <a:extLst>
              <a:ext uri="{FF2B5EF4-FFF2-40B4-BE49-F238E27FC236}">
                <a16:creationId xmlns:a16="http://schemas.microsoft.com/office/drawing/2014/main" id="{F4418C9A-BDEE-FF9B-D571-36440A732083}"/>
              </a:ext>
            </a:extLst>
          </p:cNvPr>
          <p:cNvSpPr txBox="1"/>
          <p:nvPr/>
        </p:nvSpPr>
        <p:spPr>
          <a:xfrm>
            <a:off x="383381" y="349717"/>
            <a:ext cx="8454887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en-US" sz="3600" b="1" dirty="0">
                <a:solidFill>
                  <a:srgbClr val="1C498B"/>
                </a:solidFill>
                <a:latin typeface="Arial"/>
                <a:cs typeface="Arial"/>
                <a:sym typeface="Arial"/>
              </a:rPr>
              <a:t>Downloading PNG File from your Dashboard</a:t>
            </a:r>
            <a:endParaRPr lang="en-US" sz="3600" b="1" dirty="0">
              <a:solidFill>
                <a:srgbClr val="1C498B"/>
              </a:solidFill>
              <a:latin typeface="Arial"/>
              <a:cs typeface="Arial"/>
            </a:endParaRPr>
          </a:p>
        </p:txBody>
      </p:sp>
      <p:sp>
        <p:nvSpPr>
          <p:cNvPr id="135" name="Google Shape;135;p3">
            <a:extLst>
              <a:ext uri="{FF2B5EF4-FFF2-40B4-BE49-F238E27FC236}">
                <a16:creationId xmlns:a16="http://schemas.microsoft.com/office/drawing/2014/main" id="{3EAB5C55-21BD-F4CC-9FD0-252FB5EBE361}"/>
              </a:ext>
            </a:extLst>
          </p:cNvPr>
          <p:cNvSpPr/>
          <p:nvPr/>
        </p:nvSpPr>
        <p:spPr>
          <a:xfrm>
            <a:off x="8839200" y="6356351"/>
            <a:ext cx="2743200" cy="365125"/>
          </a:xfrm>
          <a:custGeom>
            <a:avLst/>
            <a:gdLst/>
            <a:ahLst/>
            <a:cxnLst/>
            <a:rect l="l" t="t" r="r" b="b"/>
            <a:pathLst>
              <a:path w="5486400" h="730250" extrusionOk="0">
                <a:moveTo>
                  <a:pt x="0" y="0"/>
                </a:moveTo>
                <a:lnTo>
                  <a:pt x="5486400" y="0"/>
                </a:lnTo>
                <a:lnTo>
                  <a:pt x="5486400" y="730250"/>
                </a:lnTo>
                <a:lnTo>
                  <a:pt x="0" y="73025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/>
          <a:p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37" name="Google Shape;137;p3">
            <a:extLst>
              <a:ext uri="{FF2B5EF4-FFF2-40B4-BE49-F238E27FC236}">
                <a16:creationId xmlns:a16="http://schemas.microsoft.com/office/drawing/2014/main" id="{B0A164F9-F7AB-54F6-03CE-8BA58DBB4C29}"/>
              </a:ext>
            </a:extLst>
          </p:cNvPr>
          <p:cNvGrpSpPr/>
          <p:nvPr/>
        </p:nvGrpSpPr>
        <p:grpSpPr>
          <a:xfrm>
            <a:off x="609600" y="6356350"/>
            <a:ext cx="4114800" cy="365125"/>
            <a:chOff x="0" y="0"/>
            <a:chExt cx="8229600" cy="730250"/>
          </a:xfrm>
        </p:grpSpPr>
        <p:sp>
          <p:nvSpPr>
            <p:cNvPr id="138" name="Google Shape;138;p3">
              <a:extLst>
                <a:ext uri="{FF2B5EF4-FFF2-40B4-BE49-F238E27FC236}">
                  <a16:creationId xmlns:a16="http://schemas.microsoft.com/office/drawing/2014/main" id="{7676FD61-1393-63E9-D22C-AFB497606449}"/>
                </a:ext>
              </a:extLst>
            </p:cNvPr>
            <p:cNvSpPr/>
            <p:nvPr/>
          </p:nvSpPr>
          <p:spPr>
            <a:xfrm>
              <a:off x="0" y="0"/>
              <a:ext cx="8229600" cy="730250"/>
            </a:xfrm>
            <a:custGeom>
              <a:avLst/>
              <a:gdLst/>
              <a:ahLst/>
              <a:cxnLst/>
              <a:rect l="l" t="t" r="r" b="b"/>
              <a:pathLst>
                <a:path w="8229600" h="730250" extrusionOk="0">
                  <a:moveTo>
                    <a:pt x="0" y="0"/>
                  </a:moveTo>
                  <a:lnTo>
                    <a:pt x="8229600" y="0"/>
                  </a:lnTo>
                  <a:lnTo>
                    <a:pt x="82296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139;p3">
              <a:extLst>
                <a:ext uri="{FF2B5EF4-FFF2-40B4-BE49-F238E27FC236}">
                  <a16:creationId xmlns:a16="http://schemas.microsoft.com/office/drawing/2014/main" id="{AC8C1A63-ADA5-F32A-C43D-0C3F961C383A}"/>
                </a:ext>
              </a:extLst>
            </p:cNvPr>
            <p:cNvSpPr txBox="1"/>
            <p:nvPr/>
          </p:nvSpPr>
          <p:spPr>
            <a:xfrm>
              <a:off x="0" y="0"/>
              <a:ext cx="82296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>
                  <a:solidFill>
                    <a:srgbClr val="939699"/>
                  </a:solidFill>
                  <a:latin typeface="Arial"/>
                  <a:ea typeface="Arial"/>
                  <a:cs typeface="Arial"/>
                  <a:sym typeface="Arial"/>
                </a:rPr>
                <a:t>Illinois Perinatal Quality Collaborative</a:t>
              </a:r>
              <a:endParaRPr sz="1200"/>
            </a:p>
          </p:txBody>
        </p:sp>
      </p:grpSp>
      <p:sp>
        <p:nvSpPr>
          <p:cNvPr id="5" name="TextBox 7">
            <a:extLst>
              <a:ext uri="{FF2B5EF4-FFF2-40B4-BE49-F238E27FC236}">
                <a16:creationId xmlns:a16="http://schemas.microsoft.com/office/drawing/2014/main" id="{F552CDD1-8824-8EFB-435C-EE4AA4CB58B9}"/>
              </a:ext>
            </a:extLst>
          </p:cNvPr>
          <p:cNvSpPr txBox="1"/>
          <p:nvPr/>
        </p:nvSpPr>
        <p:spPr>
          <a:xfrm>
            <a:off x="1230" y="1710631"/>
            <a:ext cx="6880188" cy="236712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dirty="0">
                <a:solidFill>
                  <a:srgbClr val="002060"/>
                </a:solidFill>
                <a:latin typeface="Calibri"/>
              </a:rPr>
              <a:t>Login to your ILPQC Quality Dashboard in </a:t>
            </a:r>
            <a:r>
              <a:rPr lang="en-US" sz="2400" err="1">
                <a:solidFill>
                  <a:srgbClr val="002060"/>
                </a:solidFill>
                <a:latin typeface="Calibri"/>
              </a:rPr>
              <a:t>REDCap</a:t>
            </a:r>
            <a:endParaRPr lang="en-US" sz="2100" b="1" err="1">
              <a:solidFill>
                <a:srgbClr val="002060"/>
              </a:solidFill>
              <a:latin typeface="Calibri"/>
            </a:endParaRPr>
          </a:p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dirty="0">
                <a:solidFill>
                  <a:srgbClr val="002060"/>
                </a:solidFill>
                <a:latin typeface="Calibri"/>
                <a:ea typeface="Calibri"/>
                <a:cs typeface="Calibri"/>
              </a:rPr>
              <a:t>Go to the correct section on the left-hand side</a:t>
            </a:r>
          </a:p>
          <a:p>
            <a:pPr marL="237490" lvl="1" defTabSz="609539">
              <a:lnSpc>
                <a:spcPts val="3080"/>
              </a:lnSpc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0" cap="none" spc="0" baseline="0" dirty="0">
              <a:solidFill>
                <a:srgbClr val="002060"/>
              </a:solidFill>
              <a:uFillTx/>
              <a:latin typeface="Calibri"/>
              <a:ea typeface="Calibri"/>
              <a:cs typeface="Calibri"/>
            </a:endParaRPr>
          </a:p>
          <a:p>
            <a:pPr marL="474345" marR="0" lvl="1" indent="-236855" algn="l" defTabSz="609539" rtl="0" fontAlgn="auto" hangingPunct="1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i="0" u="none" strike="noStrike" cap="none" spc="0" baseline="0">
              <a:solidFill>
                <a:srgbClr val="002060"/>
              </a:solidFill>
              <a:uFillTx/>
              <a:latin typeface="Calibri"/>
              <a:ea typeface="Calibri"/>
              <a:cs typeface="Calibri"/>
            </a:endParaRPr>
          </a:p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kern="0" dirty="0">
              <a:solidFill>
                <a:srgbClr val="336352"/>
              </a:solidFill>
              <a:latin typeface="RoxboroughCF"/>
              <a:ea typeface="Calibri"/>
              <a:cs typeface="Calibri"/>
            </a:endParaRPr>
          </a:p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1" kern="0" dirty="0">
              <a:solidFill>
                <a:srgbClr val="336352"/>
              </a:solidFill>
              <a:latin typeface="Calibri"/>
              <a:ea typeface="RoxboroughCF Bold"/>
              <a:cs typeface="RoxboroughCF Bold"/>
            </a:endParaRPr>
          </a:p>
        </p:txBody>
      </p:sp>
      <p:pic>
        <p:nvPicPr>
          <p:cNvPr id="3" name="Picture 2" descr="A screenshot of a report&#10;&#10;AI-generated content may be incorrect.">
            <a:extLst>
              <a:ext uri="{FF2B5EF4-FFF2-40B4-BE49-F238E27FC236}">
                <a16:creationId xmlns:a16="http://schemas.microsoft.com/office/drawing/2014/main" id="{7171F0FE-0751-EF0B-165B-50724D9FB8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72264" y="2460326"/>
            <a:ext cx="7907548" cy="3950178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792D8DC-B924-3B32-FEBE-C27D546C11F9}"/>
              </a:ext>
            </a:extLst>
          </p:cNvPr>
          <p:cNvSpPr txBox="1"/>
          <p:nvPr/>
        </p:nvSpPr>
        <p:spPr>
          <a:xfrm>
            <a:off x="10752611" y="3434254"/>
            <a:ext cx="1288211" cy="95410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8575">
            <a:solidFill>
              <a:schemeClr val="accent2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dirty="0">
                <a:latin typeface="Calibri"/>
                <a:ea typeface="Calibri"/>
                <a:cs typeface="Calibri"/>
              </a:rPr>
              <a:t>Click Here and select Download PNG</a:t>
            </a:r>
          </a:p>
        </p:txBody>
      </p:sp>
      <p:sp>
        <p:nvSpPr>
          <p:cNvPr id="9" name="Arrow: Left 8">
            <a:extLst>
              <a:ext uri="{FF2B5EF4-FFF2-40B4-BE49-F238E27FC236}">
                <a16:creationId xmlns:a16="http://schemas.microsoft.com/office/drawing/2014/main" id="{5FA0BD00-4384-78CE-15E5-98EA7FB5BFA5}"/>
              </a:ext>
            </a:extLst>
          </p:cNvPr>
          <p:cNvSpPr/>
          <p:nvPr/>
        </p:nvSpPr>
        <p:spPr>
          <a:xfrm>
            <a:off x="10282271" y="3629036"/>
            <a:ext cx="484973" cy="266063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F07324-2BB1-41DD-AFA9-7D0BCDDB9EB6}"/>
              </a:ext>
            </a:extLst>
          </p:cNvPr>
          <p:cNvSpPr txBox="1"/>
          <p:nvPr/>
        </p:nvSpPr>
        <p:spPr>
          <a:xfrm>
            <a:off x="113367" y="3635535"/>
            <a:ext cx="2150853" cy="160043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8575">
            <a:solidFill>
              <a:schemeClr val="accent2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dirty="0">
                <a:latin typeface="Calibri"/>
                <a:ea typeface="Calibri"/>
                <a:cs typeface="Calibri"/>
              </a:rPr>
              <a:t>Engagement Measures</a:t>
            </a:r>
          </a:p>
          <a:p>
            <a:pPr algn="ctr"/>
            <a:r>
              <a:rPr lang="en-US" sz="1400" b="1" dirty="0">
                <a:latin typeface="Calibri"/>
                <a:ea typeface="Calibri"/>
                <a:cs typeface="Calibri"/>
              </a:rPr>
              <a:t>Structure Measure</a:t>
            </a:r>
          </a:p>
          <a:p>
            <a:pPr algn="ctr"/>
            <a:r>
              <a:rPr lang="en-US" sz="1400" b="1" dirty="0">
                <a:latin typeface="Calibri"/>
                <a:ea typeface="Calibri"/>
                <a:cs typeface="Calibri"/>
              </a:rPr>
              <a:t>Education Measures</a:t>
            </a:r>
          </a:p>
          <a:p>
            <a:pPr algn="ctr"/>
            <a:r>
              <a:rPr lang="en-US" sz="1400" b="1" dirty="0">
                <a:latin typeface="Calibri"/>
                <a:ea typeface="Calibri"/>
                <a:cs typeface="Calibri"/>
              </a:rPr>
              <a:t>PREM Completion</a:t>
            </a:r>
          </a:p>
          <a:p>
            <a:pPr algn="ctr"/>
            <a:r>
              <a:rPr lang="en-US" sz="1400" b="1" dirty="0">
                <a:latin typeface="Calibri"/>
                <a:ea typeface="Calibri"/>
                <a:cs typeface="Calibri"/>
              </a:rPr>
              <a:t>Outcome Measures</a:t>
            </a:r>
          </a:p>
          <a:p>
            <a:pPr algn="ctr"/>
            <a:r>
              <a:rPr lang="en-US" sz="1400" b="1" dirty="0">
                <a:latin typeface="Calibri"/>
                <a:ea typeface="Calibri"/>
                <a:cs typeface="Calibri"/>
              </a:rPr>
              <a:t>*</a:t>
            </a:r>
            <a:r>
              <a:rPr lang="en-US" sz="1400" dirty="0">
                <a:latin typeface="Calibri"/>
                <a:ea typeface="Calibri"/>
                <a:cs typeface="Calibri"/>
              </a:rPr>
              <a:t>These are all the sections you will need to download</a:t>
            </a:r>
          </a:p>
        </p:txBody>
      </p:sp>
    </p:spTree>
    <p:extLst>
      <p:ext uri="{BB962C8B-B14F-4D97-AF65-F5344CB8AC3E}">
        <p14:creationId xmlns:p14="http://schemas.microsoft.com/office/powerpoint/2010/main" val="298387236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">
          <a:extLst>
            <a:ext uri="{FF2B5EF4-FFF2-40B4-BE49-F238E27FC236}">
              <a16:creationId xmlns:a16="http://schemas.microsoft.com/office/drawing/2014/main" id="{3329935C-C4B5-3294-2C3D-DD61F0FF72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computer&#10;&#10;AI-generated content may be incorrect.">
            <a:extLst>
              <a:ext uri="{FF2B5EF4-FFF2-40B4-BE49-F238E27FC236}">
                <a16:creationId xmlns:a16="http://schemas.microsoft.com/office/drawing/2014/main" id="{9F13D301-1ADA-B8FC-B4D2-43A5F1ED60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71802" y="1959627"/>
            <a:ext cx="3579720" cy="2512921"/>
          </a:xfrm>
          <a:prstGeom prst="rect">
            <a:avLst/>
          </a:prstGeom>
        </p:spPr>
      </p:pic>
      <p:cxnSp>
        <p:nvCxnSpPr>
          <p:cNvPr id="127" name="Google Shape;127;p3">
            <a:extLst>
              <a:ext uri="{FF2B5EF4-FFF2-40B4-BE49-F238E27FC236}">
                <a16:creationId xmlns:a16="http://schemas.microsoft.com/office/drawing/2014/main" id="{30BB401F-9907-3629-FFD9-0B741290B964}"/>
              </a:ext>
            </a:extLst>
          </p:cNvPr>
          <p:cNvCxnSpPr/>
          <p:nvPr/>
        </p:nvCxnSpPr>
        <p:spPr>
          <a:xfrm rot="1988">
            <a:off x="606424" y="6335713"/>
            <a:ext cx="10979152" cy="0"/>
          </a:xfrm>
          <a:prstGeom prst="straightConnector1">
            <a:avLst/>
          </a:prstGeom>
          <a:noFill/>
          <a:ln w="9525" cap="rnd" cmpd="sng">
            <a:solidFill>
              <a:srgbClr val="79818A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128" name="Google Shape;128;p3">
            <a:extLst>
              <a:ext uri="{FF2B5EF4-FFF2-40B4-BE49-F238E27FC236}">
                <a16:creationId xmlns:a16="http://schemas.microsoft.com/office/drawing/2014/main" id="{8A6AD293-F270-22F8-BE3A-874B712E80AA}"/>
              </a:ext>
            </a:extLst>
          </p:cNvPr>
          <p:cNvGrpSpPr/>
          <p:nvPr/>
        </p:nvGrpSpPr>
        <p:grpSpPr>
          <a:xfrm>
            <a:off x="207535" y="-101966"/>
            <a:ext cx="8454887" cy="1587501"/>
            <a:chOff x="-823598" y="-523876"/>
            <a:chExt cx="22877928" cy="3175002"/>
          </a:xfrm>
        </p:grpSpPr>
        <p:sp>
          <p:nvSpPr>
            <p:cNvPr id="129" name="Google Shape;129;p3">
              <a:extLst>
                <a:ext uri="{FF2B5EF4-FFF2-40B4-BE49-F238E27FC236}">
                  <a16:creationId xmlns:a16="http://schemas.microsoft.com/office/drawing/2014/main" id="{674A828B-5896-B246-2280-03B5F31EC88E}"/>
                </a:ext>
              </a:extLst>
            </p:cNvPr>
            <p:cNvSpPr/>
            <p:nvPr/>
          </p:nvSpPr>
          <p:spPr>
            <a:xfrm>
              <a:off x="0" y="0"/>
              <a:ext cx="21945600" cy="2651126"/>
            </a:xfrm>
            <a:custGeom>
              <a:avLst/>
              <a:gdLst/>
              <a:ahLst/>
              <a:cxnLst/>
              <a:rect l="l" t="t" r="r" b="b"/>
              <a:pathLst>
                <a:path w="21945600" h="2651126" extrusionOk="0">
                  <a:moveTo>
                    <a:pt x="0" y="0"/>
                  </a:moveTo>
                  <a:lnTo>
                    <a:pt x="21945600" y="0"/>
                  </a:lnTo>
                  <a:lnTo>
                    <a:pt x="21945600" y="2651126"/>
                  </a:lnTo>
                  <a:lnTo>
                    <a:pt x="0" y="2651126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130;p3">
              <a:extLst>
                <a:ext uri="{FF2B5EF4-FFF2-40B4-BE49-F238E27FC236}">
                  <a16:creationId xmlns:a16="http://schemas.microsoft.com/office/drawing/2014/main" id="{3E4DD3AB-6DF5-19B4-80E2-D82AE92696A8}"/>
                </a:ext>
              </a:extLst>
            </p:cNvPr>
            <p:cNvSpPr txBox="1"/>
            <p:nvPr/>
          </p:nvSpPr>
          <p:spPr>
            <a:xfrm>
              <a:off x="-823598" y="-523876"/>
              <a:ext cx="22877928" cy="265112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sz="3600" b="1" dirty="0">
                  <a:solidFill>
                    <a:srgbClr val="1C498B"/>
                  </a:solidFill>
                  <a:latin typeface="Arial"/>
                  <a:cs typeface="Arial"/>
                </a:rPr>
                <a:t>Uploading PNG File into </a:t>
              </a:r>
              <a:r>
                <a:rPr lang="en-US" sz="3600" b="1" dirty="0" err="1">
                  <a:solidFill>
                    <a:srgbClr val="1C498B"/>
                  </a:solidFill>
                  <a:latin typeface="Arial"/>
                  <a:cs typeface="Arial"/>
                </a:rPr>
                <a:t>REDCap</a:t>
              </a:r>
              <a:r>
                <a:rPr lang="en-US" sz="3600" b="1" dirty="0">
                  <a:solidFill>
                    <a:srgbClr val="1C498B"/>
                  </a:solidFill>
                  <a:latin typeface="Arial"/>
                  <a:cs typeface="Arial"/>
                </a:rPr>
                <a:t> Application</a:t>
              </a:r>
            </a:p>
          </p:txBody>
        </p:sp>
      </p:grpSp>
      <p:grpSp>
        <p:nvGrpSpPr>
          <p:cNvPr id="137" name="Google Shape;137;p3">
            <a:extLst>
              <a:ext uri="{FF2B5EF4-FFF2-40B4-BE49-F238E27FC236}">
                <a16:creationId xmlns:a16="http://schemas.microsoft.com/office/drawing/2014/main" id="{B4E74CE0-2D27-DF4C-E886-96DDD146AB74}"/>
              </a:ext>
            </a:extLst>
          </p:cNvPr>
          <p:cNvGrpSpPr/>
          <p:nvPr/>
        </p:nvGrpSpPr>
        <p:grpSpPr>
          <a:xfrm>
            <a:off x="609600" y="6356350"/>
            <a:ext cx="4114800" cy="365125"/>
            <a:chOff x="0" y="0"/>
            <a:chExt cx="8229600" cy="730250"/>
          </a:xfrm>
        </p:grpSpPr>
        <p:sp>
          <p:nvSpPr>
            <p:cNvPr id="138" name="Google Shape;138;p3">
              <a:extLst>
                <a:ext uri="{FF2B5EF4-FFF2-40B4-BE49-F238E27FC236}">
                  <a16:creationId xmlns:a16="http://schemas.microsoft.com/office/drawing/2014/main" id="{80E5DF82-9EB1-B9C6-37E7-537B9FEF4A25}"/>
                </a:ext>
              </a:extLst>
            </p:cNvPr>
            <p:cNvSpPr/>
            <p:nvPr/>
          </p:nvSpPr>
          <p:spPr>
            <a:xfrm>
              <a:off x="0" y="0"/>
              <a:ext cx="8229600" cy="730250"/>
            </a:xfrm>
            <a:custGeom>
              <a:avLst/>
              <a:gdLst/>
              <a:ahLst/>
              <a:cxnLst/>
              <a:rect l="l" t="t" r="r" b="b"/>
              <a:pathLst>
                <a:path w="8229600" h="730250" extrusionOk="0">
                  <a:moveTo>
                    <a:pt x="0" y="0"/>
                  </a:moveTo>
                  <a:lnTo>
                    <a:pt x="8229600" y="0"/>
                  </a:lnTo>
                  <a:lnTo>
                    <a:pt x="82296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139;p3">
              <a:extLst>
                <a:ext uri="{FF2B5EF4-FFF2-40B4-BE49-F238E27FC236}">
                  <a16:creationId xmlns:a16="http://schemas.microsoft.com/office/drawing/2014/main" id="{82B94B23-EFB5-07A3-A9FC-0AC9D44B4BB6}"/>
                </a:ext>
              </a:extLst>
            </p:cNvPr>
            <p:cNvSpPr txBox="1"/>
            <p:nvPr/>
          </p:nvSpPr>
          <p:spPr>
            <a:xfrm>
              <a:off x="0" y="0"/>
              <a:ext cx="82296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>
                  <a:solidFill>
                    <a:srgbClr val="939699"/>
                  </a:solidFill>
                  <a:latin typeface="Arial"/>
                  <a:ea typeface="Arial"/>
                  <a:cs typeface="Arial"/>
                  <a:sym typeface="Arial"/>
                </a:rPr>
                <a:t>Illinois Perinatal Quality Collaborative</a:t>
              </a:r>
              <a:endParaRPr sz="1200"/>
            </a:p>
          </p:txBody>
        </p:sp>
      </p:grpSp>
      <p:sp>
        <p:nvSpPr>
          <p:cNvPr id="5" name="TextBox 7">
            <a:extLst>
              <a:ext uri="{FF2B5EF4-FFF2-40B4-BE49-F238E27FC236}">
                <a16:creationId xmlns:a16="http://schemas.microsoft.com/office/drawing/2014/main" id="{813EA13D-87D5-5230-D623-E76E1F600755}"/>
              </a:ext>
            </a:extLst>
          </p:cNvPr>
          <p:cNvSpPr txBox="1"/>
          <p:nvPr/>
        </p:nvSpPr>
        <p:spPr>
          <a:xfrm>
            <a:off x="490634" y="1483914"/>
            <a:ext cx="5113541" cy="157203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dirty="0">
                <a:solidFill>
                  <a:srgbClr val="002060"/>
                </a:solidFill>
                <a:latin typeface="Calibri"/>
              </a:rPr>
              <a:t>Find the file you just downloaded on your computer</a:t>
            </a:r>
            <a:endParaRPr lang="en-US" sz="2400" dirty="0">
              <a:solidFill>
                <a:srgbClr val="002060"/>
              </a:solidFill>
              <a:latin typeface="Calibri"/>
              <a:ea typeface="Calibri"/>
              <a:cs typeface="Calibri"/>
            </a:endParaRPr>
          </a:p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 dirty="0">
              <a:solidFill>
                <a:srgbClr val="336352"/>
              </a:solidFill>
              <a:uFillTx/>
              <a:latin typeface="RoxboroughCF"/>
              <a:ea typeface="Calibri"/>
              <a:cs typeface="Calibri"/>
            </a:endParaRPr>
          </a:p>
          <a:p>
            <a:pPr marL="474345" marR="0" lvl="1" indent="-236855" algn="l" defTabSz="609539" rtl="0" fontAlgn="auto" hangingPunct="1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1" i="0" u="none" strike="noStrike" kern="0" cap="none" spc="0" baseline="0" dirty="0">
              <a:solidFill>
                <a:srgbClr val="336352"/>
              </a:solidFill>
              <a:uFillTx/>
              <a:latin typeface="Calibri"/>
              <a:ea typeface="RoxboroughCF Bold"/>
              <a:cs typeface="RoxboroughCF Bold"/>
            </a:endParaRPr>
          </a:p>
        </p:txBody>
      </p:sp>
      <p:pic>
        <p:nvPicPr>
          <p:cNvPr id="2" name="Picture 1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7B73ECB-EA10-EF17-DD72-780971D26D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378" y="2395817"/>
            <a:ext cx="4709833" cy="1035424"/>
          </a:xfrm>
          <a:prstGeom prst="rect">
            <a:avLst/>
          </a:prstGeom>
        </p:spPr>
      </p:pic>
      <p:sp>
        <p:nvSpPr>
          <p:cNvPr id="4" name="TextBox 7">
            <a:extLst>
              <a:ext uri="{FF2B5EF4-FFF2-40B4-BE49-F238E27FC236}">
                <a16:creationId xmlns:a16="http://schemas.microsoft.com/office/drawing/2014/main" id="{F22EF569-C484-AC4C-D41D-FBDD8971C2F1}"/>
              </a:ext>
            </a:extLst>
          </p:cNvPr>
          <p:cNvSpPr txBox="1"/>
          <p:nvPr/>
        </p:nvSpPr>
        <p:spPr>
          <a:xfrm>
            <a:off x="490634" y="4027649"/>
            <a:ext cx="5113541" cy="117448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dirty="0">
                <a:solidFill>
                  <a:srgbClr val="002060"/>
                </a:solidFill>
                <a:latin typeface="Calibri"/>
              </a:rPr>
              <a:t>In the application click </a:t>
            </a:r>
            <a:endParaRPr lang="en-US" sz="2400" dirty="0">
              <a:solidFill>
                <a:srgbClr val="002060"/>
              </a:solidFill>
              <a:latin typeface="Calibri"/>
              <a:ea typeface="Calibri"/>
              <a:cs typeface="Calibri"/>
            </a:endParaRPr>
          </a:p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 dirty="0">
              <a:solidFill>
                <a:srgbClr val="336352"/>
              </a:solidFill>
              <a:uFillTx/>
              <a:latin typeface="RoxboroughCF"/>
              <a:ea typeface="Calibri"/>
              <a:cs typeface="Calibri"/>
            </a:endParaRPr>
          </a:p>
          <a:p>
            <a:pPr marL="474345" marR="0" lvl="1" indent="-236855" algn="l" defTabSz="609539" rtl="0" fontAlgn="auto" hangingPunct="1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1" i="0" u="none" strike="noStrike" kern="0" cap="none" spc="0" baseline="0" dirty="0">
              <a:solidFill>
                <a:srgbClr val="336352"/>
              </a:solidFill>
              <a:uFillTx/>
              <a:latin typeface="Calibri"/>
              <a:ea typeface="RoxboroughCF Bold"/>
              <a:cs typeface="RoxboroughCF Bold"/>
            </a:endParaRPr>
          </a:p>
        </p:txBody>
      </p:sp>
      <p:pic>
        <p:nvPicPr>
          <p:cNvPr id="7" name="Picture 6" descr="A green and black text&#10;&#10;AI-generated content may be incorrect.">
            <a:extLst>
              <a:ext uri="{FF2B5EF4-FFF2-40B4-BE49-F238E27FC236}">
                <a16:creationId xmlns:a16="http://schemas.microsoft.com/office/drawing/2014/main" id="{47DB197D-A3BA-2DCD-3FB5-89D33D35DB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51492" y="4619906"/>
            <a:ext cx="1362075" cy="7334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7B5525D-BC4B-A003-6F61-75A50089CB6F}"/>
              </a:ext>
            </a:extLst>
          </p:cNvPr>
          <p:cNvSpPr txBox="1"/>
          <p:nvPr/>
        </p:nvSpPr>
        <p:spPr>
          <a:xfrm>
            <a:off x="6127192" y="1483913"/>
            <a:ext cx="6066041" cy="157203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dirty="0">
                <a:solidFill>
                  <a:srgbClr val="002060"/>
                </a:solidFill>
                <a:latin typeface="Calibri"/>
              </a:rPr>
              <a:t>Select Choose File and select your download</a:t>
            </a:r>
          </a:p>
          <a:p>
            <a:pPr marL="237490" lvl="1" defTabSz="609539">
              <a:lnSpc>
                <a:spcPts val="3080"/>
              </a:lnSpc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>
              <a:solidFill>
                <a:srgbClr val="002060"/>
              </a:solidFill>
              <a:latin typeface="Calibri"/>
              <a:ea typeface="Calibri"/>
              <a:cs typeface="Calibri"/>
            </a:endParaRPr>
          </a:p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 dirty="0">
              <a:solidFill>
                <a:srgbClr val="336352"/>
              </a:solidFill>
              <a:uFillTx/>
              <a:latin typeface="RoxboroughCF"/>
              <a:ea typeface="Calibri"/>
              <a:cs typeface="Calibri"/>
            </a:endParaRPr>
          </a:p>
          <a:p>
            <a:pPr marL="474345" marR="0" lvl="1" indent="-236855" algn="l" defTabSz="609539" rtl="0" fontAlgn="auto" hangingPunct="1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1" i="0" u="none" strike="noStrike" kern="0" cap="none" spc="0" baseline="0" dirty="0">
              <a:solidFill>
                <a:srgbClr val="336352"/>
              </a:solidFill>
              <a:uFillTx/>
              <a:latin typeface="Calibri"/>
              <a:ea typeface="RoxboroughCF Bold"/>
              <a:cs typeface="RoxboroughCF Bold"/>
            </a:endParaRPr>
          </a:p>
        </p:txBody>
      </p:sp>
      <p:pic>
        <p:nvPicPr>
          <p:cNvPr id="11" name="Picture 10" descr="A screen shot of a computer&#10;&#10;AI-generated content may be incorrect.">
            <a:extLst>
              <a:ext uri="{FF2B5EF4-FFF2-40B4-BE49-F238E27FC236}">
                <a16:creationId xmlns:a16="http://schemas.microsoft.com/office/drawing/2014/main" id="{E269A731-A23A-AFA4-C752-02EDB3CC161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9034" t="19236" r="-458" b="35912"/>
          <a:stretch>
            <a:fillRect/>
          </a:stretch>
        </p:blipFill>
        <p:spPr>
          <a:xfrm>
            <a:off x="7474884" y="5209242"/>
            <a:ext cx="3210834" cy="91425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AF43500-EBCA-D4AC-C2F8-D356A10B82FC}"/>
              </a:ext>
            </a:extLst>
          </p:cNvPr>
          <p:cNvSpPr txBox="1"/>
          <p:nvPr/>
        </p:nvSpPr>
        <p:spPr>
          <a:xfrm>
            <a:off x="6228045" y="4621560"/>
            <a:ext cx="6066041" cy="157203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dirty="0">
                <a:solidFill>
                  <a:srgbClr val="002060"/>
                </a:solidFill>
                <a:latin typeface="Calibri"/>
              </a:rPr>
              <a:t>This is how it will look once uploaded</a:t>
            </a:r>
          </a:p>
          <a:p>
            <a:pPr marL="237490" lvl="1" defTabSz="609539">
              <a:lnSpc>
                <a:spcPts val="3080"/>
              </a:lnSpc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>
              <a:solidFill>
                <a:srgbClr val="002060"/>
              </a:solidFill>
              <a:latin typeface="Calibri"/>
              <a:ea typeface="Calibri"/>
              <a:cs typeface="Calibri"/>
            </a:endParaRPr>
          </a:p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1200" cap="none" spc="0" baseline="0" dirty="0">
              <a:solidFill>
                <a:srgbClr val="336352"/>
              </a:solidFill>
              <a:uFillTx/>
              <a:latin typeface="RoxboroughCF"/>
              <a:ea typeface="Calibri"/>
              <a:cs typeface="Calibri"/>
            </a:endParaRPr>
          </a:p>
          <a:p>
            <a:pPr marL="474345" marR="0" lvl="1" indent="-236855" algn="l" defTabSz="609539" rtl="0" fontAlgn="auto" hangingPunct="1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1" i="0" u="none" strike="noStrike" kern="0" cap="none" spc="0" baseline="0" dirty="0">
              <a:solidFill>
                <a:srgbClr val="336352"/>
              </a:solidFill>
              <a:uFillTx/>
              <a:latin typeface="Calibri"/>
              <a:ea typeface="RoxboroughCF Bold"/>
              <a:cs typeface="RoxboroughCF Bold"/>
            </a:endParaRPr>
          </a:p>
        </p:txBody>
      </p:sp>
      <p:sp>
        <p:nvSpPr>
          <p:cNvPr id="15" name="Arrow: Left 14">
            <a:extLst>
              <a:ext uri="{FF2B5EF4-FFF2-40B4-BE49-F238E27FC236}">
                <a16:creationId xmlns:a16="http://schemas.microsoft.com/office/drawing/2014/main" id="{412BB53E-42E2-438C-8583-7A2CB938DD4A}"/>
              </a:ext>
            </a:extLst>
          </p:cNvPr>
          <p:cNvSpPr/>
          <p:nvPr/>
        </p:nvSpPr>
        <p:spPr>
          <a:xfrm rot="10800000">
            <a:off x="6552088" y="3757032"/>
            <a:ext cx="918541" cy="263336"/>
          </a:xfrm>
          <a:prstGeom prst="leftArrow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2467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E79252F-4E62-090D-3207-88D5F8394B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8177" y="0"/>
            <a:ext cx="9315645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143CF7E-D3FF-DCA0-CA4D-03990E54D0B1}"/>
              </a:ext>
            </a:extLst>
          </p:cNvPr>
          <p:cNvSpPr txBox="1"/>
          <p:nvPr/>
        </p:nvSpPr>
        <p:spPr>
          <a:xfrm>
            <a:off x="10910762" y="2758518"/>
            <a:ext cx="1288211" cy="181588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8575">
            <a:solidFill>
              <a:schemeClr val="accent2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dirty="0">
                <a:latin typeface="Calibri"/>
                <a:ea typeface="Calibri"/>
                <a:cs typeface="Calibri"/>
              </a:rPr>
              <a:t>*Please note</a:t>
            </a:r>
            <a:endParaRPr lang="en-US" dirty="0"/>
          </a:p>
          <a:p>
            <a:pPr algn="ctr"/>
            <a:r>
              <a:rPr lang="en-US" sz="1400" b="1" dirty="0">
                <a:latin typeface="Calibri"/>
                <a:ea typeface="Calibri"/>
                <a:cs typeface="Calibri"/>
              </a:rPr>
              <a:t>Each of the Upload file sections coincide with graphs on your Designation Dashboar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44190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">
          <a:extLst>
            <a:ext uri="{FF2B5EF4-FFF2-40B4-BE49-F238E27FC236}">
              <a16:creationId xmlns:a16="http://schemas.microsoft.com/office/drawing/2014/main" id="{5E592DDF-B415-E480-BC0B-0EA65391D8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7" name="Google Shape;127;p3">
            <a:extLst>
              <a:ext uri="{FF2B5EF4-FFF2-40B4-BE49-F238E27FC236}">
                <a16:creationId xmlns:a16="http://schemas.microsoft.com/office/drawing/2014/main" id="{1703A8CB-DCDE-3E31-4031-EF4C35275FFD}"/>
              </a:ext>
            </a:extLst>
          </p:cNvPr>
          <p:cNvCxnSpPr/>
          <p:nvPr/>
        </p:nvCxnSpPr>
        <p:spPr>
          <a:xfrm rot="1988">
            <a:off x="606424" y="6335713"/>
            <a:ext cx="10979152" cy="0"/>
          </a:xfrm>
          <a:prstGeom prst="straightConnector1">
            <a:avLst/>
          </a:prstGeom>
          <a:noFill/>
          <a:ln w="9525" cap="rnd" cmpd="sng">
            <a:solidFill>
              <a:srgbClr val="79818A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5" name="Google Shape;135;p3">
            <a:extLst>
              <a:ext uri="{FF2B5EF4-FFF2-40B4-BE49-F238E27FC236}">
                <a16:creationId xmlns:a16="http://schemas.microsoft.com/office/drawing/2014/main" id="{2CC4662F-4B57-225F-5867-3C910B73809F}"/>
              </a:ext>
            </a:extLst>
          </p:cNvPr>
          <p:cNvSpPr/>
          <p:nvPr/>
        </p:nvSpPr>
        <p:spPr>
          <a:xfrm>
            <a:off x="8839200" y="6356351"/>
            <a:ext cx="2743200" cy="365125"/>
          </a:xfrm>
          <a:custGeom>
            <a:avLst/>
            <a:gdLst/>
            <a:ahLst/>
            <a:cxnLst/>
            <a:rect l="l" t="t" r="r" b="b"/>
            <a:pathLst>
              <a:path w="5486400" h="730250" extrusionOk="0">
                <a:moveTo>
                  <a:pt x="0" y="0"/>
                </a:moveTo>
                <a:lnTo>
                  <a:pt x="5486400" y="0"/>
                </a:lnTo>
                <a:lnTo>
                  <a:pt x="5486400" y="730250"/>
                </a:lnTo>
                <a:lnTo>
                  <a:pt x="0" y="73025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/>
          <a:p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37" name="Google Shape;137;p3">
            <a:extLst>
              <a:ext uri="{FF2B5EF4-FFF2-40B4-BE49-F238E27FC236}">
                <a16:creationId xmlns:a16="http://schemas.microsoft.com/office/drawing/2014/main" id="{215670C8-BF17-2C97-9BC9-BA60F12FE69D}"/>
              </a:ext>
            </a:extLst>
          </p:cNvPr>
          <p:cNvGrpSpPr/>
          <p:nvPr/>
        </p:nvGrpSpPr>
        <p:grpSpPr>
          <a:xfrm>
            <a:off x="609600" y="6356350"/>
            <a:ext cx="4114800" cy="365125"/>
            <a:chOff x="0" y="0"/>
            <a:chExt cx="8229600" cy="730250"/>
          </a:xfrm>
        </p:grpSpPr>
        <p:sp>
          <p:nvSpPr>
            <p:cNvPr id="138" name="Google Shape;138;p3">
              <a:extLst>
                <a:ext uri="{FF2B5EF4-FFF2-40B4-BE49-F238E27FC236}">
                  <a16:creationId xmlns:a16="http://schemas.microsoft.com/office/drawing/2014/main" id="{3FABB49E-2AF1-136D-A429-EB2001B437C5}"/>
                </a:ext>
              </a:extLst>
            </p:cNvPr>
            <p:cNvSpPr/>
            <p:nvPr/>
          </p:nvSpPr>
          <p:spPr>
            <a:xfrm>
              <a:off x="0" y="0"/>
              <a:ext cx="8229600" cy="730250"/>
            </a:xfrm>
            <a:custGeom>
              <a:avLst/>
              <a:gdLst/>
              <a:ahLst/>
              <a:cxnLst/>
              <a:rect l="l" t="t" r="r" b="b"/>
              <a:pathLst>
                <a:path w="8229600" h="730250" extrusionOk="0">
                  <a:moveTo>
                    <a:pt x="0" y="0"/>
                  </a:moveTo>
                  <a:lnTo>
                    <a:pt x="8229600" y="0"/>
                  </a:lnTo>
                  <a:lnTo>
                    <a:pt x="82296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139;p3">
              <a:extLst>
                <a:ext uri="{FF2B5EF4-FFF2-40B4-BE49-F238E27FC236}">
                  <a16:creationId xmlns:a16="http://schemas.microsoft.com/office/drawing/2014/main" id="{46833927-EC8B-CFB0-5AFC-5C18D90FA52F}"/>
                </a:ext>
              </a:extLst>
            </p:cNvPr>
            <p:cNvSpPr txBox="1"/>
            <p:nvPr/>
          </p:nvSpPr>
          <p:spPr>
            <a:xfrm>
              <a:off x="0" y="0"/>
              <a:ext cx="82296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>
                  <a:solidFill>
                    <a:srgbClr val="939699"/>
                  </a:solidFill>
                  <a:latin typeface="Arial"/>
                  <a:ea typeface="Arial"/>
                  <a:cs typeface="Arial"/>
                  <a:sym typeface="Arial"/>
                </a:rPr>
                <a:t>Illinois Perinatal Quality Collaborative</a:t>
              </a:r>
              <a:endParaRPr sz="1200"/>
            </a:p>
          </p:txBody>
        </p:sp>
      </p:grpSp>
      <p:sp>
        <p:nvSpPr>
          <p:cNvPr id="5" name="TextBox 7">
            <a:extLst>
              <a:ext uri="{FF2B5EF4-FFF2-40B4-BE49-F238E27FC236}">
                <a16:creationId xmlns:a16="http://schemas.microsoft.com/office/drawing/2014/main" id="{5FC285FA-F310-DF63-70EE-04882A4BFC33}"/>
              </a:ext>
            </a:extLst>
          </p:cNvPr>
          <p:cNvSpPr txBox="1"/>
          <p:nvPr/>
        </p:nvSpPr>
        <p:spPr>
          <a:xfrm>
            <a:off x="159381" y="2501387"/>
            <a:ext cx="4105358" cy="435484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dirty="0">
                <a:solidFill>
                  <a:srgbClr val="002060"/>
                </a:solidFill>
                <a:latin typeface="Calibri"/>
              </a:rPr>
              <a:t>If your team received a Mini-Grant, complete </a:t>
            </a:r>
            <a:r>
              <a:rPr lang="en-US" sz="2400" b="1" dirty="0">
                <a:solidFill>
                  <a:srgbClr val="002060"/>
                </a:solidFill>
                <a:latin typeface="Calibri"/>
              </a:rPr>
              <a:t>Section 9</a:t>
            </a:r>
            <a:r>
              <a:rPr lang="en-US" sz="2400" dirty="0">
                <a:solidFill>
                  <a:srgbClr val="002060"/>
                </a:solidFill>
                <a:latin typeface="Calibri"/>
              </a:rPr>
              <a:t> to report on your funded activities</a:t>
            </a:r>
            <a:endParaRPr lang="en-US" sz="2400" dirty="0">
              <a:solidFill>
                <a:srgbClr val="002060"/>
              </a:solidFill>
              <a:latin typeface="Calibri"/>
              <a:ea typeface="Calibri"/>
              <a:cs typeface="Calibri"/>
            </a:endParaRPr>
          </a:p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dirty="0">
                <a:solidFill>
                  <a:srgbClr val="002060"/>
                </a:solidFill>
                <a:latin typeface="Calibri"/>
                <a:ea typeface="Calibri"/>
                <a:cs typeface="Calibri"/>
              </a:rPr>
              <a:t>If any funds remain unused, please describe your plan for utilizing the remaining funds</a:t>
            </a:r>
          </a:p>
          <a:p>
            <a:pPr marL="237490" lvl="1" defTabSz="609539">
              <a:lnSpc>
                <a:spcPts val="3080"/>
              </a:lnSpc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0" cap="none" spc="0" baseline="0" dirty="0">
              <a:solidFill>
                <a:srgbClr val="002060"/>
              </a:solidFill>
              <a:uFillTx/>
              <a:latin typeface="Calibri"/>
              <a:ea typeface="Calibri"/>
              <a:cs typeface="Calibri"/>
            </a:endParaRPr>
          </a:p>
          <a:p>
            <a:pPr marL="474345" marR="0" lvl="1" indent="-236855" algn="l" defTabSz="609539" rtl="0" fontAlgn="auto" hangingPunct="1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i="0" u="none" strike="noStrike" cap="none" spc="0" baseline="0">
              <a:solidFill>
                <a:srgbClr val="002060"/>
              </a:solidFill>
              <a:uFillTx/>
              <a:latin typeface="Calibri"/>
              <a:ea typeface="Calibri"/>
              <a:cs typeface="Calibri"/>
            </a:endParaRPr>
          </a:p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kern="0" dirty="0">
              <a:solidFill>
                <a:srgbClr val="336352"/>
              </a:solidFill>
              <a:latin typeface="RoxboroughCF"/>
              <a:ea typeface="Calibri"/>
              <a:cs typeface="Calibri"/>
            </a:endParaRPr>
          </a:p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1" kern="0" dirty="0">
              <a:solidFill>
                <a:srgbClr val="336352"/>
              </a:solidFill>
              <a:latin typeface="Calibri"/>
              <a:ea typeface="RoxboroughCF Bold"/>
              <a:cs typeface="RoxboroughCF Bol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0021ED8-EC08-4E4C-87AA-51BCAB4301BD}"/>
              </a:ext>
            </a:extLst>
          </p:cNvPr>
          <p:cNvSpPr txBox="1"/>
          <p:nvPr/>
        </p:nvSpPr>
        <p:spPr>
          <a:xfrm>
            <a:off x="10752611" y="4843235"/>
            <a:ext cx="1288211" cy="181588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8575">
            <a:solidFill>
              <a:schemeClr val="accent2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dirty="0">
                <a:latin typeface="Calibri"/>
                <a:ea typeface="Calibri"/>
                <a:cs typeface="Calibri"/>
              </a:rPr>
              <a:t>Use Text Box to explain:</a:t>
            </a:r>
          </a:p>
          <a:p>
            <a:pPr algn="ctr"/>
            <a:r>
              <a:rPr lang="en-US" sz="1400" b="1" dirty="0">
                <a:latin typeface="Calibri"/>
                <a:ea typeface="Calibri"/>
                <a:cs typeface="Calibri"/>
              </a:rPr>
              <a:t>-how funds were used, and</a:t>
            </a:r>
          </a:p>
          <a:p>
            <a:pPr algn="ctr"/>
            <a:r>
              <a:rPr lang="en-US" sz="1400" b="1" dirty="0">
                <a:latin typeface="Calibri"/>
                <a:ea typeface="Calibri"/>
                <a:cs typeface="Calibri"/>
              </a:rPr>
              <a:t>-plans to use remaining funds</a:t>
            </a:r>
          </a:p>
        </p:txBody>
      </p:sp>
      <p:pic>
        <p:nvPicPr>
          <p:cNvPr id="2" name="Picture 1" descr="A screenshot of a computer screen&#10;&#10;AI-generated content may be incorrect.">
            <a:extLst>
              <a:ext uri="{FF2B5EF4-FFF2-40B4-BE49-F238E27FC236}">
                <a16:creationId xmlns:a16="http://schemas.microsoft.com/office/drawing/2014/main" id="{05E691B4-D1B9-5612-420F-E33EF7BEE7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1796" y="2147529"/>
            <a:ext cx="5838825" cy="3971925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6" name="Google Shape;130;p3">
            <a:extLst>
              <a:ext uri="{FF2B5EF4-FFF2-40B4-BE49-F238E27FC236}">
                <a16:creationId xmlns:a16="http://schemas.microsoft.com/office/drawing/2014/main" id="{3B5CBC41-FA17-48E5-D9F1-63BB1D97B2EE}"/>
              </a:ext>
            </a:extLst>
          </p:cNvPr>
          <p:cNvSpPr txBox="1"/>
          <p:nvPr/>
        </p:nvSpPr>
        <p:spPr>
          <a:xfrm>
            <a:off x="383381" y="349717"/>
            <a:ext cx="8454887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en-US" sz="3600" b="1" dirty="0">
                <a:solidFill>
                  <a:srgbClr val="1C498B"/>
                </a:solidFill>
                <a:latin typeface="Arial"/>
                <a:cs typeface="Arial"/>
                <a:sym typeface="Arial"/>
              </a:rPr>
              <a:t>Reporting on Mini-Grant Activities</a:t>
            </a:r>
          </a:p>
        </p:txBody>
      </p:sp>
      <p:sp>
        <p:nvSpPr>
          <p:cNvPr id="13" name="Arrow: Bent 12">
            <a:extLst>
              <a:ext uri="{FF2B5EF4-FFF2-40B4-BE49-F238E27FC236}">
                <a16:creationId xmlns:a16="http://schemas.microsoft.com/office/drawing/2014/main" id="{4104B765-19F9-0937-7518-41BAB854B015}"/>
              </a:ext>
            </a:extLst>
          </p:cNvPr>
          <p:cNvSpPr/>
          <p:nvPr/>
        </p:nvSpPr>
        <p:spPr>
          <a:xfrm rot="16200000">
            <a:off x="9670762" y="4642834"/>
            <a:ext cx="874813" cy="1290435"/>
          </a:xfrm>
          <a:prstGeom prst="ben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2796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Google Shape;370;p16"/>
          <p:cNvSpPr txBox="1"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EB3B7"/>
                </a:buClr>
                <a:buSzPts val="1200"/>
                <a:buFont typeface="Calibri"/>
                <a:buNone/>
                <a:tabLst/>
                <a:defRPr/>
              </a:pPr>
              <a:t>3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AEB3B7"/>
              </a:solidFill>
              <a:effectLst/>
              <a:uLnTx/>
              <a:uFillTx/>
              <a:latin typeface="DM Sans" pitchFamily="2" charset="77"/>
              <a:ea typeface="Calibri"/>
              <a:cs typeface="Calibri"/>
              <a:sym typeface="Calibri"/>
            </a:endParaRPr>
          </a:p>
        </p:txBody>
      </p:sp>
      <p:sp>
        <p:nvSpPr>
          <p:cNvPr id="368" name="Google Shape;368;p16"/>
          <p:cNvSpPr txBox="1">
            <a:spLocks noGrp="1"/>
          </p:cNvSpPr>
          <p:nvPr>
            <p:ph type="title" idx="4294967295"/>
          </p:nvPr>
        </p:nvSpPr>
        <p:spPr>
          <a:xfrm>
            <a:off x="8450263" y="2114550"/>
            <a:ext cx="3741737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algn="ctr">
              <a:spcBef>
                <a:spcPts val="0"/>
              </a:spcBef>
              <a:buClr>
                <a:schemeClr val="accent1"/>
              </a:buClr>
              <a:buSzPts val="4000"/>
            </a:pPr>
            <a:r>
              <a:rPr lang="en-US" sz="4400" dirty="0">
                <a:latin typeface="DM Sans"/>
                <a:ea typeface="Lato Medium"/>
                <a:cs typeface="Lato Medium"/>
              </a:rPr>
              <a:t>Registration </a:t>
            </a:r>
            <a:br>
              <a:rPr lang="en-US" sz="4400" dirty="0">
                <a:latin typeface="DM Sans" pitchFamily="2" charset="77"/>
                <a:ea typeface="Lato Medium"/>
                <a:cs typeface="Lato Medium"/>
              </a:rPr>
            </a:br>
            <a:r>
              <a:rPr lang="en-US" dirty="0">
                <a:latin typeface="DM Sans"/>
                <a:ea typeface="Lato Medium"/>
                <a:cs typeface="Lato Medium"/>
              </a:rPr>
              <a:t>Now Open</a:t>
            </a:r>
            <a:endParaRPr lang="en-US" sz="4400" dirty="0">
              <a:latin typeface="DM Sans" pitchFamily="2" charset="77"/>
              <a:ea typeface="Lato Medium"/>
              <a:cs typeface="Lato Medium"/>
            </a:endParaRPr>
          </a:p>
        </p:txBody>
      </p:sp>
      <p:sp>
        <p:nvSpPr>
          <p:cNvPr id="6" name="Google Shape;368;p16">
            <a:extLst>
              <a:ext uri="{FF2B5EF4-FFF2-40B4-BE49-F238E27FC236}">
                <a16:creationId xmlns:a16="http://schemas.microsoft.com/office/drawing/2014/main" id="{4861B0C5-5C0A-19EB-150E-E95303EA0BBC}"/>
              </a:ext>
            </a:extLst>
          </p:cNvPr>
          <p:cNvSpPr txBox="1">
            <a:spLocks/>
          </p:cNvSpPr>
          <p:nvPr/>
        </p:nvSpPr>
        <p:spPr>
          <a:xfrm>
            <a:off x="8194273" y="3705015"/>
            <a:ext cx="4402346" cy="1325562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  <a:sym typeface="Arial"/>
              </a:rPr>
              <a:t>The Westin Lombard</a:t>
            </a:r>
            <a:endParaRPr kumimoji="0" lang="en-US" sz="2600" b="1" i="0" u="none" strike="noStrike" kern="1200" cap="none" spc="0" normalizeH="0" baseline="0" noProof="0">
              <a:ln>
                <a:noFill/>
              </a:ln>
              <a:solidFill>
                <a:srgbClr val="F58366"/>
              </a:solidFill>
              <a:effectLst/>
              <a:uLnTx/>
              <a:uFillTx/>
              <a:latin typeface="DM Sans" pitchFamily="2" charset="77"/>
              <a:ea typeface="Lato Medium" panose="020F0502020204030203" pitchFamily="34" charset="0"/>
              <a:cs typeface="Lato Medium" panose="020F0502020204030203" pitchFamily="34" charset="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  <a:sym typeface="Arial"/>
              </a:rPr>
              <a:t>Hotel Room Block</a:t>
            </a:r>
            <a:br>
              <a:rPr kumimoji="0" lang="en-US" sz="2600" b="1" i="0" u="none" strike="noStrike" kern="1200" cap="none" spc="0" normalizeH="0" baseline="0" noProof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  <a:sym typeface="Arial"/>
              </a:rPr>
            </a:br>
            <a:r>
              <a:rPr kumimoji="0" lang="en-US" sz="2600" b="1" i="0" u="none" strike="noStrike" kern="1200" cap="none" spc="0" normalizeH="0" baseline="0" noProof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  <a:sym typeface="Arial"/>
              </a:rPr>
              <a:t>will be available</a:t>
            </a:r>
            <a:endParaRPr kumimoji="0" lang="en-US" sz="2600" b="1" i="0" u="none" strike="noStrike" kern="1200" cap="none" spc="0" normalizeH="0" baseline="0" noProof="0">
              <a:ln>
                <a:noFill/>
              </a:ln>
              <a:solidFill>
                <a:srgbClr val="F58366"/>
              </a:solidFill>
              <a:effectLst/>
              <a:uLnTx/>
              <a:uFillTx/>
              <a:latin typeface="DM Sans" pitchFamily="2" charset="77"/>
              <a:ea typeface="Lato Medium" panose="020F0502020204030203" pitchFamily="34" charset="0"/>
              <a:cs typeface="Lato Medium" panose="020F0502020204030203" pitchFamily="34" charset="0"/>
              <a:sym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194FC7-204E-107F-23FB-A58A3461F076}"/>
              </a:ext>
            </a:extLst>
          </p:cNvPr>
          <p:cNvSpPr txBox="1"/>
          <p:nvPr/>
        </p:nvSpPr>
        <p:spPr>
          <a:xfrm>
            <a:off x="353246" y="5472501"/>
            <a:ext cx="10510848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  <a:sym typeface="Arial"/>
              </a:rPr>
              <a:t>Make sure at least </a:t>
            </a:r>
            <a:r>
              <a:rPr kumimoji="0" lang="en-US" sz="2800" b="1" i="0" u="sng" strike="noStrike" kern="1200" cap="none" spc="0" normalizeH="0" baseline="0" noProof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  <a:sym typeface="Arial"/>
              </a:rPr>
              <a:t>one </a:t>
            </a:r>
            <a:r>
              <a:rPr kumimoji="0" lang="en-US" sz="2800" b="1" i="1" u="sng" strike="noStrike" kern="1200" cap="none" spc="0" normalizeH="0" baseline="0" noProof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  <a:sym typeface="Arial"/>
              </a:rPr>
              <a:t>physician champion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  <a:sym typeface="Arial"/>
              </a:rPr>
              <a:t>, </a:t>
            </a:r>
            <a:r>
              <a:rPr kumimoji="0" lang="en-US" sz="2800" b="1" i="0" u="sng" strike="noStrike" kern="1200" cap="none" spc="0" normalizeH="0" baseline="0" noProof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  <a:sym typeface="Arial"/>
              </a:rPr>
              <a:t>one </a:t>
            </a:r>
            <a:r>
              <a:rPr kumimoji="0" lang="en-US" sz="2800" b="1" i="1" u="sng" strike="noStrike" kern="1200" cap="none" spc="0" normalizeH="0" baseline="0" noProof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  <a:sym typeface="Arial"/>
              </a:rPr>
              <a:t>nurse champion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  <a:sym typeface="Arial"/>
              </a:rPr>
              <a:t>, and </a:t>
            </a:r>
            <a:r>
              <a:rPr kumimoji="0" lang="en-US" sz="2800" b="1" i="0" u="sng" strike="noStrike" kern="1200" cap="none" spc="0" normalizeH="0" baseline="0" noProof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  <a:sym typeface="Arial"/>
              </a:rPr>
              <a:t>a patient/</a:t>
            </a:r>
            <a:r>
              <a:rPr kumimoji="0" lang="en-US" sz="2800" b="1" i="1" u="sng" strike="noStrike" kern="1200" cap="none" spc="0" normalizeH="0" baseline="0" noProof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  <a:sym typeface="Arial"/>
              </a:rPr>
              <a:t>parent partner</a:t>
            </a:r>
            <a:r>
              <a:rPr kumimoji="0" lang="en-US" sz="2800" b="1" i="1" u="none" strike="noStrike" kern="1200" cap="none" spc="0" normalizeH="0" baseline="0" noProof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  <a:sym typeface="Arial"/>
              </a:rPr>
              <a:t> 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  <a:sym typeface="Arial"/>
              </a:rPr>
              <a:t>are there to represent your hospital. 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  <a:sym typeface="Arial"/>
              </a:rPr>
              <a:t> 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+mn-ea"/>
              <a:cs typeface="Calibri"/>
              <a:sym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2983540-6166-4BCF-9F31-9418A76A54B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031" y="765463"/>
            <a:ext cx="8078920" cy="4554638"/>
          </a:xfrm>
          <a:prstGeom prst="rect">
            <a:avLst/>
          </a:prstGeom>
        </p:spPr>
      </p:pic>
      <p:sp>
        <p:nvSpPr>
          <p:cNvPr id="5" name="Rectangle 1">
            <a:extLst>
              <a:ext uri="{FF2B5EF4-FFF2-40B4-BE49-F238E27FC236}">
                <a16:creationId xmlns:a16="http://schemas.microsoft.com/office/drawing/2014/main" id="{82229051-FB6A-4F95-9ED5-8D19A1E311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+mn-ea"/>
              <a:cs typeface="Arial"/>
              <a:sym typeface="Arial"/>
            </a:endParaRP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1127417D-B58F-4038-AF6F-26FEFD2231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-322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+mn-ea"/>
              <a:cs typeface="Arial"/>
              <a:sym typeface="Arial"/>
            </a:endParaRP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11FD2BB5-BA35-4DB4-B4E2-A80B1F8068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00" y="1201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+mn-ea"/>
              <a:cs typeface="Arial"/>
              <a:sym typeface="Arial"/>
            </a:endParaRPr>
          </a:p>
        </p:txBody>
      </p:sp>
      <p:sp>
        <p:nvSpPr>
          <p:cNvPr id="16" name="Freeform 2">
            <a:extLst>
              <a:ext uri="{FF2B5EF4-FFF2-40B4-BE49-F238E27FC236}">
                <a16:creationId xmlns:a16="http://schemas.microsoft.com/office/drawing/2014/main" id="{6A83F34B-CE53-462A-9330-9765AA5E8CB3}"/>
              </a:ext>
            </a:extLst>
          </p:cNvPr>
          <p:cNvSpPr/>
          <p:nvPr/>
        </p:nvSpPr>
        <p:spPr>
          <a:xfrm>
            <a:off x="3272117" y="3236259"/>
            <a:ext cx="1801577" cy="2194045"/>
          </a:xfrm>
          <a:custGeom>
            <a:avLst/>
            <a:gdLst/>
            <a:ahLst/>
            <a:cxnLst/>
            <a:rect l="l" t="t" r="r" b="b"/>
            <a:pathLst>
              <a:path w="4407761" h="4369193">
                <a:moveTo>
                  <a:pt x="0" y="0"/>
                </a:moveTo>
                <a:lnTo>
                  <a:pt x="4407761" y="0"/>
                </a:lnTo>
                <a:lnTo>
                  <a:pt x="4407761" y="4369193"/>
                </a:lnTo>
                <a:lnTo>
                  <a:pt x="0" y="4369193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" pitchFamily="2" charset="77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937614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">
          <a:extLst>
            <a:ext uri="{FF2B5EF4-FFF2-40B4-BE49-F238E27FC236}">
              <a16:creationId xmlns:a16="http://schemas.microsoft.com/office/drawing/2014/main" id="{BF9782D3-1054-B89B-718A-2C3926BFB0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7" name="Google Shape;127;p3">
            <a:extLst>
              <a:ext uri="{FF2B5EF4-FFF2-40B4-BE49-F238E27FC236}">
                <a16:creationId xmlns:a16="http://schemas.microsoft.com/office/drawing/2014/main" id="{9C712BC7-D11E-61EA-5111-9F17D498D41A}"/>
              </a:ext>
            </a:extLst>
          </p:cNvPr>
          <p:cNvCxnSpPr/>
          <p:nvPr/>
        </p:nvCxnSpPr>
        <p:spPr>
          <a:xfrm rot="1988">
            <a:off x="606424" y="6335713"/>
            <a:ext cx="10979152" cy="0"/>
          </a:xfrm>
          <a:prstGeom prst="straightConnector1">
            <a:avLst/>
          </a:prstGeom>
          <a:noFill/>
          <a:ln w="9525" cap="rnd" cmpd="sng">
            <a:solidFill>
              <a:srgbClr val="79818A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5" name="Google Shape;135;p3">
            <a:extLst>
              <a:ext uri="{FF2B5EF4-FFF2-40B4-BE49-F238E27FC236}">
                <a16:creationId xmlns:a16="http://schemas.microsoft.com/office/drawing/2014/main" id="{E53ACE4B-D0BA-96A0-8827-74800FBB1B44}"/>
              </a:ext>
            </a:extLst>
          </p:cNvPr>
          <p:cNvSpPr/>
          <p:nvPr/>
        </p:nvSpPr>
        <p:spPr>
          <a:xfrm>
            <a:off x="8839200" y="6356351"/>
            <a:ext cx="2743200" cy="365125"/>
          </a:xfrm>
          <a:custGeom>
            <a:avLst/>
            <a:gdLst/>
            <a:ahLst/>
            <a:cxnLst/>
            <a:rect l="l" t="t" r="r" b="b"/>
            <a:pathLst>
              <a:path w="5486400" h="730250" extrusionOk="0">
                <a:moveTo>
                  <a:pt x="0" y="0"/>
                </a:moveTo>
                <a:lnTo>
                  <a:pt x="5486400" y="0"/>
                </a:lnTo>
                <a:lnTo>
                  <a:pt x="5486400" y="730250"/>
                </a:lnTo>
                <a:lnTo>
                  <a:pt x="0" y="73025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/>
          <a:p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37" name="Google Shape;137;p3">
            <a:extLst>
              <a:ext uri="{FF2B5EF4-FFF2-40B4-BE49-F238E27FC236}">
                <a16:creationId xmlns:a16="http://schemas.microsoft.com/office/drawing/2014/main" id="{81D0AD9E-EFDA-BA4B-6963-CDA579FA03D3}"/>
              </a:ext>
            </a:extLst>
          </p:cNvPr>
          <p:cNvGrpSpPr/>
          <p:nvPr/>
        </p:nvGrpSpPr>
        <p:grpSpPr>
          <a:xfrm>
            <a:off x="609600" y="6356350"/>
            <a:ext cx="4114800" cy="365125"/>
            <a:chOff x="0" y="0"/>
            <a:chExt cx="8229600" cy="730250"/>
          </a:xfrm>
        </p:grpSpPr>
        <p:sp>
          <p:nvSpPr>
            <p:cNvPr id="138" name="Google Shape;138;p3">
              <a:extLst>
                <a:ext uri="{FF2B5EF4-FFF2-40B4-BE49-F238E27FC236}">
                  <a16:creationId xmlns:a16="http://schemas.microsoft.com/office/drawing/2014/main" id="{D322191F-9267-232F-FF76-D05867DA4009}"/>
                </a:ext>
              </a:extLst>
            </p:cNvPr>
            <p:cNvSpPr/>
            <p:nvPr/>
          </p:nvSpPr>
          <p:spPr>
            <a:xfrm>
              <a:off x="0" y="0"/>
              <a:ext cx="8229600" cy="730250"/>
            </a:xfrm>
            <a:custGeom>
              <a:avLst/>
              <a:gdLst/>
              <a:ahLst/>
              <a:cxnLst/>
              <a:rect l="l" t="t" r="r" b="b"/>
              <a:pathLst>
                <a:path w="8229600" h="730250" extrusionOk="0">
                  <a:moveTo>
                    <a:pt x="0" y="0"/>
                  </a:moveTo>
                  <a:lnTo>
                    <a:pt x="8229600" y="0"/>
                  </a:lnTo>
                  <a:lnTo>
                    <a:pt x="82296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139;p3">
              <a:extLst>
                <a:ext uri="{FF2B5EF4-FFF2-40B4-BE49-F238E27FC236}">
                  <a16:creationId xmlns:a16="http://schemas.microsoft.com/office/drawing/2014/main" id="{B8B7E7C4-059B-6E03-C608-109800988EDA}"/>
                </a:ext>
              </a:extLst>
            </p:cNvPr>
            <p:cNvSpPr txBox="1"/>
            <p:nvPr/>
          </p:nvSpPr>
          <p:spPr>
            <a:xfrm>
              <a:off x="0" y="0"/>
              <a:ext cx="82296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>
                  <a:solidFill>
                    <a:srgbClr val="939699"/>
                  </a:solidFill>
                  <a:latin typeface="Arial"/>
                  <a:ea typeface="Arial"/>
                  <a:cs typeface="Arial"/>
                  <a:sym typeface="Arial"/>
                </a:rPr>
                <a:t>Illinois Perinatal Quality Collaborative</a:t>
              </a:r>
              <a:endParaRPr sz="1200"/>
            </a:p>
          </p:txBody>
        </p:sp>
      </p:grpSp>
      <p:sp>
        <p:nvSpPr>
          <p:cNvPr id="5" name="TextBox 7">
            <a:extLst>
              <a:ext uri="{FF2B5EF4-FFF2-40B4-BE49-F238E27FC236}">
                <a16:creationId xmlns:a16="http://schemas.microsoft.com/office/drawing/2014/main" id="{7E0BE9CE-F8A8-E3F9-2BC8-3009F2BA952B}"/>
              </a:ext>
            </a:extLst>
          </p:cNvPr>
          <p:cNvSpPr txBox="1"/>
          <p:nvPr/>
        </p:nvSpPr>
        <p:spPr>
          <a:xfrm>
            <a:off x="1230" y="1365576"/>
            <a:ext cx="4105358" cy="554748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b="1" dirty="0">
                <a:solidFill>
                  <a:srgbClr val="002060"/>
                </a:solidFill>
                <a:latin typeface="Calibri"/>
              </a:rPr>
              <a:t>Showcase Impact</a:t>
            </a:r>
            <a:r>
              <a:rPr lang="en-US" sz="2400" dirty="0">
                <a:solidFill>
                  <a:srgbClr val="002060"/>
                </a:solidFill>
                <a:latin typeface="Calibri"/>
              </a:rPr>
              <a:t>: Highlight meaningful outcomes of your team's work whether in improving outcomes, progress made, engaging staff, or building stronger patient/community partnerships</a:t>
            </a:r>
            <a:endParaRPr lang="en-US" sz="2400" dirty="0">
              <a:solidFill>
                <a:srgbClr val="002060"/>
              </a:solidFill>
              <a:latin typeface="Calibri"/>
              <a:ea typeface="Calibri"/>
              <a:cs typeface="Calibri"/>
            </a:endParaRPr>
          </a:p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0" i="0" u="none" strike="noStrike" kern="0" cap="none" spc="0" baseline="0" dirty="0">
              <a:solidFill>
                <a:srgbClr val="002060"/>
              </a:solidFill>
              <a:uFillTx/>
              <a:latin typeface="Calibri"/>
              <a:ea typeface="Calibri"/>
              <a:cs typeface="Calibri"/>
            </a:endParaRPr>
          </a:p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i="0" u="none" strike="noStrike" cap="none" spc="0" baseline="0" dirty="0">
              <a:solidFill>
                <a:srgbClr val="002060"/>
              </a:solidFill>
              <a:uFillTx/>
              <a:latin typeface="Calibri"/>
              <a:ea typeface="Calibri"/>
              <a:cs typeface="Calibri"/>
            </a:endParaRPr>
          </a:p>
          <a:p>
            <a:pPr marL="237490" lvl="1" defTabSz="609539">
              <a:lnSpc>
                <a:spcPts val="3080"/>
              </a:lnSpc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kern="0" dirty="0">
              <a:solidFill>
                <a:srgbClr val="002060"/>
              </a:solidFill>
              <a:latin typeface="Calibri"/>
              <a:ea typeface="Calibri"/>
              <a:cs typeface="Calibri"/>
            </a:endParaRPr>
          </a:p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kern="0" dirty="0">
              <a:solidFill>
                <a:srgbClr val="002060"/>
              </a:solidFill>
              <a:latin typeface="Calibri"/>
              <a:ea typeface="Calibri"/>
              <a:cs typeface="Calibri"/>
            </a:endParaRPr>
          </a:p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kern="0" dirty="0">
              <a:solidFill>
                <a:srgbClr val="336352"/>
              </a:solidFill>
              <a:latin typeface="RoxboroughCF"/>
              <a:ea typeface="Calibri"/>
              <a:cs typeface="Calibri"/>
            </a:endParaRPr>
          </a:p>
          <a:p>
            <a:pPr marL="474345" lvl="1" indent="-236855" defTabSz="609539">
              <a:lnSpc>
                <a:spcPts val="3080"/>
              </a:lnSpc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1" kern="0" dirty="0">
              <a:solidFill>
                <a:srgbClr val="336352"/>
              </a:solidFill>
              <a:latin typeface="Calibri"/>
              <a:ea typeface="RoxboroughCF Bold"/>
              <a:cs typeface="RoxboroughCF Bold"/>
            </a:endParaRPr>
          </a:p>
        </p:txBody>
      </p:sp>
      <p:sp>
        <p:nvSpPr>
          <p:cNvPr id="6" name="Google Shape;130;p3">
            <a:extLst>
              <a:ext uri="{FF2B5EF4-FFF2-40B4-BE49-F238E27FC236}">
                <a16:creationId xmlns:a16="http://schemas.microsoft.com/office/drawing/2014/main" id="{3DF8B9EB-B640-413E-0593-AD586DE58184}"/>
              </a:ext>
            </a:extLst>
          </p:cNvPr>
          <p:cNvSpPr txBox="1"/>
          <p:nvPr/>
        </p:nvSpPr>
        <p:spPr>
          <a:xfrm>
            <a:off x="153343" y="4660"/>
            <a:ext cx="8454887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en-US" sz="3600" b="1" dirty="0">
                <a:solidFill>
                  <a:srgbClr val="1C498B"/>
                </a:solidFill>
                <a:latin typeface="Arial"/>
                <a:cs typeface="Arial"/>
                <a:sym typeface="Arial"/>
              </a:rPr>
              <a:t>Final Reflections </a:t>
            </a:r>
          </a:p>
        </p:txBody>
      </p:sp>
      <p:sp>
        <p:nvSpPr>
          <p:cNvPr id="13" name="Arrow: Bent 12">
            <a:extLst>
              <a:ext uri="{FF2B5EF4-FFF2-40B4-BE49-F238E27FC236}">
                <a16:creationId xmlns:a16="http://schemas.microsoft.com/office/drawing/2014/main" id="{4E46D576-FAC8-57BA-098E-E230215613F3}"/>
              </a:ext>
            </a:extLst>
          </p:cNvPr>
          <p:cNvSpPr/>
          <p:nvPr/>
        </p:nvSpPr>
        <p:spPr>
          <a:xfrm rot="16200000">
            <a:off x="9670762" y="4642834"/>
            <a:ext cx="874813" cy="1290435"/>
          </a:xfrm>
          <a:prstGeom prst="ben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3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47E78473-EB99-D550-07F7-D5D6FA3DC4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1941" y="718869"/>
            <a:ext cx="7353139" cy="5405887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262494771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">
          <a:extLst>
            <a:ext uri="{FF2B5EF4-FFF2-40B4-BE49-F238E27FC236}">
              <a16:creationId xmlns:a16="http://schemas.microsoft.com/office/drawing/2014/main" id="{DCF9A422-F389-2CBA-7AB4-3FB1FB49B5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7" name="Google Shape;127;p3">
            <a:extLst>
              <a:ext uri="{FF2B5EF4-FFF2-40B4-BE49-F238E27FC236}">
                <a16:creationId xmlns:a16="http://schemas.microsoft.com/office/drawing/2014/main" id="{5181AF5C-5005-FA6D-E2EB-AB4948B0C5A4}"/>
              </a:ext>
            </a:extLst>
          </p:cNvPr>
          <p:cNvCxnSpPr/>
          <p:nvPr/>
        </p:nvCxnSpPr>
        <p:spPr>
          <a:xfrm rot="1988">
            <a:off x="606424" y="6335713"/>
            <a:ext cx="10979152" cy="0"/>
          </a:xfrm>
          <a:prstGeom prst="straightConnector1">
            <a:avLst/>
          </a:prstGeom>
          <a:noFill/>
          <a:ln w="9525" cap="rnd" cmpd="sng">
            <a:solidFill>
              <a:srgbClr val="79818A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5" name="Google Shape;135;p3">
            <a:extLst>
              <a:ext uri="{FF2B5EF4-FFF2-40B4-BE49-F238E27FC236}">
                <a16:creationId xmlns:a16="http://schemas.microsoft.com/office/drawing/2014/main" id="{63E7A400-9167-89DA-FDFB-A5B1C2FD11A2}"/>
              </a:ext>
            </a:extLst>
          </p:cNvPr>
          <p:cNvSpPr/>
          <p:nvPr/>
        </p:nvSpPr>
        <p:spPr>
          <a:xfrm>
            <a:off x="8839200" y="6356351"/>
            <a:ext cx="2743200" cy="365125"/>
          </a:xfrm>
          <a:custGeom>
            <a:avLst/>
            <a:gdLst/>
            <a:ahLst/>
            <a:cxnLst/>
            <a:rect l="l" t="t" r="r" b="b"/>
            <a:pathLst>
              <a:path w="5486400" h="730250" extrusionOk="0">
                <a:moveTo>
                  <a:pt x="0" y="0"/>
                </a:moveTo>
                <a:lnTo>
                  <a:pt x="5486400" y="0"/>
                </a:lnTo>
                <a:lnTo>
                  <a:pt x="5486400" y="730250"/>
                </a:lnTo>
                <a:lnTo>
                  <a:pt x="0" y="73025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/>
          <a:p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37" name="Google Shape;137;p3">
            <a:extLst>
              <a:ext uri="{FF2B5EF4-FFF2-40B4-BE49-F238E27FC236}">
                <a16:creationId xmlns:a16="http://schemas.microsoft.com/office/drawing/2014/main" id="{27D2D3D5-4AC4-238C-2ECF-83875A187AF9}"/>
              </a:ext>
            </a:extLst>
          </p:cNvPr>
          <p:cNvGrpSpPr/>
          <p:nvPr/>
        </p:nvGrpSpPr>
        <p:grpSpPr>
          <a:xfrm>
            <a:off x="609600" y="6356350"/>
            <a:ext cx="4114800" cy="365125"/>
            <a:chOff x="0" y="0"/>
            <a:chExt cx="8229600" cy="730250"/>
          </a:xfrm>
        </p:grpSpPr>
        <p:sp>
          <p:nvSpPr>
            <p:cNvPr id="138" name="Google Shape;138;p3">
              <a:extLst>
                <a:ext uri="{FF2B5EF4-FFF2-40B4-BE49-F238E27FC236}">
                  <a16:creationId xmlns:a16="http://schemas.microsoft.com/office/drawing/2014/main" id="{728B7141-3A82-6B37-B7FE-C17D11F19C1D}"/>
                </a:ext>
              </a:extLst>
            </p:cNvPr>
            <p:cNvSpPr/>
            <p:nvPr/>
          </p:nvSpPr>
          <p:spPr>
            <a:xfrm>
              <a:off x="0" y="0"/>
              <a:ext cx="8229600" cy="730250"/>
            </a:xfrm>
            <a:custGeom>
              <a:avLst/>
              <a:gdLst/>
              <a:ahLst/>
              <a:cxnLst/>
              <a:rect l="l" t="t" r="r" b="b"/>
              <a:pathLst>
                <a:path w="8229600" h="730250" extrusionOk="0">
                  <a:moveTo>
                    <a:pt x="0" y="0"/>
                  </a:moveTo>
                  <a:lnTo>
                    <a:pt x="8229600" y="0"/>
                  </a:lnTo>
                  <a:lnTo>
                    <a:pt x="82296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139;p3">
              <a:extLst>
                <a:ext uri="{FF2B5EF4-FFF2-40B4-BE49-F238E27FC236}">
                  <a16:creationId xmlns:a16="http://schemas.microsoft.com/office/drawing/2014/main" id="{C729152C-2B72-709B-3E81-388985E5D7B7}"/>
                </a:ext>
              </a:extLst>
            </p:cNvPr>
            <p:cNvSpPr txBox="1"/>
            <p:nvPr/>
          </p:nvSpPr>
          <p:spPr>
            <a:xfrm>
              <a:off x="0" y="0"/>
              <a:ext cx="82296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>
                  <a:solidFill>
                    <a:srgbClr val="939699"/>
                  </a:solidFill>
                  <a:latin typeface="Arial"/>
                  <a:ea typeface="Arial"/>
                  <a:cs typeface="Arial"/>
                  <a:sym typeface="Arial"/>
                </a:rPr>
                <a:t>Illinois Perinatal Quality Collaborative</a:t>
              </a:r>
              <a:endParaRPr sz="1200"/>
            </a:p>
          </p:txBody>
        </p:sp>
      </p:grpSp>
      <p:sp>
        <p:nvSpPr>
          <p:cNvPr id="6" name="Google Shape;130;p3">
            <a:extLst>
              <a:ext uri="{FF2B5EF4-FFF2-40B4-BE49-F238E27FC236}">
                <a16:creationId xmlns:a16="http://schemas.microsoft.com/office/drawing/2014/main" id="{7A3F7B8E-FA38-7462-5682-1287610209D7}"/>
              </a:ext>
            </a:extLst>
          </p:cNvPr>
          <p:cNvSpPr txBox="1"/>
          <p:nvPr/>
        </p:nvSpPr>
        <p:spPr>
          <a:xfrm>
            <a:off x="153343" y="4660"/>
            <a:ext cx="8454887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en-US" sz="3600" b="1" dirty="0">
                <a:solidFill>
                  <a:srgbClr val="1C498B"/>
                </a:solidFill>
                <a:latin typeface="Arial"/>
                <a:cs typeface="Arial"/>
                <a:sym typeface="Arial"/>
              </a:rPr>
              <a:t>Attachments &amp; Acknowledgement</a:t>
            </a:r>
            <a:endParaRPr lang="en-US" sz="3600" b="1" dirty="0">
              <a:solidFill>
                <a:srgbClr val="1C498B"/>
              </a:solidFill>
              <a:latin typeface="Arial"/>
              <a:cs typeface="Arial"/>
            </a:endParaRPr>
          </a:p>
        </p:txBody>
      </p:sp>
      <p:pic>
        <p:nvPicPr>
          <p:cNvPr id="2" name="Picture 1" descr="A screenshot of a computer&#10;&#10;AI-generated content may be incorrect.">
            <a:extLst>
              <a:ext uri="{FF2B5EF4-FFF2-40B4-BE49-F238E27FC236}">
                <a16:creationId xmlns:a16="http://schemas.microsoft.com/office/drawing/2014/main" id="{05953730-CB5F-2766-4B1B-490C9C8208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603" y="1337005"/>
            <a:ext cx="8684644" cy="287565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DAE8AD0-7F95-0D2E-7901-C0073466BC25}"/>
              </a:ext>
            </a:extLst>
          </p:cNvPr>
          <p:cNvSpPr txBox="1"/>
          <p:nvPr/>
        </p:nvSpPr>
        <p:spPr>
          <a:xfrm>
            <a:off x="9746197" y="1335158"/>
            <a:ext cx="1848927" cy="116955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8575">
            <a:solidFill>
              <a:schemeClr val="accent2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dirty="0">
                <a:latin typeface="Calibri"/>
                <a:ea typeface="Calibri"/>
                <a:cs typeface="Calibri"/>
              </a:rPr>
              <a:t>Upload any policies you'd like to share or pictures from Respectful Care Breakfasts</a:t>
            </a:r>
            <a:endParaRPr lang="en-US" dirty="0"/>
          </a:p>
        </p:txBody>
      </p:sp>
      <p:sp>
        <p:nvSpPr>
          <p:cNvPr id="9" name="Arrow: Left 8">
            <a:extLst>
              <a:ext uri="{FF2B5EF4-FFF2-40B4-BE49-F238E27FC236}">
                <a16:creationId xmlns:a16="http://schemas.microsoft.com/office/drawing/2014/main" id="{E6180308-3E92-0F10-609D-08A5614010F4}"/>
              </a:ext>
            </a:extLst>
          </p:cNvPr>
          <p:cNvSpPr/>
          <p:nvPr/>
        </p:nvSpPr>
        <p:spPr>
          <a:xfrm>
            <a:off x="8844536" y="1918130"/>
            <a:ext cx="887538" cy="151044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9028B02-0ABD-196F-CB60-AFA1B8C4A83F}"/>
              </a:ext>
            </a:extLst>
          </p:cNvPr>
          <p:cNvSpPr txBox="1"/>
          <p:nvPr/>
        </p:nvSpPr>
        <p:spPr>
          <a:xfrm>
            <a:off x="444045" y="4498176"/>
            <a:ext cx="1848927" cy="95410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8575">
            <a:solidFill>
              <a:schemeClr val="accent2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dirty="0">
                <a:latin typeface="Calibri"/>
                <a:ea typeface="Calibri"/>
                <a:cs typeface="Calibri"/>
              </a:rPr>
              <a:t>Ensure that your data is accurate on your dashboard before submitting</a:t>
            </a:r>
          </a:p>
        </p:txBody>
      </p:sp>
      <p:sp>
        <p:nvSpPr>
          <p:cNvPr id="11" name="Arrow: Left 10">
            <a:extLst>
              <a:ext uri="{FF2B5EF4-FFF2-40B4-BE49-F238E27FC236}">
                <a16:creationId xmlns:a16="http://schemas.microsoft.com/office/drawing/2014/main" id="{B8CD5406-631D-D52C-FCE0-60C89FDDA319}"/>
              </a:ext>
            </a:extLst>
          </p:cNvPr>
          <p:cNvSpPr/>
          <p:nvPr/>
        </p:nvSpPr>
        <p:spPr>
          <a:xfrm rot="5400000">
            <a:off x="-543879" y="3528394"/>
            <a:ext cx="1750180" cy="266063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81833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7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4D982B6E-3E43-C262-85F1-BC9A75D81EC9}"/>
              </a:ext>
            </a:extLst>
          </p:cNvPr>
          <p:cNvSpPr/>
          <p:nvPr/>
        </p:nvSpPr>
        <p:spPr>
          <a:xfrm>
            <a:off x="0" y="0"/>
            <a:ext cx="12191996" cy="6858000"/>
          </a:xfrm>
          <a:custGeom>
            <a:avLst/>
            <a:gdLst>
              <a:gd name="f0" fmla="val w"/>
              <a:gd name="f1" fmla="val h"/>
              <a:gd name="f2" fmla="val 0"/>
              <a:gd name="f3" fmla="val 18288000"/>
              <a:gd name="f4" fmla="val 10287000"/>
              <a:gd name="f5" fmla="*/ f0 1 18288000"/>
              <a:gd name="f6" fmla="*/ f1 1 10287000"/>
              <a:gd name="f7" fmla="+- f4 0 f2"/>
              <a:gd name="f8" fmla="+- f3 0 f2"/>
              <a:gd name="f9" fmla="*/ f8 1 18288000"/>
              <a:gd name="f10" fmla="*/ f7 1 10287000"/>
              <a:gd name="f11" fmla="*/ f2 1 f9"/>
              <a:gd name="f12" fmla="*/ f3 1 f9"/>
              <a:gd name="f13" fmla="*/ f2 1 f10"/>
              <a:gd name="f14" fmla="*/ f4 1 f10"/>
              <a:gd name="f15" fmla="*/ f11 f5 1"/>
              <a:gd name="f16" fmla="*/ f12 f5 1"/>
              <a:gd name="f17" fmla="*/ f14 f6 1"/>
              <a:gd name="f18" fmla="*/ f13 f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5" t="f18" r="f16" b="f17"/>
            <a:pathLst>
              <a:path w="18288000" h="10287000">
                <a:moveTo>
                  <a:pt x="f2" y="f2"/>
                </a:moveTo>
                <a:lnTo>
                  <a:pt x="f3" y="f2"/>
                </a:lnTo>
                <a:lnTo>
                  <a:pt x="f3" y="f4"/>
                </a:lnTo>
                <a:lnTo>
                  <a:pt x="f2" y="f4"/>
                </a:lnTo>
                <a:lnTo>
                  <a:pt x="f2" y="f2"/>
                </a:lnTo>
                <a:close/>
              </a:path>
            </a:pathLst>
          </a:custGeom>
          <a:blipFill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cap="flat">
            <a:noFill/>
            <a:prstDash val="solid"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7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800" b="0" i="0" u="none" strike="noStrike" kern="1200" cap="none" spc="0" baseline="0">
              <a:solidFill>
                <a:srgbClr val="444C55"/>
              </a:solidFill>
              <a:uFillTx/>
              <a:latin typeface="Arial"/>
            </a:endParaRPr>
          </a:p>
        </p:txBody>
      </p:sp>
      <p:sp>
        <p:nvSpPr>
          <p:cNvPr id="3" name="Freeform 3">
            <a:extLst>
              <a:ext uri="{FF2B5EF4-FFF2-40B4-BE49-F238E27FC236}">
                <a16:creationId xmlns:a16="http://schemas.microsoft.com/office/drawing/2014/main" id="{3FECDD28-8EAC-92E6-D308-AE200D9DBF27}"/>
              </a:ext>
            </a:extLst>
          </p:cNvPr>
          <p:cNvSpPr/>
          <p:nvPr/>
        </p:nvSpPr>
        <p:spPr>
          <a:xfrm>
            <a:off x="685800" y="1684216"/>
            <a:ext cx="10820396" cy="3489578"/>
          </a:xfrm>
          <a:custGeom>
            <a:avLst/>
            <a:gdLst>
              <a:gd name="f0" fmla="val w"/>
              <a:gd name="f1" fmla="val h"/>
              <a:gd name="f2" fmla="val 0"/>
              <a:gd name="f3" fmla="val 16230600"/>
              <a:gd name="f4" fmla="val 5234368"/>
              <a:gd name="f5" fmla="*/ f0 1 16230600"/>
              <a:gd name="f6" fmla="*/ f1 1 5234368"/>
              <a:gd name="f7" fmla="+- f4 0 f2"/>
              <a:gd name="f8" fmla="+- f3 0 f2"/>
              <a:gd name="f9" fmla="*/ f8 1 16230600"/>
              <a:gd name="f10" fmla="*/ f7 1 5234368"/>
              <a:gd name="f11" fmla="*/ f2 1 f9"/>
              <a:gd name="f12" fmla="*/ f3 1 f9"/>
              <a:gd name="f13" fmla="*/ f2 1 f10"/>
              <a:gd name="f14" fmla="*/ f4 1 f10"/>
              <a:gd name="f15" fmla="*/ f11 f5 1"/>
              <a:gd name="f16" fmla="*/ f12 f5 1"/>
              <a:gd name="f17" fmla="*/ f14 f6 1"/>
              <a:gd name="f18" fmla="*/ f13 f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5" t="f18" r="f16" b="f17"/>
            <a:pathLst>
              <a:path w="16230600" h="5234368">
                <a:moveTo>
                  <a:pt x="f2" y="f2"/>
                </a:moveTo>
                <a:lnTo>
                  <a:pt x="f3" y="f2"/>
                </a:lnTo>
                <a:lnTo>
                  <a:pt x="f3" y="f4"/>
                </a:lnTo>
                <a:lnTo>
                  <a:pt x="f2" y="f4"/>
                </a:lnTo>
                <a:lnTo>
                  <a:pt x="f2" y="f2"/>
                </a:lnTo>
                <a:close/>
              </a:path>
            </a:pathLst>
          </a:custGeom>
          <a:blipFill>
            <a:blip r:embed="rId4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cap="flat">
            <a:noFill/>
            <a:prstDash val="solid"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7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800" b="0" i="0" u="none" strike="noStrike" kern="1200" cap="none" spc="0" baseline="0">
              <a:solidFill>
                <a:srgbClr val="444C55"/>
              </a:solidFill>
              <a:uFillTx/>
              <a:latin typeface="Arial"/>
            </a:endParaRPr>
          </a:p>
        </p:txBody>
      </p:sp>
      <p:sp>
        <p:nvSpPr>
          <p:cNvPr id="4" name="Freeform 4">
            <a:extLst>
              <a:ext uri="{FF2B5EF4-FFF2-40B4-BE49-F238E27FC236}">
                <a16:creationId xmlns:a16="http://schemas.microsoft.com/office/drawing/2014/main" id="{CB54F6A5-35F2-1129-0CBF-C91110FBC74E}"/>
              </a:ext>
            </a:extLst>
          </p:cNvPr>
          <p:cNvSpPr/>
          <p:nvPr/>
        </p:nvSpPr>
        <p:spPr>
          <a:xfrm>
            <a:off x="954770" y="5173785"/>
            <a:ext cx="1436558" cy="998415"/>
          </a:xfrm>
          <a:custGeom>
            <a:avLst/>
            <a:gdLst>
              <a:gd name="f0" fmla="val w"/>
              <a:gd name="f1" fmla="val h"/>
              <a:gd name="f2" fmla="val 0"/>
              <a:gd name="f3" fmla="val 2154843"/>
              <a:gd name="f4" fmla="val 1497616"/>
              <a:gd name="f5" fmla="*/ f0 1 2154843"/>
              <a:gd name="f6" fmla="*/ f1 1 1497616"/>
              <a:gd name="f7" fmla="+- f4 0 f2"/>
              <a:gd name="f8" fmla="+- f3 0 f2"/>
              <a:gd name="f9" fmla="*/ f8 1 2154843"/>
              <a:gd name="f10" fmla="*/ f7 1 1497616"/>
              <a:gd name="f11" fmla="*/ f2 1 f9"/>
              <a:gd name="f12" fmla="*/ f3 1 f9"/>
              <a:gd name="f13" fmla="*/ f2 1 f10"/>
              <a:gd name="f14" fmla="*/ f4 1 f10"/>
              <a:gd name="f15" fmla="*/ f11 f5 1"/>
              <a:gd name="f16" fmla="*/ f12 f5 1"/>
              <a:gd name="f17" fmla="*/ f14 f6 1"/>
              <a:gd name="f18" fmla="*/ f13 f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5" t="f18" r="f16" b="f17"/>
            <a:pathLst>
              <a:path w="2154843" h="1497616">
                <a:moveTo>
                  <a:pt x="f2" y="f2"/>
                </a:moveTo>
                <a:lnTo>
                  <a:pt x="f3" y="f2"/>
                </a:lnTo>
                <a:lnTo>
                  <a:pt x="f3" y="f4"/>
                </a:lnTo>
                <a:lnTo>
                  <a:pt x="f2" y="f4"/>
                </a:lnTo>
                <a:lnTo>
                  <a:pt x="f2" y="f2"/>
                </a:lnTo>
                <a:close/>
              </a:path>
            </a:pathLst>
          </a:custGeom>
          <a:blipFill>
            <a:blip r:embed="rId5">
              <a:alphaModFix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  <a:ln cap="flat">
            <a:noFill/>
            <a:prstDash val="solid"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7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800" b="0" i="0" u="none" strike="noStrike" kern="1200" cap="none" spc="0" baseline="0">
              <a:solidFill>
                <a:srgbClr val="444C55"/>
              </a:solidFill>
              <a:uFillTx/>
              <a:latin typeface="Arial"/>
            </a:endParaRP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A2B2A264-7367-22D6-B41C-FEDB9EE628FB}"/>
              </a:ext>
            </a:extLst>
          </p:cNvPr>
          <p:cNvSpPr/>
          <p:nvPr/>
        </p:nvSpPr>
        <p:spPr>
          <a:xfrm>
            <a:off x="3512321" y="5173784"/>
            <a:ext cx="808165" cy="1063374"/>
          </a:xfrm>
          <a:custGeom>
            <a:avLst/>
            <a:gdLst>
              <a:gd name="f0" fmla="val w"/>
              <a:gd name="f1" fmla="val h"/>
              <a:gd name="f2" fmla="val 0"/>
              <a:gd name="f3" fmla="val 1212244"/>
              <a:gd name="f4" fmla="val 1595058"/>
              <a:gd name="f5" fmla="*/ f0 1 1212244"/>
              <a:gd name="f6" fmla="*/ f1 1 1595058"/>
              <a:gd name="f7" fmla="+- f4 0 f2"/>
              <a:gd name="f8" fmla="+- f3 0 f2"/>
              <a:gd name="f9" fmla="*/ f8 1 1212244"/>
              <a:gd name="f10" fmla="*/ f7 1 1595058"/>
              <a:gd name="f11" fmla="*/ f2 1 f9"/>
              <a:gd name="f12" fmla="*/ f3 1 f9"/>
              <a:gd name="f13" fmla="*/ f2 1 f10"/>
              <a:gd name="f14" fmla="*/ f4 1 f10"/>
              <a:gd name="f15" fmla="*/ f11 f5 1"/>
              <a:gd name="f16" fmla="*/ f12 f5 1"/>
              <a:gd name="f17" fmla="*/ f14 f6 1"/>
              <a:gd name="f18" fmla="*/ f13 f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5" t="f18" r="f16" b="f17"/>
            <a:pathLst>
              <a:path w="1212244" h="1595058">
                <a:moveTo>
                  <a:pt x="f2" y="f2"/>
                </a:moveTo>
                <a:lnTo>
                  <a:pt x="f3" y="f2"/>
                </a:lnTo>
                <a:lnTo>
                  <a:pt x="f3" y="f4"/>
                </a:lnTo>
                <a:lnTo>
                  <a:pt x="f2" y="f4"/>
                </a:lnTo>
                <a:lnTo>
                  <a:pt x="f2" y="f2"/>
                </a:lnTo>
                <a:close/>
              </a:path>
            </a:pathLst>
          </a:custGeom>
          <a:blipFill>
            <a:blip r:embed="rId7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cap="flat">
            <a:noFill/>
            <a:prstDash val="solid"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7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800" b="0" i="0" u="none" strike="noStrike" kern="1200" cap="none" spc="0" baseline="0">
              <a:solidFill>
                <a:srgbClr val="444C55"/>
              </a:solidFill>
              <a:uFillTx/>
              <a:latin typeface="Arial"/>
            </a:endParaRPr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id="{60D4ED7A-2C86-FBD7-0C52-4567A2F767B5}"/>
              </a:ext>
            </a:extLst>
          </p:cNvPr>
          <p:cNvSpPr/>
          <p:nvPr/>
        </p:nvSpPr>
        <p:spPr>
          <a:xfrm>
            <a:off x="7693213" y="5197175"/>
            <a:ext cx="1133755" cy="975024"/>
          </a:xfrm>
          <a:custGeom>
            <a:avLst/>
            <a:gdLst>
              <a:gd name="f0" fmla="val w"/>
              <a:gd name="f1" fmla="val h"/>
              <a:gd name="f2" fmla="val 0"/>
              <a:gd name="f3" fmla="val 1700628"/>
              <a:gd name="f4" fmla="val 1462540"/>
              <a:gd name="f5" fmla="*/ f0 1 1700628"/>
              <a:gd name="f6" fmla="*/ f1 1 1462540"/>
              <a:gd name="f7" fmla="+- f4 0 f2"/>
              <a:gd name="f8" fmla="+- f3 0 f2"/>
              <a:gd name="f9" fmla="*/ f8 1 1700628"/>
              <a:gd name="f10" fmla="*/ f7 1 1462540"/>
              <a:gd name="f11" fmla="*/ f2 1 f9"/>
              <a:gd name="f12" fmla="*/ f3 1 f9"/>
              <a:gd name="f13" fmla="*/ f2 1 f10"/>
              <a:gd name="f14" fmla="*/ f4 1 f10"/>
              <a:gd name="f15" fmla="*/ f11 f5 1"/>
              <a:gd name="f16" fmla="*/ f12 f5 1"/>
              <a:gd name="f17" fmla="*/ f14 f6 1"/>
              <a:gd name="f18" fmla="*/ f13 f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5" t="f18" r="f16" b="f17"/>
            <a:pathLst>
              <a:path w="1700628" h="1462540">
                <a:moveTo>
                  <a:pt x="f2" y="f2"/>
                </a:moveTo>
                <a:lnTo>
                  <a:pt x="f3" y="f2"/>
                </a:lnTo>
                <a:lnTo>
                  <a:pt x="f3" y="f4"/>
                </a:lnTo>
                <a:lnTo>
                  <a:pt x="f2" y="f4"/>
                </a:lnTo>
                <a:lnTo>
                  <a:pt x="f2" y="f2"/>
                </a:lnTo>
                <a:close/>
              </a:path>
            </a:pathLst>
          </a:custGeom>
          <a:blipFill>
            <a:blip r:embed="rId8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  <a:ln cap="flat">
            <a:noFill/>
            <a:prstDash val="solid"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7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800" b="0" i="0" u="none" strike="noStrike" kern="1200" cap="none" spc="0" baseline="0">
              <a:solidFill>
                <a:srgbClr val="444C55"/>
              </a:solidFill>
              <a:uFillTx/>
              <a:latin typeface="Arial"/>
            </a:endParaRP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40FA48D4-C2EE-4EC8-A34F-3040609E7247}"/>
              </a:ext>
            </a:extLst>
          </p:cNvPr>
          <p:cNvSpPr/>
          <p:nvPr/>
        </p:nvSpPr>
        <p:spPr>
          <a:xfrm>
            <a:off x="9754061" y="5152370"/>
            <a:ext cx="1228395" cy="981187"/>
          </a:xfrm>
          <a:custGeom>
            <a:avLst/>
            <a:gdLst>
              <a:gd name="f0" fmla="val w"/>
              <a:gd name="f1" fmla="val h"/>
              <a:gd name="f2" fmla="val 0"/>
              <a:gd name="f3" fmla="val 1842599"/>
              <a:gd name="f4" fmla="val 1471776"/>
              <a:gd name="f5" fmla="*/ f0 1 1842599"/>
              <a:gd name="f6" fmla="*/ f1 1 1471776"/>
              <a:gd name="f7" fmla="+- f4 0 f2"/>
              <a:gd name="f8" fmla="+- f3 0 f2"/>
              <a:gd name="f9" fmla="*/ f8 1 1842599"/>
              <a:gd name="f10" fmla="*/ f7 1 1471776"/>
              <a:gd name="f11" fmla="*/ f2 1 f9"/>
              <a:gd name="f12" fmla="*/ f3 1 f9"/>
              <a:gd name="f13" fmla="*/ f2 1 f10"/>
              <a:gd name="f14" fmla="*/ f4 1 f10"/>
              <a:gd name="f15" fmla="*/ f11 f5 1"/>
              <a:gd name="f16" fmla="*/ f12 f5 1"/>
              <a:gd name="f17" fmla="*/ f14 f6 1"/>
              <a:gd name="f18" fmla="*/ f13 f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5" t="f18" r="f16" b="f17"/>
            <a:pathLst>
              <a:path w="1842599" h="1471776">
                <a:moveTo>
                  <a:pt x="f2" y="f2"/>
                </a:moveTo>
                <a:lnTo>
                  <a:pt x="f3" y="f2"/>
                </a:lnTo>
                <a:lnTo>
                  <a:pt x="f3" y="f4"/>
                </a:lnTo>
                <a:lnTo>
                  <a:pt x="f2" y="f4"/>
                </a:lnTo>
                <a:lnTo>
                  <a:pt x="f2" y="f2"/>
                </a:lnTo>
                <a:close/>
              </a:path>
            </a:pathLst>
          </a:custGeom>
          <a:blipFill>
            <a:blip r:embed="rId10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  <a:ln cap="flat">
            <a:noFill/>
            <a:prstDash val="solid"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7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800" b="0" i="0" u="none" strike="noStrike" kern="1200" cap="none" spc="0" baseline="0">
              <a:solidFill>
                <a:srgbClr val="444C55"/>
              </a:solidFill>
              <a:uFillTx/>
              <a:latin typeface="Arial"/>
            </a:endParaRPr>
          </a:p>
        </p:txBody>
      </p:sp>
      <p:sp>
        <p:nvSpPr>
          <p:cNvPr id="8" name="TextBox 9">
            <a:extLst>
              <a:ext uri="{FF2B5EF4-FFF2-40B4-BE49-F238E27FC236}">
                <a16:creationId xmlns:a16="http://schemas.microsoft.com/office/drawing/2014/main" id="{BAB7EFC6-9F50-430A-7B9A-B73FDE45D10D}"/>
              </a:ext>
            </a:extLst>
          </p:cNvPr>
          <p:cNvSpPr txBox="1"/>
          <p:nvPr/>
        </p:nvSpPr>
        <p:spPr>
          <a:xfrm>
            <a:off x="79828" y="-76196"/>
            <a:ext cx="12032342" cy="142814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9570">
              <a:lnSpc>
                <a:spcPts val="5696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000" b="1" kern="0" dirty="0">
                <a:solidFill>
                  <a:srgbClr val="1C498B"/>
                </a:solidFill>
                <a:latin typeface="Calibri"/>
              </a:rPr>
              <a:t>Completing your Journey to</a:t>
            </a:r>
            <a:r>
              <a:rPr lang="en-US" sz="4000" b="1" i="0" u="none" strike="noStrike" kern="0" cap="none" spc="0" baseline="0" dirty="0">
                <a:solidFill>
                  <a:srgbClr val="1C498B"/>
                </a:solidFill>
                <a:uFillTx/>
                <a:latin typeface="Calibri"/>
              </a:rPr>
              <a:t> </a:t>
            </a:r>
            <a:r>
              <a:rPr lang="en-US" sz="4000" b="1" kern="0" dirty="0">
                <a:solidFill>
                  <a:srgbClr val="1C498B"/>
                </a:solidFill>
                <a:latin typeface="Calibri"/>
              </a:rPr>
              <a:t>IL Birthing</a:t>
            </a:r>
            <a:r>
              <a:rPr lang="en-US" sz="4000" b="1" i="0" u="none" strike="noStrike" kern="0" cap="none" spc="0" baseline="0" dirty="0">
                <a:solidFill>
                  <a:srgbClr val="1C498B"/>
                </a:solidFill>
                <a:uFillTx/>
                <a:latin typeface="Calibri"/>
              </a:rPr>
              <a:t> Hospital Quality Excellence Award Designation</a:t>
            </a:r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1FECF6C0-04FC-8F15-38AA-33B6326CFEBC}"/>
              </a:ext>
            </a:extLst>
          </p:cNvPr>
          <p:cNvSpPr txBox="1"/>
          <p:nvPr/>
        </p:nvSpPr>
        <p:spPr>
          <a:xfrm>
            <a:off x="880485" y="2861570"/>
            <a:ext cx="1681481" cy="186813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70" rtl="0" fontAlgn="auto" hangingPunct="1">
              <a:lnSpc>
                <a:spcPts val="3676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600" b="0" i="0" u="none" strike="noStrike" kern="1200" cap="none" spc="0" baseline="0">
                <a:solidFill>
                  <a:srgbClr val="336352"/>
                </a:solidFill>
                <a:uFillTx/>
                <a:latin typeface="Calibri"/>
                <a:ea typeface="RoxboroughCF"/>
                <a:cs typeface="RoxboroughCF"/>
              </a:rPr>
              <a:t>Submit Monthly REDCap Data</a:t>
            </a:r>
          </a:p>
        </p:txBody>
      </p:sp>
      <p:sp>
        <p:nvSpPr>
          <p:cNvPr id="10" name="TextBox 11">
            <a:extLst>
              <a:ext uri="{FF2B5EF4-FFF2-40B4-BE49-F238E27FC236}">
                <a16:creationId xmlns:a16="http://schemas.microsoft.com/office/drawing/2014/main" id="{98A464CA-FE52-10CE-7873-7D7BA8F1232C}"/>
              </a:ext>
            </a:extLst>
          </p:cNvPr>
          <p:cNvSpPr txBox="1"/>
          <p:nvPr/>
        </p:nvSpPr>
        <p:spPr>
          <a:xfrm>
            <a:off x="3079014" y="2864102"/>
            <a:ext cx="1654442" cy="129083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70" rtl="0" fontAlgn="auto" hangingPunct="1">
              <a:lnSpc>
                <a:spcPts val="3376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b="0" i="0" u="none" strike="noStrike" kern="1200" cap="none" spc="0" baseline="0">
                <a:solidFill>
                  <a:srgbClr val="336352"/>
                </a:solidFill>
                <a:uFillTx/>
                <a:latin typeface="Calibri"/>
                <a:ea typeface="RoxboroughCF"/>
                <a:cs typeface="RoxboroughCF"/>
              </a:rPr>
              <a:t>Implement  Mini-Grant QI activities </a:t>
            </a:r>
          </a:p>
        </p:txBody>
      </p:sp>
      <p:sp>
        <p:nvSpPr>
          <p:cNvPr id="11" name="TextBox 12">
            <a:extLst>
              <a:ext uri="{FF2B5EF4-FFF2-40B4-BE49-F238E27FC236}">
                <a16:creationId xmlns:a16="http://schemas.microsoft.com/office/drawing/2014/main" id="{AEB90C3E-A2E8-8A41-8AA3-66372C9DE4B4}"/>
              </a:ext>
            </a:extLst>
          </p:cNvPr>
          <p:cNvSpPr txBox="1"/>
          <p:nvPr/>
        </p:nvSpPr>
        <p:spPr>
          <a:xfrm>
            <a:off x="5229856" y="2874270"/>
            <a:ext cx="1681481" cy="128112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70" rtl="0" fontAlgn="auto" hangingPunct="1">
              <a:lnSpc>
                <a:spcPts val="3396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b="0" i="0" u="none" strike="noStrike" kern="1200" cap="none" spc="0" baseline="0">
                <a:solidFill>
                  <a:srgbClr val="336352"/>
                </a:solidFill>
                <a:uFillTx/>
                <a:latin typeface="Calibri"/>
                <a:ea typeface="RoxboroughCF"/>
                <a:cs typeface="RoxboroughCF"/>
              </a:rPr>
              <a:t>Participate in QI Support with ILPQC</a:t>
            </a:r>
          </a:p>
        </p:txBody>
      </p:sp>
      <p:sp>
        <p:nvSpPr>
          <p:cNvPr id="12" name="TextBox 13">
            <a:extLst>
              <a:ext uri="{FF2B5EF4-FFF2-40B4-BE49-F238E27FC236}">
                <a16:creationId xmlns:a16="http://schemas.microsoft.com/office/drawing/2014/main" id="{CEEF2117-6F51-0BFD-4C5B-C2286A7E5CD2}"/>
              </a:ext>
            </a:extLst>
          </p:cNvPr>
          <p:cNvSpPr txBox="1"/>
          <p:nvPr/>
        </p:nvSpPr>
        <p:spPr>
          <a:xfrm>
            <a:off x="9558031" y="2874271"/>
            <a:ext cx="1732980" cy="198144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70" rtl="0" fontAlgn="auto" hangingPunct="1">
              <a:lnSpc>
                <a:spcPts val="3115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100" b="1" i="0" u="none" strike="noStrike" kern="1200" cap="none" spc="0" baseline="0" dirty="0">
                <a:uFillTx/>
                <a:latin typeface="Calibri"/>
                <a:ea typeface="RoxboroughCF"/>
                <a:cs typeface="RoxboroughCF"/>
              </a:rPr>
              <a:t>Complete Birth Quality Designation Application by Sept. 30th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A81CA6BF-B22C-C343-65BD-3E1AA52F184D}"/>
              </a:ext>
            </a:extLst>
          </p:cNvPr>
          <p:cNvSpPr txBox="1"/>
          <p:nvPr/>
        </p:nvSpPr>
        <p:spPr>
          <a:xfrm>
            <a:off x="7401136" y="2862858"/>
            <a:ext cx="1699686" cy="130882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9570">
              <a:lnSpc>
                <a:spcPts val="3486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200" b="0" i="0" u="none" strike="noStrike" kern="1200" cap="none" spc="0" baseline="0">
                <a:solidFill>
                  <a:srgbClr val="336352"/>
                </a:solidFill>
                <a:uFillTx/>
                <a:latin typeface="Calibri"/>
                <a:ea typeface="RoxboroughCF"/>
                <a:cs typeface="RoxboroughCF"/>
              </a:rPr>
              <a:t>Attend Next Webinars</a:t>
            </a:r>
            <a:r>
              <a:rPr lang="en-US" sz="2200">
                <a:solidFill>
                  <a:srgbClr val="336352"/>
                </a:solidFill>
                <a:latin typeface="Calibri"/>
                <a:ea typeface="RoxboroughCF"/>
                <a:cs typeface="RoxboroughCF"/>
              </a:rPr>
              <a:t> </a:t>
            </a:r>
            <a:r>
              <a:rPr lang="en-US" sz="2200" b="0" i="0" u="none" strike="noStrike" kern="1200" cap="none" spc="0" baseline="0">
                <a:solidFill>
                  <a:srgbClr val="336352"/>
                </a:solidFill>
                <a:uFillTx/>
                <a:latin typeface="Calibri"/>
                <a:ea typeface="RoxboroughCF"/>
                <a:cs typeface="RoxboroughCF"/>
              </a:rPr>
              <a:t> </a:t>
            </a:r>
          </a:p>
          <a:p>
            <a:pPr algn="ctr" defTabSz="609570">
              <a:lnSpc>
                <a:spcPts val="3486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200" b="0" i="0" u="none" strike="noStrike" kern="1200" cap="none" spc="0" baseline="0">
                <a:solidFill>
                  <a:srgbClr val="336352"/>
                </a:solidFill>
                <a:uFillTx/>
                <a:latin typeface="Calibri"/>
                <a:ea typeface="RoxboroughCF"/>
                <a:cs typeface="RoxboroughCF"/>
              </a:rPr>
              <a:t>September 8th 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23A8D3D-A577-67BB-EFB8-FBD1B7778B6B}"/>
              </a:ext>
            </a:extLst>
          </p:cNvPr>
          <p:cNvSpPr/>
          <p:nvPr/>
        </p:nvSpPr>
        <p:spPr>
          <a:xfrm>
            <a:off x="9193859" y="2566341"/>
            <a:ext cx="2387599" cy="2603499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800"/>
          </a:p>
        </p:txBody>
      </p:sp>
      <p:pic>
        <p:nvPicPr>
          <p:cNvPr id="14" name="Picture 12" descr="PDSA Cycle - The W. Edwards Deming Institute">
            <a:extLst>
              <a:ext uri="{FF2B5EF4-FFF2-40B4-BE49-F238E27FC236}">
                <a16:creationId xmlns:a16="http://schemas.microsoft.com/office/drawing/2014/main" id="{8A06A4BD-3C32-195F-0321-B3F48230D90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9856" y="4933728"/>
            <a:ext cx="1773926" cy="1754962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83941165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1" name="Google Shape;5361;p34"/>
          <p:cNvSpPr/>
          <p:nvPr/>
        </p:nvSpPr>
        <p:spPr>
          <a:xfrm>
            <a:off x="0" y="-1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5362" name="Google Shape;5362;p34"/>
          <p:cNvGrpSpPr/>
          <p:nvPr/>
        </p:nvGrpSpPr>
        <p:grpSpPr>
          <a:xfrm>
            <a:off x="0" y="5019724"/>
            <a:ext cx="12192000" cy="1838895"/>
            <a:chOff x="0" y="5019724"/>
            <a:chExt cx="12192000" cy="1838895"/>
          </a:xfrm>
        </p:grpSpPr>
        <p:sp>
          <p:nvSpPr>
            <p:cNvPr id="5363" name="Google Shape;5363;p34"/>
            <p:cNvSpPr/>
            <p:nvPr/>
          </p:nvSpPr>
          <p:spPr>
            <a:xfrm>
              <a:off x="0" y="5095859"/>
              <a:ext cx="7115175" cy="1762760"/>
            </a:xfrm>
            <a:custGeom>
              <a:avLst/>
              <a:gdLst/>
              <a:ahLst/>
              <a:cxnLst/>
              <a:rect l="l" t="t" r="r" b="b"/>
              <a:pathLst>
                <a:path w="7115175" h="1762759" extrusionOk="0">
                  <a:moveTo>
                    <a:pt x="612604" y="79"/>
                  </a:moveTo>
                  <a:lnTo>
                    <a:pt x="558749" y="0"/>
                  </a:lnTo>
                  <a:lnTo>
                    <a:pt x="504757" y="343"/>
                  </a:lnTo>
                  <a:lnTo>
                    <a:pt x="450629" y="1113"/>
                  </a:lnTo>
                  <a:lnTo>
                    <a:pt x="396364" y="2315"/>
                  </a:lnTo>
                  <a:lnTo>
                    <a:pt x="341960" y="3952"/>
                  </a:lnTo>
                  <a:lnTo>
                    <a:pt x="293138" y="5835"/>
                  </a:lnTo>
                  <a:lnTo>
                    <a:pt x="244415" y="8110"/>
                  </a:lnTo>
                  <a:lnTo>
                    <a:pt x="195788" y="10784"/>
                  </a:lnTo>
                  <a:lnTo>
                    <a:pt x="147255" y="13859"/>
                  </a:lnTo>
                  <a:lnTo>
                    <a:pt x="98813" y="17341"/>
                  </a:lnTo>
                  <a:lnTo>
                    <a:pt x="50462" y="21234"/>
                  </a:lnTo>
                  <a:lnTo>
                    <a:pt x="0" y="25796"/>
                  </a:lnTo>
                  <a:lnTo>
                    <a:pt x="0" y="1762140"/>
                  </a:lnTo>
                  <a:lnTo>
                    <a:pt x="7115175" y="1762140"/>
                  </a:lnTo>
                  <a:lnTo>
                    <a:pt x="6704330" y="1640990"/>
                  </a:lnTo>
                  <a:lnTo>
                    <a:pt x="6611056" y="1611866"/>
                  </a:lnTo>
                  <a:lnTo>
                    <a:pt x="6471146" y="1567351"/>
                  </a:lnTo>
                  <a:lnTo>
                    <a:pt x="6331190" y="1521903"/>
                  </a:lnTo>
                  <a:lnTo>
                    <a:pt x="6191135" y="1475584"/>
                  </a:lnTo>
                  <a:lnTo>
                    <a:pt x="6004150" y="1412585"/>
                  </a:lnTo>
                  <a:lnTo>
                    <a:pt x="5769847" y="1332062"/>
                  </a:lnTo>
                  <a:lnTo>
                    <a:pt x="5487521" y="1233227"/>
                  </a:lnTo>
                  <a:lnTo>
                    <a:pt x="4288404" y="806749"/>
                  </a:lnTo>
                  <a:lnTo>
                    <a:pt x="3992903" y="703643"/>
                  </a:lnTo>
                  <a:lnTo>
                    <a:pt x="3743724" y="618298"/>
                  </a:lnTo>
                  <a:lnTo>
                    <a:pt x="3545715" y="551785"/>
                  </a:lnTo>
                  <a:lnTo>
                    <a:pt x="3451294" y="520764"/>
                  </a:lnTo>
                  <a:lnTo>
                    <a:pt x="3356611" y="490258"/>
                  </a:lnTo>
                  <a:lnTo>
                    <a:pt x="3261657" y="460304"/>
                  </a:lnTo>
                  <a:lnTo>
                    <a:pt x="3166423" y="430941"/>
                  </a:lnTo>
                  <a:lnTo>
                    <a:pt x="3070900" y="402207"/>
                  </a:lnTo>
                  <a:lnTo>
                    <a:pt x="2975079" y="374140"/>
                  </a:lnTo>
                  <a:lnTo>
                    <a:pt x="2878951" y="346778"/>
                  </a:lnTo>
                  <a:lnTo>
                    <a:pt x="2782506" y="320160"/>
                  </a:lnTo>
                  <a:lnTo>
                    <a:pt x="2685737" y="294324"/>
                  </a:lnTo>
                  <a:lnTo>
                    <a:pt x="2588633" y="269308"/>
                  </a:lnTo>
                  <a:lnTo>
                    <a:pt x="2491186" y="245151"/>
                  </a:lnTo>
                  <a:lnTo>
                    <a:pt x="2393387" y="221889"/>
                  </a:lnTo>
                  <a:lnTo>
                    <a:pt x="2295227" y="199563"/>
                  </a:lnTo>
                  <a:lnTo>
                    <a:pt x="2246009" y="188762"/>
                  </a:lnTo>
                  <a:lnTo>
                    <a:pt x="2196697" y="178209"/>
                  </a:lnTo>
                  <a:lnTo>
                    <a:pt x="2147290" y="167909"/>
                  </a:lnTo>
                  <a:lnTo>
                    <a:pt x="2097787" y="157866"/>
                  </a:lnTo>
                  <a:lnTo>
                    <a:pt x="2048188" y="148086"/>
                  </a:lnTo>
                  <a:lnTo>
                    <a:pt x="1998490" y="138573"/>
                  </a:lnTo>
                  <a:lnTo>
                    <a:pt x="1948692" y="129332"/>
                  </a:lnTo>
                  <a:lnTo>
                    <a:pt x="1898795" y="120368"/>
                  </a:lnTo>
                  <a:lnTo>
                    <a:pt x="1848796" y="111684"/>
                  </a:lnTo>
                  <a:lnTo>
                    <a:pt x="1798694" y="103288"/>
                  </a:lnTo>
                  <a:lnTo>
                    <a:pt x="1748488" y="95182"/>
                  </a:lnTo>
                  <a:lnTo>
                    <a:pt x="1698178" y="87372"/>
                  </a:lnTo>
                  <a:lnTo>
                    <a:pt x="1647761" y="79862"/>
                  </a:lnTo>
                  <a:lnTo>
                    <a:pt x="1597238" y="72658"/>
                  </a:lnTo>
                  <a:lnTo>
                    <a:pt x="1546606" y="65763"/>
                  </a:lnTo>
                  <a:lnTo>
                    <a:pt x="1495864" y="59184"/>
                  </a:lnTo>
                  <a:lnTo>
                    <a:pt x="1445012" y="52924"/>
                  </a:lnTo>
                  <a:lnTo>
                    <a:pt x="1394049" y="46989"/>
                  </a:lnTo>
                  <a:lnTo>
                    <a:pt x="1342972" y="41383"/>
                  </a:lnTo>
                  <a:lnTo>
                    <a:pt x="1291782" y="36111"/>
                  </a:lnTo>
                  <a:lnTo>
                    <a:pt x="1240477" y="31178"/>
                  </a:lnTo>
                  <a:lnTo>
                    <a:pt x="1189055" y="26588"/>
                  </a:lnTo>
                  <a:lnTo>
                    <a:pt x="1137516" y="22346"/>
                  </a:lnTo>
                  <a:lnTo>
                    <a:pt x="1085859" y="18458"/>
                  </a:lnTo>
                  <a:lnTo>
                    <a:pt x="1034082" y="14927"/>
                  </a:lnTo>
                  <a:lnTo>
                    <a:pt x="982185" y="11759"/>
                  </a:lnTo>
                  <a:lnTo>
                    <a:pt x="930166" y="8959"/>
                  </a:lnTo>
                  <a:lnTo>
                    <a:pt x="878024" y="6530"/>
                  </a:lnTo>
                  <a:lnTo>
                    <a:pt x="825757" y="4479"/>
                  </a:lnTo>
                  <a:lnTo>
                    <a:pt x="773366" y="2809"/>
                  </a:lnTo>
                  <a:lnTo>
                    <a:pt x="719912" y="1489"/>
                  </a:lnTo>
                  <a:lnTo>
                    <a:pt x="666325" y="577"/>
                  </a:lnTo>
                  <a:lnTo>
                    <a:pt x="61260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5364" name="Google Shape;5364;p34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041899"/>
              <a:ext cx="12192000" cy="18161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365" name="Google Shape;5365;p34"/>
            <p:cNvSpPr/>
            <p:nvPr/>
          </p:nvSpPr>
          <p:spPr>
            <a:xfrm>
              <a:off x="0" y="5019724"/>
              <a:ext cx="12192000" cy="1838325"/>
            </a:xfrm>
            <a:custGeom>
              <a:avLst/>
              <a:gdLst/>
              <a:ahLst/>
              <a:cxnLst/>
              <a:rect l="l" t="t" r="r" b="b"/>
              <a:pathLst>
                <a:path w="12192000" h="1838325" extrusionOk="0">
                  <a:moveTo>
                    <a:pt x="682693" y="0"/>
                  </a:moveTo>
                  <a:lnTo>
                    <a:pt x="631977" y="203"/>
                  </a:lnTo>
                  <a:lnTo>
                    <a:pt x="584149" y="711"/>
                  </a:lnTo>
                  <a:lnTo>
                    <a:pt x="536385" y="1596"/>
                  </a:lnTo>
                  <a:lnTo>
                    <a:pt x="488688" y="2855"/>
                  </a:lnTo>
                  <a:lnTo>
                    <a:pt x="441056" y="4484"/>
                  </a:lnTo>
                  <a:lnTo>
                    <a:pt x="393493" y="6480"/>
                  </a:lnTo>
                  <a:lnTo>
                    <a:pt x="345998" y="8839"/>
                  </a:lnTo>
                  <a:lnTo>
                    <a:pt x="0" y="38176"/>
                  </a:lnTo>
                  <a:lnTo>
                    <a:pt x="0" y="105613"/>
                  </a:lnTo>
                  <a:lnTo>
                    <a:pt x="50435" y="101051"/>
                  </a:lnTo>
                  <a:lnTo>
                    <a:pt x="98760" y="97161"/>
                  </a:lnTo>
                  <a:lnTo>
                    <a:pt x="147174" y="93686"/>
                  </a:lnTo>
                  <a:lnTo>
                    <a:pt x="195680" y="90624"/>
                  </a:lnTo>
                  <a:lnTo>
                    <a:pt x="244279" y="87974"/>
                  </a:lnTo>
                  <a:lnTo>
                    <a:pt x="292975" y="85732"/>
                  </a:lnTo>
                  <a:lnTo>
                    <a:pt x="341769" y="83896"/>
                  </a:lnTo>
                  <a:lnTo>
                    <a:pt x="394500" y="82301"/>
                  </a:lnTo>
                  <a:lnTo>
                    <a:pt x="447100" y="81115"/>
                  </a:lnTo>
                  <a:lnTo>
                    <a:pt x="499570" y="80333"/>
                  </a:lnTo>
                  <a:lnTo>
                    <a:pt x="551912" y="79951"/>
                  </a:lnTo>
                  <a:lnTo>
                    <a:pt x="604125" y="79965"/>
                  </a:lnTo>
                  <a:lnTo>
                    <a:pt x="656212" y="80369"/>
                  </a:lnTo>
                  <a:lnTo>
                    <a:pt x="708174" y="81159"/>
                  </a:lnTo>
                  <a:lnTo>
                    <a:pt x="760011" y="82330"/>
                  </a:lnTo>
                  <a:lnTo>
                    <a:pt x="811724" y="83878"/>
                  </a:lnTo>
                  <a:lnTo>
                    <a:pt x="863316" y="85799"/>
                  </a:lnTo>
                  <a:lnTo>
                    <a:pt x="914786" y="88087"/>
                  </a:lnTo>
                  <a:lnTo>
                    <a:pt x="966136" y="90738"/>
                  </a:lnTo>
                  <a:lnTo>
                    <a:pt x="1017368" y="93748"/>
                  </a:lnTo>
                  <a:lnTo>
                    <a:pt x="1068481" y="97112"/>
                  </a:lnTo>
                  <a:lnTo>
                    <a:pt x="1119477" y="100826"/>
                  </a:lnTo>
                  <a:lnTo>
                    <a:pt x="1170358" y="104884"/>
                  </a:lnTo>
                  <a:lnTo>
                    <a:pt x="1221124" y="109282"/>
                  </a:lnTo>
                  <a:lnTo>
                    <a:pt x="1271777" y="114016"/>
                  </a:lnTo>
                  <a:lnTo>
                    <a:pt x="1322317" y="119081"/>
                  </a:lnTo>
                  <a:lnTo>
                    <a:pt x="1372746" y="124473"/>
                  </a:lnTo>
                  <a:lnTo>
                    <a:pt x="1423064" y="130186"/>
                  </a:lnTo>
                  <a:lnTo>
                    <a:pt x="1473274" y="136217"/>
                  </a:lnTo>
                  <a:lnTo>
                    <a:pt x="1523375" y="142560"/>
                  </a:lnTo>
                  <a:lnTo>
                    <a:pt x="1573369" y="149212"/>
                  </a:lnTo>
                  <a:lnTo>
                    <a:pt x="1623258" y="156167"/>
                  </a:lnTo>
                  <a:lnTo>
                    <a:pt x="1673041" y="163421"/>
                  </a:lnTo>
                  <a:lnTo>
                    <a:pt x="1722721" y="170970"/>
                  </a:lnTo>
                  <a:lnTo>
                    <a:pt x="1772298" y="178808"/>
                  </a:lnTo>
                  <a:lnTo>
                    <a:pt x="1821774" y="186932"/>
                  </a:lnTo>
                  <a:lnTo>
                    <a:pt x="1871149" y="195336"/>
                  </a:lnTo>
                  <a:lnTo>
                    <a:pt x="1920424" y="204016"/>
                  </a:lnTo>
                  <a:lnTo>
                    <a:pt x="1969602" y="212968"/>
                  </a:lnTo>
                  <a:lnTo>
                    <a:pt x="2018682" y="222187"/>
                  </a:lnTo>
                  <a:lnTo>
                    <a:pt x="2067666" y="231668"/>
                  </a:lnTo>
                  <a:lnTo>
                    <a:pt x="2116555" y="241407"/>
                  </a:lnTo>
                  <a:lnTo>
                    <a:pt x="2165350" y="251399"/>
                  </a:lnTo>
                  <a:lnTo>
                    <a:pt x="2214052" y="261639"/>
                  </a:lnTo>
                  <a:lnTo>
                    <a:pt x="2262663" y="272124"/>
                  </a:lnTo>
                  <a:lnTo>
                    <a:pt x="2359613" y="293806"/>
                  </a:lnTo>
                  <a:lnTo>
                    <a:pt x="2456209" y="316410"/>
                  </a:lnTo>
                  <a:lnTo>
                    <a:pt x="2552460" y="339898"/>
                  </a:lnTo>
                  <a:lnTo>
                    <a:pt x="2648374" y="364234"/>
                  </a:lnTo>
                  <a:lnTo>
                    <a:pt x="2743961" y="389381"/>
                  </a:lnTo>
                  <a:lnTo>
                    <a:pt x="2839228" y="415302"/>
                  </a:lnTo>
                  <a:lnTo>
                    <a:pt x="2934185" y="441961"/>
                  </a:lnTo>
                  <a:lnTo>
                    <a:pt x="3028841" y="469321"/>
                  </a:lnTo>
                  <a:lnTo>
                    <a:pt x="3123203" y="497346"/>
                  </a:lnTo>
                  <a:lnTo>
                    <a:pt x="3217281" y="525998"/>
                  </a:lnTo>
                  <a:lnTo>
                    <a:pt x="3311083" y="555241"/>
                  </a:lnTo>
                  <a:lnTo>
                    <a:pt x="3404619" y="585039"/>
                  </a:lnTo>
                  <a:lnTo>
                    <a:pt x="3497896" y="615354"/>
                  </a:lnTo>
                  <a:lnTo>
                    <a:pt x="3590925" y="646151"/>
                  </a:lnTo>
                  <a:lnTo>
                    <a:pt x="3791765" y="713839"/>
                  </a:lnTo>
                  <a:lnTo>
                    <a:pt x="4040248" y="799137"/>
                  </a:lnTo>
                  <a:lnTo>
                    <a:pt x="4334983" y="902103"/>
                  </a:lnTo>
                  <a:lnTo>
                    <a:pt x="5625855" y="1360072"/>
                  </a:lnTo>
                  <a:lnTo>
                    <a:pt x="5907361" y="1457546"/>
                  </a:lnTo>
                  <a:lnTo>
                    <a:pt x="6094434" y="1521066"/>
                  </a:lnTo>
                  <a:lnTo>
                    <a:pt x="6281174" y="1583235"/>
                  </a:lnTo>
                  <a:lnTo>
                    <a:pt x="6421086" y="1628884"/>
                  </a:lnTo>
                  <a:lnTo>
                    <a:pt x="6560935" y="1673621"/>
                  </a:lnTo>
                  <a:lnTo>
                    <a:pt x="6700774" y="1717382"/>
                  </a:lnTo>
                  <a:lnTo>
                    <a:pt x="7111365" y="1838274"/>
                  </a:lnTo>
                  <a:lnTo>
                    <a:pt x="12192000" y="1838274"/>
                  </a:lnTo>
                  <a:lnTo>
                    <a:pt x="12192000" y="1009003"/>
                  </a:lnTo>
                  <a:lnTo>
                    <a:pt x="12147974" y="1028041"/>
                  </a:lnTo>
                  <a:lnTo>
                    <a:pt x="12103691" y="1046752"/>
                  </a:lnTo>
                  <a:lnTo>
                    <a:pt x="12059157" y="1065136"/>
                  </a:lnTo>
                  <a:lnTo>
                    <a:pt x="12014376" y="1083194"/>
                  </a:lnTo>
                  <a:lnTo>
                    <a:pt x="11969352" y="1100926"/>
                  </a:lnTo>
                  <a:lnTo>
                    <a:pt x="11924092" y="1118334"/>
                  </a:lnTo>
                  <a:lnTo>
                    <a:pt x="11878600" y="1135416"/>
                  </a:lnTo>
                  <a:lnTo>
                    <a:pt x="11832881" y="1152175"/>
                  </a:lnTo>
                  <a:lnTo>
                    <a:pt x="11786940" y="1168610"/>
                  </a:lnTo>
                  <a:lnTo>
                    <a:pt x="11740782" y="1184722"/>
                  </a:lnTo>
                  <a:lnTo>
                    <a:pt x="11694411" y="1200512"/>
                  </a:lnTo>
                  <a:lnTo>
                    <a:pt x="11647834" y="1215980"/>
                  </a:lnTo>
                  <a:lnTo>
                    <a:pt x="11601055" y="1231126"/>
                  </a:lnTo>
                  <a:lnTo>
                    <a:pt x="11554079" y="1245952"/>
                  </a:lnTo>
                  <a:lnTo>
                    <a:pt x="11506910" y="1260457"/>
                  </a:lnTo>
                  <a:lnTo>
                    <a:pt x="11459555" y="1274642"/>
                  </a:lnTo>
                  <a:lnTo>
                    <a:pt x="11412017" y="1288509"/>
                  </a:lnTo>
                  <a:lnTo>
                    <a:pt x="11364303" y="1302056"/>
                  </a:lnTo>
                  <a:lnTo>
                    <a:pt x="11316416" y="1315285"/>
                  </a:lnTo>
                  <a:lnTo>
                    <a:pt x="11268362" y="1328197"/>
                  </a:lnTo>
                  <a:lnTo>
                    <a:pt x="11220147" y="1340792"/>
                  </a:lnTo>
                  <a:lnTo>
                    <a:pt x="11171774" y="1353070"/>
                  </a:lnTo>
                  <a:lnTo>
                    <a:pt x="11123248" y="1365031"/>
                  </a:lnTo>
                  <a:lnTo>
                    <a:pt x="11074576" y="1376678"/>
                  </a:lnTo>
                  <a:lnTo>
                    <a:pt x="11025762" y="1388009"/>
                  </a:lnTo>
                  <a:lnTo>
                    <a:pt x="10976810" y="1399026"/>
                  </a:lnTo>
                  <a:lnTo>
                    <a:pt x="10927726" y="1409729"/>
                  </a:lnTo>
                  <a:lnTo>
                    <a:pt x="10878515" y="1420119"/>
                  </a:lnTo>
                  <a:lnTo>
                    <a:pt x="10829182" y="1430195"/>
                  </a:lnTo>
                  <a:lnTo>
                    <a:pt x="10779731" y="1439960"/>
                  </a:lnTo>
                  <a:lnTo>
                    <a:pt x="10730169" y="1449413"/>
                  </a:lnTo>
                  <a:lnTo>
                    <a:pt x="10680499" y="1458554"/>
                  </a:lnTo>
                  <a:lnTo>
                    <a:pt x="10630726" y="1467385"/>
                  </a:lnTo>
                  <a:lnTo>
                    <a:pt x="10580857" y="1475905"/>
                  </a:lnTo>
                  <a:lnTo>
                    <a:pt x="10530895" y="1484116"/>
                  </a:lnTo>
                  <a:lnTo>
                    <a:pt x="10480846" y="1492017"/>
                  </a:lnTo>
                  <a:lnTo>
                    <a:pt x="10430715" y="1499610"/>
                  </a:lnTo>
                  <a:lnTo>
                    <a:pt x="10380506" y="1506895"/>
                  </a:lnTo>
                  <a:lnTo>
                    <a:pt x="10330225" y="1513873"/>
                  </a:lnTo>
                  <a:lnTo>
                    <a:pt x="10279877" y="1520543"/>
                  </a:lnTo>
                  <a:lnTo>
                    <a:pt x="10229466" y="1526907"/>
                  </a:lnTo>
                  <a:lnTo>
                    <a:pt x="10178998" y="1532965"/>
                  </a:lnTo>
                  <a:lnTo>
                    <a:pt x="10128478" y="1538718"/>
                  </a:lnTo>
                  <a:lnTo>
                    <a:pt x="10077910" y="1544166"/>
                  </a:lnTo>
                  <a:lnTo>
                    <a:pt x="10027300" y="1549309"/>
                  </a:lnTo>
                  <a:lnTo>
                    <a:pt x="9976653" y="1554149"/>
                  </a:lnTo>
                  <a:lnTo>
                    <a:pt x="9925973" y="1558685"/>
                  </a:lnTo>
                  <a:lnTo>
                    <a:pt x="9875266" y="1562919"/>
                  </a:lnTo>
                  <a:lnTo>
                    <a:pt x="9824536" y="1566851"/>
                  </a:lnTo>
                  <a:lnTo>
                    <a:pt x="9773789" y="1570480"/>
                  </a:lnTo>
                  <a:lnTo>
                    <a:pt x="9723029" y="1573809"/>
                  </a:lnTo>
                  <a:lnTo>
                    <a:pt x="9672262" y="1576837"/>
                  </a:lnTo>
                  <a:lnTo>
                    <a:pt x="9621493" y="1579565"/>
                  </a:lnTo>
                  <a:lnTo>
                    <a:pt x="9570726" y="1581994"/>
                  </a:lnTo>
                  <a:lnTo>
                    <a:pt x="9519966" y="1584123"/>
                  </a:lnTo>
                  <a:lnTo>
                    <a:pt x="9469219" y="1585954"/>
                  </a:lnTo>
                  <a:lnTo>
                    <a:pt x="9418490" y="1587487"/>
                  </a:lnTo>
                  <a:lnTo>
                    <a:pt x="9367782" y="1588723"/>
                  </a:lnTo>
                  <a:lnTo>
                    <a:pt x="9317103" y="1589661"/>
                  </a:lnTo>
                  <a:lnTo>
                    <a:pt x="9266456" y="1590304"/>
                  </a:lnTo>
                  <a:lnTo>
                    <a:pt x="9215846" y="1590650"/>
                  </a:lnTo>
                  <a:lnTo>
                    <a:pt x="9165279" y="1590702"/>
                  </a:lnTo>
                  <a:lnTo>
                    <a:pt x="9114759" y="1590458"/>
                  </a:lnTo>
                  <a:lnTo>
                    <a:pt x="9064291" y="1589921"/>
                  </a:lnTo>
                  <a:lnTo>
                    <a:pt x="9013881" y="1589089"/>
                  </a:lnTo>
                  <a:lnTo>
                    <a:pt x="8963534" y="1587965"/>
                  </a:lnTo>
                  <a:lnTo>
                    <a:pt x="8913253" y="1586548"/>
                  </a:lnTo>
                  <a:lnTo>
                    <a:pt x="8863046" y="1584839"/>
                  </a:lnTo>
                  <a:lnTo>
                    <a:pt x="8812915" y="1582838"/>
                  </a:lnTo>
                  <a:lnTo>
                    <a:pt x="8762867" y="1580546"/>
                  </a:lnTo>
                  <a:lnTo>
                    <a:pt x="8712906" y="1577964"/>
                  </a:lnTo>
                  <a:lnTo>
                    <a:pt x="8663037" y="1575092"/>
                  </a:lnTo>
                  <a:lnTo>
                    <a:pt x="8613266" y="1571930"/>
                  </a:lnTo>
                  <a:lnTo>
                    <a:pt x="8563597" y="1568480"/>
                  </a:lnTo>
                  <a:lnTo>
                    <a:pt x="8514035" y="1564741"/>
                  </a:lnTo>
                  <a:lnTo>
                    <a:pt x="8464586" y="1560714"/>
                  </a:lnTo>
                  <a:lnTo>
                    <a:pt x="8415254" y="1556401"/>
                  </a:lnTo>
                  <a:lnTo>
                    <a:pt x="8366044" y="1551800"/>
                  </a:lnTo>
                  <a:lnTo>
                    <a:pt x="8316961" y="1546913"/>
                  </a:lnTo>
                  <a:lnTo>
                    <a:pt x="8268011" y="1541740"/>
                  </a:lnTo>
                  <a:lnTo>
                    <a:pt x="8219198" y="1536283"/>
                  </a:lnTo>
                  <a:lnTo>
                    <a:pt x="8170527" y="1530540"/>
                  </a:lnTo>
                  <a:lnTo>
                    <a:pt x="8122003" y="1524514"/>
                  </a:lnTo>
                  <a:lnTo>
                    <a:pt x="8073632" y="1518204"/>
                  </a:lnTo>
                  <a:lnTo>
                    <a:pt x="8025417" y="1511611"/>
                  </a:lnTo>
                  <a:lnTo>
                    <a:pt x="7977365" y="1504736"/>
                  </a:lnTo>
                  <a:lnTo>
                    <a:pt x="7929480" y="1497578"/>
                  </a:lnTo>
                  <a:lnTo>
                    <a:pt x="7881767" y="1490139"/>
                  </a:lnTo>
                  <a:lnTo>
                    <a:pt x="7834231" y="1482420"/>
                  </a:lnTo>
                  <a:lnTo>
                    <a:pt x="7786878" y="1474419"/>
                  </a:lnTo>
                  <a:lnTo>
                    <a:pt x="7738102" y="1465911"/>
                  </a:lnTo>
                  <a:lnTo>
                    <a:pt x="7640468" y="1448268"/>
                  </a:lnTo>
                  <a:lnTo>
                    <a:pt x="7542730" y="1429817"/>
                  </a:lnTo>
                  <a:lnTo>
                    <a:pt x="7444891" y="1410588"/>
                  </a:lnTo>
                  <a:lnTo>
                    <a:pt x="7346956" y="1390615"/>
                  </a:lnTo>
                  <a:lnTo>
                    <a:pt x="7248928" y="1369929"/>
                  </a:lnTo>
                  <a:lnTo>
                    <a:pt x="7150812" y="1348563"/>
                  </a:lnTo>
                  <a:lnTo>
                    <a:pt x="7052613" y="1326549"/>
                  </a:lnTo>
                  <a:lnTo>
                    <a:pt x="6954334" y="1303918"/>
                  </a:lnTo>
                  <a:lnTo>
                    <a:pt x="6855980" y="1280704"/>
                  </a:lnTo>
                  <a:lnTo>
                    <a:pt x="6757555" y="1256937"/>
                  </a:lnTo>
                  <a:lnTo>
                    <a:pt x="6609794" y="1220322"/>
                  </a:lnTo>
                  <a:lnTo>
                    <a:pt x="6461898" y="1182646"/>
                  </a:lnTo>
                  <a:lnTo>
                    <a:pt x="6313880" y="1144018"/>
                  </a:lnTo>
                  <a:lnTo>
                    <a:pt x="6116360" y="1091217"/>
                  </a:lnTo>
                  <a:lnTo>
                    <a:pt x="5918684" y="1037173"/>
                  </a:lnTo>
                  <a:lnTo>
                    <a:pt x="5671422" y="968259"/>
                  </a:lnTo>
                  <a:lnTo>
                    <a:pt x="4632356" y="673291"/>
                  </a:lnTo>
                  <a:lnTo>
                    <a:pt x="4335773" y="590842"/>
                  </a:lnTo>
                  <a:lnTo>
                    <a:pt x="4138233" y="537158"/>
                  </a:lnTo>
                  <a:lnTo>
                    <a:pt x="3940879" y="484797"/>
                  </a:lnTo>
                  <a:lnTo>
                    <a:pt x="3793006" y="446551"/>
                  </a:lnTo>
                  <a:lnTo>
                    <a:pt x="3645271" y="409303"/>
                  </a:lnTo>
                  <a:lnTo>
                    <a:pt x="3497689" y="373160"/>
                  </a:lnTo>
                  <a:lnTo>
                    <a:pt x="3399392" y="349734"/>
                  </a:lnTo>
                  <a:lnTo>
                    <a:pt x="3301174" y="326879"/>
                  </a:lnTo>
                  <a:lnTo>
                    <a:pt x="3203039" y="304628"/>
                  </a:lnTo>
                  <a:lnTo>
                    <a:pt x="3104991" y="283014"/>
                  </a:lnTo>
                  <a:lnTo>
                    <a:pt x="3007034" y="262067"/>
                  </a:lnTo>
                  <a:lnTo>
                    <a:pt x="2909172" y="241822"/>
                  </a:lnTo>
                  <a:lnTo>
                    <a:pt x="2811410" y="222308"/>
                  </a:lnTo>
                  <a:lnTo>
                    <a:pt x="2713753" y="203560"/>
                  </a:lnTo>
                  <a:lnTo>
                    <a:pt x="2616204" y="185608"/>
                  </a:lnTo>
                  <a:lnTo>
                    <a:pt x="2518767" y="168485"/>
                  </a:lnTo>
                  <a:lnTo>
                    <a:pt x="2421447" y="152222"/>
                  </a:lnTo>
                  <a:lnTo>
                    <a:pt x="2324248" y="136853"/>
                  </a:lnTo>
                  <a:lnTo>
                    <a:pt x="2227175" y="122410"/>
                  </a:lnTo>
                  <a:lnTo>
                    <a:pt x="2130231" y="108923"/>
                  </a:lnTo>
                  <a:lnTo>
                    <a:pt x="2033421" y="96426"/>
                  </a:lnTo>
                  <a:lnTo>
                    <a:pt x="1936750" y="84950"/>
                  </a:lnTo>
                  <a:lnTo>
                    <a:pt x="1888467" y="79606"/>
                  </a:lnTo>
                  <a:lnTo>
                    <a:pt x="1840221" y="74528"/>
                  </a:lnTo>
                  <a:lnTo>
                    <a:pt x="1792011" y="69722"/>
                  </a:lnTo>
                  <a:lnTo>
                    <a:pt x="1743838" y="65192"/>
                  </a:lnTo>
                  <a:lnTo>
                    <a:pt x="1695704" y="60941"/>
                  </a:lnTo>
                  <a:lnTo>
                    <a:pt x="1647607" y="56974"/>
                  </a:lnTo>
                  <a:lnTo>
                    <a:pt x="1599549" y="53294"/>
                  </a:lnTo>
                  <a:lnTo>
                    <a:pt x="1551531" y="49905"/>
                  </a:lnTo>
                  <a:lnTo>
                    <a:pt x="1503553" y="46812"/>
                  </a:lnTo>
                  <a:lnTo>
                    <a:pt x="1451758" y="41342"/>
                  </a:lnTo>
                  <a:lnTo>
                    <a:pt x="1400026" y="36186"/>
                  </a:lnTo>
                  <a:lnTo>
                    <a:pt x="1348357" y="31349"/>
                  </a:lnTo>
                  <a:lnTo>
                    <a:pt x="1296752" y="26837"/>
                  </a:lnTo>
                  <a:lnTo>
                    <a:pt x="1245210" y="22655"/>
                  </a:lnTo>
                  <a:lnTo>
                    <a:pt x="1193734" y="18809"/>
                  </a:lnTo>
                  <a:lnTo>
                    <a:pt x="1142323" y="15303"/>
                  </a:lnTo>
                  <a:lnTo>
                    <a:pt x="1090978" y="12145"/>
                  </a:lnTo>
                  <a:lnTo>
                    <a:pt x="1039701" y="9338"/>
                  </a:lnTo>
                  <a:lnTo>
                    <a:pt x="988491" y="6888"/>
                  </a:lnTo>
                  <a:lnTo>
                    <a:pt x="937350" y="4801"/>
                  </a:lnTo>
                  <a:lnTo>
                    <a:pt x="886277" y="3083"/>
                  </a:lnTo>
                  <a:lnTo>
                    <a:pt x="835275" y="1738"/>
                  </a:lnTo>
                  <a:lnTo>
                    <a:pt x="784343" y="772"/>
                  </a:lnTo>
                  <a:lnTo>
                    <a:pt x="733482" y="191"/>
                  </a:lnTo>
                  <a:lnTo>
                    <a:pt x="682693" y="0"/>
                  </a:lnTo>
                  <a:close/>
                </a:path>
              </a:pathLst>
            </a:custGeom>
            <a:solidFill>
              <a:srgbClr val="1C488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5366" name="Google Shape;5366;p34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14325" y="5562599"/>
              <a:ext cx="2028825" cy="9144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367" name="Google Shape;5367;p34"/>
          <p:cNvSpPr txBox="1">
            <a:spLocks noGrp="1"/>
          </p:cNvSpPr>
          <p:nvPr>
            <p:ph type="title"/>
          </p:nvPr>
        </p:nvSpPr>
        <p:spPr>
          <a:xfrm>
            <a:off x="1493277" y="2074175"/>
            <a:ext cx="10010400" cy="5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25" rIns="0" bIns="0" anchor="t" anchorCtr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3600" dirty="0">
                <a:latin typeface="DM Sans"/>
                <a:ea typeface="DM Sans"/>
                <a:cs typeface="DM Sans"/>
                <a:sym typeface="DM Sans"/>
              </a:rPr>
              <a:t>Team Talk</a:t>
            </a:r>
            <a:endParaRPr lang="en-US" sz="4000" dirty="0">
              <a:latin typeface="DM Sans"/>
              <a:ea typeface="DM Sans"/>
              <a:cs typeface="DM Sans"/>
            </a:endParaRPr>
          </a:p>
        </p:txBody>
      </p:sp>
    </p:spTree>
    <p:extLst>
      <p:ext uri="{BB962C8B-B14F-4D97-AF65-F5344CB8AC3E}">
        <p14:creationId xmlns:p14="http://schemas.microsoft.com/office/powerpoint/2010/main" val="344730833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3310" y="947407"/>
            <a:ext cx="9365380" cy="2014679"/>
          </a:xfrm>
        </p:spPr>
        <p:txBody>
          <a:bodyPr/>
          <a:lstStyle/>
          <a:p>
            <a:r>
              <a:rPr lang="en-US" dirty="0">
                <a:ea typeface="Calibri"/>
                <a:cs typeface="Calibri"/>
              </a:rPr>
              <a:t>UW Health SwedishAmerican Hospital</a:t>
            </a:r>
            <a:br>
              <a:rPr lang="en-US" dirty="0">
                <a:ea typeface="Calibri"/>
                <a:cs typeface="Calibri"/>
              </a:rPr>
            </a:br>
            <a:r>
              <a:rPr lang="en-US" dirty="0">
                <a:ea typeface="Calibri"/>
                <a:cs typeface="Calibri"/>
              </a:rPr>
              <a:t>Rockford, IL</a:t>
            </a:r>
            <a:endParaRPr lang="en-US" b="0" dirty="0">
              <a:solidFill>
                <a:srgbClr val="000000"/>
              </a:solidFill>
              <a:ea typeface="Calibri"/>
              <a:cs typeface="Calibri"/>
            </a:endParaRPr>
          </a:p>
          <a:p>
            <a:r>
              <a:rPr lang="en-US" sz="3000" dirty="0">
                <a:ea typeface="Lato Medium"/>
                <a:cs typeface="Lato Medium"/>
              </a:rPr>
              <a:t>Using Mini-Grant Funds and Pathway towards Designation</a:t>
            </a:r>
            <a:endParaRPr lang="en-US" sz="30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3310" y="3340431"/>
            <a:ext cx="9365380" cy="986569"/>
          </a:xfrm>
        </p:spPr>
        <p:txBody>
          <a:bodyPr vert="horz" lIns="91440" tIns="45720" rIns="91440" bIns="45720" rtlCol="0" anchor="t">
            <a:normAutofit fontScale="25000" lnSpcReduction="20000"/>
          </a:bodyPr>
          <a:lstStyle/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600" dirty="0">
                <a:solidFill>
                  <a:schemeClr val="tx1">
                    <a:lumMod val="50000"/>
                  </a:schemeClr>
                </a:solidFill>
                <a:ea typeface="Lato"/>
                <a:cs typeface="Lato"/>
              </a:rPr>
              <a:t>Courtney Fisk </a:t>
            </a:r>
            <a:r>
              <a:rPr lang="en-US" sz="9600" dirty="0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MSN, RNC-OB, C-EFM</a:t>
            </a:r>
            <a:br>
              <a:rPr lang="en-US" sz="9600" dirty="0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</a:br>
            <a:r>
              <a:rPr lang="en-US" sz="9600" dirty="0">
                <a:ea typeface="+mn-lt"/>
                <a:cs typeface="+mn-lt"/>
              </a:rPr>
              <a:t>Women and Children’s Education Coordinator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endParaRPr lang="en-US" sz="11200" i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dirty="0"/>
          </a:p>
        </p:txBody>
      </p:sp>
      <p:pic>
        <p:nvPicPr>
          <p:cNvPr id="5" name="Picture 4" descr="A map of the state of illinois&#10;&#10;AI-generated content may be incorrect.">
            <a:extLst>
              <a:ext uri="{FF2B5EF4-FFF2-40B4-BE49-F238E27FC236}">
                <a16:creationId xmlns:a16="http://schemas.microsoft.com/office/drawing/2014/main" id="{D0753A9E-0E91-029E-9F09-A73DA92F34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0855" y="2956523"/>
            <a:ext cx="2709234" cy="275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5051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HOSPITAL DEMOGRAPHIC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32303" y="1347842"/>
            <a:ext cx="9460966" cy="4839397"/>
          </a:xfrm>
        </p:spPr>
        <p:txBody>
          <a:bodyPr vert="horz" lIns="0" tIns="0" rIns="91440" bIns="0" rtlCol="0" anchor="t">
            <a:noAutofit/>
          </a:bodyPr>
          <a:lstStyle/>
          <a:p>
            <a:r>
              <a:rPr lang="en-US" sz="2400" dirty="0">
                <a:latin typeface="Metropolis Light"/>
              </a:rPr>
              <a:t>Rockford, IL </a:t>
            </a:r>
            <a:r>
              <a:rPr lang="en-US" sz="2400" err="1">
                <a:latin typeface="Metropolis Light"/>
              </a:rPr>
              <a:t>UWHealth</a:t>
            </a:r>
            <a:r>
              <a:rPr lang="en-US" sz="2400" dirty="0">
                <a:latin typeface="Metropolis Light"/>
              </a:rPr>
              <a:t> </a:t>
            </a:r>
          </a:p>
          <a:p>
            <a:r>
              <a:rPr lang="en-US" sz="2400" dirty="0">
                <a:latin typeface="Metropolis Light"/>
              </a:rPr>
              <a:t>339-bed, full service, non-profit hospital </a:t>
            </a:r>
          </a:p>
          <a:p>
            <a:r>
              <a:rPr lang="en-US" sz="2400" dirty="0">
                <a:latin typeface="Metropolis Light"/>
              </a:rPr>
              <a:t>Serving the greater Rockford region, including 12 counties in northern IL and southern WI</a:t>
            </a:r>
          </a:p>
          <a:p>
            <a:r>
              <a:rPr lang="en-US" sz="2400" dirty="0">
                <a:latin typeface="Metropolis Light"/>
              </a:rPr>
              <a:t>Teaching hospital affiliated with the University of Illinois College of Medicine. </a:t>
            </a:r>
          </a:p>
          <a:p>
            <a:r>
              <a:rPr lang="en-US" sz="2400" dirty="0">
                <a:latin typeface="Metropolis Light"/>
              </a:rPr>
              <a:t>Level III- 32 bed NICU</a:t>
            </a:r>
          </a:p>
          <a:p>
            <a:r>
              <a:rPr lang="en-US" sz="2400" dirty="0">
                <a:latin typeface="Metropolis Light"/>
              </a:rPr>
              <a:t>Northwest Perinatal Center</a:t>
            </a:r>
          </a:p>
          <a:p>
            <a:r>
              <a:rPr lang="en-US" sz="2400" dirty="0">
                <a:latin typeface="Metropolis Light"/>
              </a:rPr>
              <a:t>Delivering approximately 2900 babies per year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17040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9CF56B-5860-6EAC-CAB1-482310251E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89321" y="1477151"/>
            <a:ext cx="9854317" cy="4699811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Multidisciplinary involvement </a:t>
            </a:r>
          </a:p>
          <a:p>
            <a:pPr lvl="1"/>
            <a:r>
              <a:rPr lang="en-US" dirty="0"/>
              <a:t>Nurses (bedside, management, multiple units represented, inpatient and outpatient)</a:t>
            </a:r>
          </a:p>
          <a:p>
            <a:pPr lvl="1"/>
            <a:r>
              <a:rPr lang="en-US" dirty="0"/>
              <a:t>Provider champions (OB, Peds, Neos, Family Practice, inpatient and outpatient)</a:t>
            </a:r>
          </a:p>
          <a:p>
            <a:pPr lvl="1"/>
            <a:r>
              <a:rPr lang="en-US" dirty="0"/>
              <a:t>Many other disciplines/people (social work, IS, APC, members from regional hospitals, etc.)</a:t>
            </a:r>
          </a:p>
          <a:p>
            <a:pPr lvl="1"/>
            <a:r>
              <a:rPr lang="en-US" dirty="0"/>
              <a:t>Patient partners (Birth Equity, ESSI, PMH)</a:t>
            </a:r>
          </a:p>
          <a:p>
            <a:pPr lvl="1"/>
            <a:r>
              <a:rPr lang="en-US" dirty="0"/>
              <a:t>Community Partners (doula services, home visiting programs, health departments, community agencies, etc.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6B3091-E2F6-A606-44EC-C9778E0D7C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ACBB43-5C7B-084B-877B-5EF90931306D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B66D43F-29B7-2E4E-BE67-A4A828333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9063" y="681038"/>
            <a:ext cx="9855200" cy="390525"/>
          </a:xfrm>
        </p:spPr>
        <p:txBody>
          <a:bodyPr/>
          <a:lstStyle/>
          <a:p>
            <a:r>
              <a:rPr lang="en-US" sz="2800" dirty="0"/>
              <a:t>QI TEAM MEMBERS</a:t>
            </a:r>
          </a:p>
        </p:txBody>
      </p:sp>
    </p:spTree>
    <p:extLst>
      <p:ext uri="{BB962C8B-B14F-4D97-AF65-F5344CB8AC3E}">
        <p14:creationId xmlns:p14="http://schemas.microsoft.com/office/powerpoint/2010/main" val="342998340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53D9BC-AC52-C5A3-0E65-76F88AF96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715" y="-140670"/>
            <a:ext cx="7692418" cy="1679599"/>
          </a:xfrm>
        </p:spPr>
        <p:txBody>
          <a:bodyPr/>
          <a:lstStyle/>
          <a:p>
            <a:r>
              <a:rPr lang="en-US" dirty="0"/>
              <a:t>ILPQC Resource Bin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729946-0A73-613B-1293-0C7CD85DC0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5863" y="1011677"/>
            <a:ext cx="4521201" cy="3050951"/>
          </a:xfr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1" dirty="0">
                <a:solidFill>
                  <a:schemeClr val="bg1"/>
                </a:solidFill>
                <a:latin typeface="Modern Love Caps" panose="04070805081001020A01" pitchFamily="82" charset="0"/>
              </a:rPr>
              <a:t>7 county resource binder </a:t>
            </a:r>
          </a:p>
          <a:p>
            <a:r>
              <a:rPr lang="en-US" sz="1800" b="1" dirty="0">
                <a:solidFill>
                  <a:schemeClr val="bg1"/>
                </a:solidFill>
                <a:latin typeface="Modern Love Caps" panose="04070805081001020A01" pitchFamily="82" charset="0"/>
              </a:rPr>
              <a:t>(goal to increase to 9 counties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1" dirty="0">
                <a:solidFill>
                  <a:schemeClr val="bg1"/>
                </a:solidFill>
                <a:latin typeface="Modern Love Caps" panose="04070805081001020A01" pitchFamily="82" charset="0"/>
              </a:rPr>
              <a:t>In English and Spanish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1" dirty="0">
                <a:solidFill>
                  <a:schemeClr val="bg1"/>
                </a:solidFill>
                <a:latin typeface="Modern Love Caps" panose="04070805081001020A01" pitchFamily="82" charset="0"/>
              </a:rPr>
              <a:t>Laminated pages for staff to take copies for individual patients and their need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1" dirty="0">
                <a:solidFill>
                  <a:schemeClr val="bg1"/>
                </a:solidFill>
                <a:latin typeface="Modern Love Caps" panose="04070805081001020A01" pitchFamily="82" charset="0"/>
              </a:rPr>
              <a:t>Moving to electronic version for staff to easily prin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393FA4-3EBC-6602-5F05-530CF256E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ACBB43-5C7B-084B-877B-5EF90931306D}" type="slidenum">
              <a:rPr lang="en-US" smtClean="0"/>
              <a:pPr/>
              <a:t>37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288F0FD-18BE-C9E3-A0A0-9B5548DA32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48539" y="3118207"/>
            <a:ext cx="3775413" cy="323816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F2D02A9-163C-B879-8FB1-D93337F786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98794" y="1485492"/>
            <a:ext cx="3590339" cy="24115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84A575F-1C95-6720-D934-E6730F31DA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50429" y="527897"/>
            <a:ext cx="3971635" cy="239825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6AEF61D-EA23-52B3-A185-FBC976193D4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13892" y="4062628"/>
            <a:ext cx="4394992" cy="2665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08597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485C7-B9F9-0E68-03BE-C24761444B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779" y="194435"/>
            <a:ext cx="8308442" cy="1679599"/>
          </a:xfrm>
        </p:spPr>
        <p:txBody>
          <a:bodyPr/>
          <a:lstStyle/>
          <a:p>
            <a:pPr algn="ctr"/>
            <a:r>
              <a:rPr lang="en-US" dirty="0"/>
              <a:t>Respectful Care Breakfast</a:t>
            </a:r>
            <a:br>
              <a:rPr lang="en-US" dirty="0"/>
            </a:br>
            <a:r>
              <a:rPr lang="en-US" sz="4000" dirty="0"/>
              <a:t>April 1, 2025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0E97C2-C3CC-DAE0-84DE-CFE63F4090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406085" y="2081535"/>
            <a:ext cx="4222825" cy="3413340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>
                <a:latin typeface="Modern Love Caps" panose="04070805081001020A01" pitchFamily="82" charset="0"/>
              </a:rPr>
              <a:t>75 staff, providers, and community partners in attend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>
                <a:latin typeface="Modern Love Caps" panose="04070805081001020A01" pitchFamily="82" charset="0"/>
              </a:rPr>
              <a:t>Created opportunities to network and share ide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>
                <a:latin typeface="Modern Love Caps" panose="04070805081001020A01" pitchFamily="82" charset="0"/>
              </a:rPr>
              <a:t>2 Community Partners presented on their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latin typeface="Modern Love Caps" panose="04070805081001020A01" pitchFamily="8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2C5150-9DF8-2EFE-6817-5F7C3D4474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ACBB43-5C7B-084B-877B-5EF90931306D}" type="slidenum">
              <a:rPr lang="en-US" smtClean="0"/>
              <a:pPr/>
              <a:t>38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1BE5827-5399-A0E8-0EBA-117A458ECA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090" y="1674269"/>
            <a:ext cx="6391866" cy="4227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80549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35B280-D100-60E7-1891-FDBA128127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7EF641-73BC-B276-4334-EBF441A18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779" y="90134"/>
            <a:ext cx="8308442" cy="1294731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Respectful Care Coffee Hour</a:t>
            </a:r>
            <a:br>
              <a:rPr lang="en-US" dirty="0"/>
            </a:br>
            <a:r>
              <a:rPr lang="en-US" sz="4000" dirty="0"/>
              <a:t>August 19, 2025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86A47C-D3FD-01BF-E7F8-132758D4A9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ACBB43-5C7B-084B-877B-5EF90931306D}" type="slidenum">
              <a:rPr lang="en-US" smtClean="0"/>
              <a:pPr/>
              <a:t>39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37CCB7-718D-D578-289E-E4891E94CA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152" y="1364352"/>
            <a:ext cx="5397140" cy="3239376"/>
          </a:xfrm>
          <a:prstGeom prst="rect">
            <a:avLst/>
          </a:prstGeom>
        </p:spPr>
      </p:pic>
      <p:pic>
        <p:nvPicPr>
          <p:cNvPr id="1027" name="Picture 3">
            <a:extLst>
              <a:ext uri="{FF2B5EF4-FFF2-40B4-BE49-F238E27FC236}">
                <a16:creationId xmlns:a16="http://schemas.microsoft.com/office/drawing/2014/main" id="{6816B032-D1DA-88AA-CA22-E80390A35D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689" y="3372258"/>
            <a:ext cx="4222229" cy="2848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60B5F7-2D16-AA60-FDCD-128891C157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18922" y="1364352"/>
            <a:ext cx="3662597" cy="5260582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>
                <a:latin typeface="Modern Love Caps" panose="04070805081001020A01" pitchFamily="82" charset="0"/>
              </a:rPr>
              <a:t>13 staff members, 8 patients &amp; their families, &amp; 2 community doulas in attend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>
                <a:latin typeface="Modern Love Caps" panose="04070805081001020A01" pitchFamily="82" charset="0"/>
              </a:rPr>
              <a:t>Provided opportunity for patient led feedback, offered ideas for improvement, created a space for convers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latin typeface="Modern Love Caps" panose="04070805081001020A01" pitchFamily="8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DC2F13-503E-9F40-30B8-87508C2695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7455" y="2897058"/>
            <a:ext cx="3286584" cy="3077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9093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DM Sans" pitchFamily="2" charset="77"/>
              <a:ea typeface="+mn-ea"/>
              <a:cs typeface="Arial"/>
              <a:sym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cs typeface="Arial"/>
                <a:sym typeface="Arial"/>
              </a:rPr>
              <a:t>Illinois Perinatal Quality Collaborative</a:t>
            </a:r>
          </a:p>
        </p:txBody>
      </p:sp>
      <p:sp>
        <p:nvSpPr>
          <p:cNvPr id="8" name="Google Shape;368;p16"/>
          <p:cNvSpPr txBox="1">
            <a:spLocks/>
          </p:cNvSpPr>
          <p:nvPr/>
        </p:nvSpPr>
        <p:spPr>
          <a:xfrm>
            <a:off x="430375" y="1794363"/>
            <a:ext cx="6364872" cy="486156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/>
                <a:ea typeface="Lato Medium"/>
                <a:cs typeface="Lato Medium"/>
                <a:sym typeface="Arial"/>
              </a:rPr>
              <a:t>Each hospital can send: 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/>
                <a:ea typeface="Lato Medium"/>
                <a:cs typeface="Lato Medium"/>
                <a:sym typeface="Arial"/>
              </a:rPr>
              <a:t>1 bedside OB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/>
                <a:ea typeface="Lato Medium"/>
                <a:cs typeface="Lato Medium"/>
                <a:sym typeface="Arial"/>
              </a:rPr>
              <a:t>an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/>
                <a:ea typeface="Lato Medium"/>
                <a:cs typeface="Lato Medium"/>
                <a:sym typeface="Arial"/>
              </a:rPr>
              <a:t> 1-Neonatal nurs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/>
                <a:ea typeface="Lato Medium"/>
                <a:cs typeface="Lato Medium"/>
                <a:sym typeface="Arial"/>
              </a:rPr>
              <a:t> to attend this year’s Annual Conference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/>
              <a:ea typeface="Lato Medium" panose="020F0502020204030203" pitchFamily="34" charset="0"/>
              <a:cs typeface="Lato Medium" panose="020F0502020204030203" pitchFamily="34" charset="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/>
                <a:ea typeface="Lato Medium"/>
                <a:cs typeface="Lato Medium"/>
                <a:sym typeface="Arial"/>
              </a:rPr>
              <a:t>Discounted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/>
                <a:ea typeface="Lato Medium"/>
                <a:cs typeface="Lato Medium"/>
                <a:sym typeface="Arial"/>
              </a:rPr>
              <a:t>registration available.</a:t>
            </a:r>
            <a:endParaRPr lang="en-US" sz="2400" b="1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/>
              <a:ea typeface="Lato Medium"/>
              <a:cs typeface="Lato Medium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/>
                <a:ea typeface="Lato Medium"/>
                <a:cs typeface="Lato Medium"/>
                <a:sym typeface="Arial"/>
              </a:rPr>
              <a:t>1-night hotel stay provided if needed.</a:t>
            </a:r>
            <a:endParaRPr lang="en-US" sz="2400" b="1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/>
              <a:ea typeface="Lato Medium"/>
              <a:cs typeface="Lato Medium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endParaRPr lang="en-US" sz="2400" b="1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Lato Medium"/>
              <a:cs typeface="Lato Medium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Lato Medium"/>
              <a:cs typeface="Lato Medium"/>
              <a:sym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0C8D749-49B2-A007-8DFF-3F8E29AB2FD0}"/>
              </a:ext>
            </a:extLst>
          </p:cNvPr>
          <p:cNvSpPr txBox="1">
            <a:spLocks/>
          </p:cNvSpPr>
          <p:nvPr/>
        </p:nvSpPr>
        <p:spPr>
          <a:xfrm>
            <a:off x="728815" y="511612"/>
            <a:ext cx="7677403" cy="1217208"/>
          </a:xfrm>
          <a:prstGeom prst="rect">
            <a:avLst/>
          </a:prstGeom>
        </p:spPr>
        <p:txBody>
          <a:bodyPr lIns="91440" tIns="45720" rIns="91440" bIns="45720" anchor="b">
            <a:normAutofit fontScale="9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1" i="0" u="none" strike="noStrike" kern="1200" cap="none" spc="0" normalizeH="0" baseline="0" noProof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  <a:sym typeface="Arial"/>
              </a:rPr>
              <a:t>DHS/ILPQC Bedsid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1" i="0" u="none" strike="noStrike" kern="1200" cap="none" spc="0" normalizeH="0" baseline="0" noProof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  <a:sym typeface="Arial"/>
              </a:rPr>
              <a:t>Nurse Scholarship Opportunity</a:t>
            </a:r>
            <a:endParaRPr kumimoji="0" lang="en-US" sz="4200" b="1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Lato Medium" panose="020F0502020204030203" pitchFamily="34" charset="0"/>
              <a:cs typeface="Lato Medium" panose="020F0502020204030203" pitchFamily="34" charset="0"/>
              <a:sym typeface="Arial"/>
            </a:endParaRPr>
          </a:p>
        </p:txBody>
      </p:sp>
      <p:sp>
        <p:nvSpPr>
          <p:cNvPr id="11" name="Freeform 3">
            <a:extLst>
              <a:ext uri="{FF2B5EF4-FFF2-40B4-BE49-F238E27FC236}">
                <a16:creationId xmlns:a16="http://schemas.microsoft.com/office/drawing/2014/main" id="{22E26A02-7672-4E62-B73A-F640E35AA816}"/>
              </a:ext>
            </a:extLst>
          </p:cNvPr>
          <p:cNvSpPr/>
          <p:nvPr/>
        </p:nvSpPr>
        <p:spPr>
          <a:xfrm>
            <a:off x="7005409" y="3400574"/>
            <a:ext cx="4576991" cy="2946438"/>
          </a:xfrm>
          <a:custGeom>
            <a:avLst/>
            <a:gdLst/>
            <a:ahLst/>
            <a:cxnLst/>
            <a:rect l="l" t="t" r="r" b="b"/>
            <a:pathLst>
              <a:path w="4576991" h="2946438">
                <a:moveTo>
                  <a:pt x="0" y="0"/>
                </a:moveTo>
                <a:lnTo>
                  <a:pt x="4576991" y="0"/>
                </a:lnTo>
                <a:lnTo>
                  <a:pt x="4576991" y="2946438"/>
                </a:lnTo>
                <a:lnTo>
                  <a:pt x="0" y="2946438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" pitchFamily="2" charset="77"/>
              <a:cs typeface="Arial"/>
              <a:sym typeface="Arial"/>
            </a:endParaRPr>
          </a:p>
        </p:txBody>
      </p:sp>
      <p:sp>
        <p:nvSpPr>
          <p:cNvPr id="12" name="Wave 11">
            <a:extLst>
              <a:ext uri="{FF2B5EF4-FFF2-40B4-BE49-F238E27FC236}">
                <a16:creationId xmlns:a16="http://schemas.microsoft.com/office/drawing/2014/main" id="{E25304B6-5871-4A86-991C-58856265E4E1}"/>
              </a:ext>
            </a:extLst>
          </p:cNvPr>
          <p:cNvSpPr/>
          <p:nvPr/>
        </p:nvSpPr>
        <p:spPr>
          <a:xfrm>
            <a:off x="188259" y="136524"/>
            <a:ext cx="8758517" cy="2077757"/>
          </a:xfrm>
          <a:prstGeom prst="wave">
            <a:avLst/>
          </a:prstGeom>
          <a:noFill/>
          <a:ln w="571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" pitchFamily="2" charset="77"/>
              <a:ea typeface="+mn-ea"/>
              <a:cs typeface="+mn-cs"/>
              <a:sym typeface="Arial"/>
            </a:endParaRPr>
          </a:p>
        </p:txBody>
      </p:sp>
      <p:pic>
        <p:nvPicPr>
          <p:cNvPr id="5" name="Picture 4" descr="A logo with blue and yellow figures&#10;&#10;AI-generated content may be incorrect.">
            <a:extLst>
              <a:ext uri="{FF2B5EF4-FFF2-40B4-BE49-F238E27FC236}">
                <a16:creationId xmlns:a16="http://schemas.microsoft.com/office/drawing/2014/main" id="{B4481D26-FCE5-AC85-FADB-12AB0894F31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78875" y="1651336"/>
            <a:ext cx="1682750" cy="173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56732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83ACE9-D311-050B-9639-197B149CCD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7023" y="94912"/>
            <a:ext cx="9133581" cy="1763902"/>
          </a:xfrm>
        </p:spPr>
        <p:txBody>
          <a:bodyPr>
            <a:normAutofit/>
          </a:bodyPr>
          <a:lstStyle/>
          <a:p>
            <a:r>
              <a:rPr lang="en-US" sz="4800" dirty="0"/>
              <a:t>ILPQC Birth Quality Design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9F2FCC-EA5B-D821-5F68-7D008D1690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48829" y="1173192"/>
            <a:ext cx="7471347" cy="481002"/>
          </a:xfrm>
        </p:spPr>
        <p:txBody>
          <a:bodyPr/>
          <a:lstStyle/>
          <a:p>
            <a:pPr algn="ctr"/>
            <a:r>
              <a:rPr lang="en-US" sz="2800" b="1" dirty="0">
                <a:latin typeface="Modern Love Caps" panose="04070805081001020A01" pitchFamily="82" charset="0"/>
              </a:rPr>
              <a:t>Mini Grant fund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108BB3-F9FF-2FB1-1B68-92BB84CB93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ACBB43-5C7B-084B-877B-5EF90931306D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55EBA"/>
                </a:solidFill>
                <a:effectLst/>
                <a:uLnTx/>
                <a:uFillTx/>
                <a:latin typeface="Metropolis" pitchFamily="2" charset="77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55EBA"/>
              </a:solidFill>
              <a:effectLst/>
              <a:uLnTx/>
              <a:uFillTx/>
              <a:latin typeface="Metropolis" pitchFamily="2" charset="77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E60B4A5-122F-5F07-721A-8FEB5E58EBD7}"/>
              </a:ext>
            </a:extLst>
          </p:cNvPr>
          <p:cNvSpPr txBox="1"/>
          <p:nvPr/>
        </p:nvSpPr>
        <p:spPr>
          <a:xfrm>
            <a:off x="2648309" y="1925758"/>
            <a:ext cx="8445261" cy="4380919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571500" marR="0" indent="-571500" algn="l" defTabSz="914400" rtl="0" eaLnBrk="1" fontAlgn="ctr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rgbClr val="055EBA"/>
              </a:buClr>
              <a:buSzPct val="120000"/>
              <a:buFont typeface="System Font Regular"/>
              <a:buChar char="○"/>
              <a:tabLst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91919">
                    <a:lumMod val="90000"/>
                    <a:lumOff val="10000"/>
                  </a:srgbClr>
                </a:solidFill>
                <a:effectLst/>
                <a:uLnTx/>
                <a:uFillTx/>
                <a:latin typeface="Metropolis Light" pitchFamily="2" charset="77"/>
                <a:ea typeface="+mn-ea"/>
                <a:cs typeface="+mn-cs"/>
              </a:rPr>
              <a:t>Funds will be </a:t>
            </a:r>
            <a:r>
              <a:rPr lang="en-US" sz="2800" b="1" dirty="0">
                <a:solidFill>
                  <a:srgbClr val="191919">
                    <a:lumMod val="90000"/>
                    <a:lumOff val="10000"/>
                  </a:srgbClr>
                </a:solidFill>
                <a:latin typeface="Metropolis Light" pitchFamily="2" charset="77"/>
              </a:rPr>
              <a:t>used to assist with creation of content for a Doula integration mini course using education/material through online webinars, as well being put towards food/supplies for course</a:t>
            </a:r>
          </a:p>
          <a:p>
            <a:pPr marL="571500" marR="0" indent="-571500" algn="l" defTabSz="914400" rtl="0" eaLnBrk="1" fontAlgn="ctr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rgbClr val="055EBA"/>
              </a:buClr>
              <a:buSzPct val="120000"/>
              <a:buFont typeface="System Font Regular"/>
              <a:buChar char="○"/>
              <a:tabLst/>
            </a:pPr>
            <a:r>
              <a:rPr lang="en-US" sz="2800" b="1" dirty="0">
                <a:solidFill>
                  <a:srgbClr val="191919">
                    <a:lumMod val="90000"/>
                    <a:lumOff val="10000"/>
                  </a:srgbClr>
                </a:solidFill>
                <a:latin typeface="Metropolis Light" pitchFamily="2" charset="77"/>
              </a:rPr>
              <a:t>Goal: Successfully integrate community doulas into hospital workflows to promote collaboration with clinical teams, enhance communication and improve outcomes and patient experience. </a:t>
            </a:r>
          </a:p>
        </p:txBody>
      </p:sp>
    </p:spTree>
    <p:extLst>
      <p:ext uri="{BB962C8B-B14F-4D97-AF65-F5344CB8AC3E}">
        <p14:creationId xmlns:p14="http://schemas.microsoft.com/office/powerpoint/2010/main" val="18553183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469A19-CF51-C564-6A77-B2742D1E59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9321" y="353345"/>
            <a:ext cx="9854317" cy="940617"/>
          </a:xfrm>
        </p:spPr>
        <p:txBody>
          <a:bodyPr/>
          <a:lstStyle/>
          <a:p>
            <a:r>
              <a:rPr lang="en-US" sz="3600" b="1" dirty="0">
                <a:solidFill>
                  <a:srgbClr val="0070C0"/>
                </a:solidFill>
                <a:latin typeface="Candara"/>
                <a:ea typeface="Calibri Light"/>
                <a:cs typeface="Calibri Light"/>
              </a:rPr>
              <a:t>ILPQC Birth Quality Excellence Designation: </a:t>
            </a:r>
            <a:br>
              <a:rPr lang="en-US" sz="6600" dirty="0">
                <a:latin typeface="Candara"/>
                <a:ea typeface="Calibri Light"/>
                <a:cs typeface="Calibri Light"/>
              </a:rPr>
            </a:br>
            <a:r>
              <a:rPr lang="en-US" sz="3200" i="1" dirty="0">
                <a:latin typeface="Candara"/>
                <a:ea typeface="Calibri Light"/>
                <a:cs typeface="Calibri Light"/>
              </a:rPr>
              <a:t>Engaging Patient and Community Partners</a:t>
            </a:r>
            <a:endParaRPr lang="en-US" sz="2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7BFE8B-F639-DF06-F5B4-0A81606DA4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89321" y="1671447"/>
            <a:ext cx="9854317" cy="4307435"/>
          </a:xfrm>
        </p:spPr>
        <p:txBody>
          <a:bodyPr>
            <a:normAutofit/>
          </a:bodyPr>
          <a:lstStyle/>
          <a:p>
            <a:r>
              <a:rPr lang="en-US" dirty="0"/>
              <a:t>Forming a community round-table where all quality initiative active community partners and local/regional health systems come together quarterly to discuss ideas, share works in progress and collaborate to unify our QI work to better serve our patient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4E68B0-5F9E-C7E9-1A1C-A5BAF4A661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ACBB43-5C7B-084B-877B-5EF90931306D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909310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707F0C-80B1-8611-8CCC-C4F7F2259B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ACBB43-5C7B-084B-877B-5EF90931306D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8310E3-07FA-FF04-67C9-074BD358BD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808" y="179310"/>
            <a:ext cx="7347488" cy="2850879"/>
          </a:xfrm>
        </p:spPr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67975D-C097-6DEA-94F4-525E7A61A5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4449" y="3635384"/>
            <a:ext cx="5626639" cy="1582286"/>
          </a:xfrm>
        </p:spPr>
        <p:txBody>
          <a:bodyPr>
            <a:normAutofit/>
          </a:bodyPr>
          <a:lstStyle/>
          <a:p>
            <a:r>
              <a:rPr lang="en-US" dirty="0"/>
              <a:t>Any questions? </a:t>
            </a:r>
          </a:p>
          <a:p>
            <a:r>
              <a:rPr lang="en-US" dirty="0"/>
              <a:t>Contact info:</a:t>
            </a:r>
          </a:p>
          <a:p>
            <a:r>
              <a:rPr lang="en-US" dirty="0"/>
              <a:t>Courtney Fisk</a:t>
            </a:r>
          </a:p>
          <a:p>
            <a:r>
              <a:rPr lang="en-US" dirty="0"/>
              <a:t>cfisk@uwhealth.org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503537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69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8">
            <a:extLst>
              <a:ext uri="{FF2B5EF4-FFF2-40B4-BE49-F238E27FC236}">
                <a16:creationId xmlns:a16="http://schemas.microsoft.com/office/drawing/2014/main" id="{121C6074-B66D-2765-3593-FCB106CE6B66}"/>
              </a:ext>
            </a:extLst>
          </p:cNvPr>
          <p:cNvSpPr txBox="1"/>
          <p:nvPr/>
        </p:nvSpPr>
        <p:spPr>
          <a:xfrm>
            <a:off x="871871" y="1457891"/>
            <a:ext cx="11058086" cy="629916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359410" lvl="1" indent="-179705" defTabSz="609539">
              <a:spcAft>
                <a:spcPts val="500"/>
              </a:spcAft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200" dirty="0">
                <a:solidFill>
                  <a:srgbClr val="2E4736"/>
                </a:solidFill>
                <a:latin typeface="Aptos Display"/>
                <a:ea typeface="TAN Angleton"/>
                <a:cs typeface="Arial"/>
              </a:rPr>
              <a:t>Enter August 2025 Data</a:t>
            </a:r>
          </a:p>
          <a:p>
            <a:pPr marL="359410" lvl="1" indent="-179705" defTabSz="609539">
              <a:spcAft>
                <a:spcPts val="500"/>
              </a:spcAft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200" dirty="0">
                <a:solidFill>
                  <a:srgbClr val="2E4736"/>
                </a:solidFill>
                <a:latin typeface="Aptos Display"/>
                <a:ea typeface="TAN Angleton"/>
                <a:cs typeface="Arial"/>
              </a:rPr>
              <a:t>Ensure accuracy of data on ILPQC Quality Designation Dashboard</a:t>
            </a:r>
          </a:p>
          <a:p>
            <a:pPr marL="359410" lvl="1" indent="-179705" defTabSz="609539">
              <a:spcAft>
                <a:spcPts val="500"/>
              </a:spcAft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200" dirty="0">
                <a:solidFill>
                  <a:srgbClr val="2E4736"/>
                </a:solidFill>
                <a:latin typeface="Aptos Display"/>
                <a:ea typeface="TAN Angleton"/>
                <a:cs typeface="Arial"/>
              </a:rPr>
              <a:t>Complete 2025 Designation Application </a:t>
            </a:r>
            <a:endParaRPr lang="en-US" dirty="0"/>
          </a:p>
          <a:p>
            <a:pPr marL="359410" lvl="1" indent="-179705" defTabSz="609539">
              <a:spcAft>
                <a:spcPts val="500"/>
              </a:spcAft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200" dirty="0">
                <a:solidFill>
                  <a:srgbClr val="2E4736"/>
                </a:solidFill>
                <a:latin typeface="Aptos Display"/>
                <a:ea typeface="TAN Angleton"/>
                <a:cs typeface="TAN Angleton"/>
              </a:rPr>
              <a:t>Drop in for 1-1 QI office hours for support </a:t>
            </a:r>
          </a:p>
          <a:p>
            <a:pPr marL="816610" lvl="2" indent="-179705" defTabSz="609539">
              <a:spcAft>
                <a:spcPts val="500"/>
              </a:spcAft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200" i="1" dirty="0">
                <a:solidFill>
                  <a:srgbClr val="2E4736"/>
                </a:solidFill>
                <a:latin typeface="Aptos Display"/>
                <a:ea typeface="TAN Angleton"/>
                <a:cs typeface="TAN Angleton"/>
              </a:rPr>
              <a:t>one of the requirements of the application is that a team lead for your QI team has engaged in office hours or other 1:1 support!</a:t>
            </a:r>
          </a:p>
          <a:p>
            <a:pPr marL="664210" lvl="2" indent="-179705" defTabSz="609539">
              <a:spcAft>
                <a:spcPts val="500"/>
              </a:spcAft>
              <a:buSzPct val="100000"/>
              <a:buFont typeface="Wingdings"/>
              <a:buChar char="§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800" b="0" i="0" u="none" strike="noStrike" kern="1200" cap="none" spc="0" baseline="0" dirty="0">
                <a:solidFill>
                  <a:srgbClr val="2E4736"/>
                </a:solidFill>
                <a:uFillTx/>
                <a:latin typeface="Aptos Display"/>
                <a:ea typeface="TAN Angleton"/>
                <a:cs typeface="TAN Angleton"/>
              </a:rPr>
              <a:t>Office hours: </a:t>
            </a:r>
            <a:r>
              <a:rPr lang="en-US" sz="2800" b="1" i="0" u="none" strike="noStrike" kern="1200" cap="none" spc="0" baseline="0" dirty="0">
                <a:solidFill>
                  <a:srgbClr val="2E4736"/>
                </a:solidFill>
                <a:uFillTx/>
                <a:latin typeface="Aptos Display"/>
                <a:ea typeface="TAN Angleton"/>
                <a:cs typeface="TAN Angleton"/>
              </a:rPr>
              <a:t>Tuesday </a:t>
            </a:r>
            <a:r>
              <a:rPr lang="en-US" sz="2800" b="1" dirty="0">
                <a:solidFill>
                  <a:srgbClr val="2E4736"/>
                </a:solidFill>
                <a:latin typeface="Aptos Display"/>
                <a:ea typeface="TAN Angleton"/>
                <a:cs typeface="TAN Angleton"/>
              </a:rPr>
              <a:t>12-1pm</a:t>
            </a:r>
            <a:r>
              <a:rPr lang="en-US" sz="2800" b="0" i="0" u="none" strike="noStrike" kern="1200" cap="none" spc="0" baseline="0" dirty="0">
                <a:solidFill>
                  <a:srgbClr val="2E4736"/>
                </a:solidFill>
                <a:uFillTx/>
                <a:latin typeface="Aptos Display"/>
                <a:ea typeface="TAN Angleton"/>
                <a:cs typeface="TAN Angleton"/>
              </a:rPr>
              <a:t>; </a:t>
            </a:r>
            <a:r>
              <a:rPr lang="en-US" sz="2800" b="1" i="0" u="none" strike="noStrike" kern="1200" cap="none" spc="0" baseline="0" dirty="0">
                <a:solidFill>
                  <a:srgbClr val="2E4736"/>
                </a:solidFill>
                <a:uFillTx/>
                <a:latin typeface="Aptos Display"/>
                <a:ea typeface="TAN Angleton"/>
                <a:cs typeface="TAN Angleton"/>
              </a:rPr>
              <a:t>Thursdays </a:t>
            </a:r>
            <a:r>
              <a:rPr lang="en-US" sz="2800" b="1" dirty="0">
                <a:solidFill>
                  <a:srgbClr val="2E4736"/>
                </a:solidFill>
                <a:latin typeface="Aptos Display"/>
                <a:ea typeface="TAN Angleton"/>
                <a:cs typeface="TAN Angleton"/>
              </a:rPr>
              <a:t>1-2pm </a:t>
            </a:r>
            <a:endParaRPr lang="en-US" sz="2800" b="1" i="0" u="none" strike="noStrike" kern="0" cap="none" spc="0" baseline="0" dirty="0">
              <a:solidFill>
                <a:srgbClr val="2E4736"/>
              </a:solidFill>
              <a:uFillTx/>
              <a:latin typeface="Aptos Display"/>
              <a:ea typeface="TAN Angleton"/>
              <a:cs typeface="TAN Angleton"/>
            </a:endParaRPr>
          </a:p>
          <a:p>
            <a:pPr marL="664210" marR="0" lvl="2" indent="-179705" algn="l" defTabSz="609539" rtl="0" fontAlgn="auto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SzPct val="100000"/>
              <a:buFont typeface="Wingdings"/>
              <a:buChar char="§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800" b="0" i="0" u="none" strike="noStrike" kern="1200" cap="none" spc="0" baseline="0" dirty="0">
                <a:solidFill>
                  <a:srgbClr val="2E4736"/>
                </a:solidFill>
                <a:uFillTx/>
                <a:latin typeface="Aptos Display"/>
                <a:ea typeface="TAN Angleton"/>
                <a:cs typeface="TAN Angleton"/>
              </a:rPr>
              <a:t>Or contact Maria Villagomez for 1-on-1 QI call</a:t>
            </a:r>
          </a:p>
          <a:p>
            <a:pPr marL="359410" lvl="1" indent="-179705" defTabSz="609539">
              <a:spcAft>
                <a:spcPts val="500"/>
              </a:spcAft>
              <a:buSzPct val="1000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3200" dirty="0">
              <a:solidFill>
                <a:srgbClr val="2E4736"/>
              </a:solidFill>
              <a:latin typeface="Aptos Display"/>
              <a:ea typeface="TAN Angleton"/>
              <a:cs typeface="TAN Angleton"/>
            </a:endParaRPr>
          </a:p>
          <a:p>
            <a:pPr marL="359410" marR="0" lvl="1" indent="-179705" algn="l" defTabSz="609539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SzPct val="100000"/>
              <a:buFont typeface="Arial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3200" b="0" i="0" u="none" strike="noStrike" kern="1200" cap="none" spc="0" baseline="0" dirty="0">
              <a:solidFill>
                <a:srgbClr val="2E4736"/>
              </a:solidFill>
              <a:uFillTx/>
              <a:latin typeface="Aptos Display"/>
              <a:ea typeface="TAN Angleton"/>
              <a:cs typeface="TAN Angleton"/>
            </a:endParaRPr>
          </a:p>
        </p:txBody>
      </p:sp>
      <p:sp>
        <p:nvSpPr>
          <p:cNvPr id="3" name="TextBox 9">
            <a:extLst>
              <a:ext uri="{FF2B5EF4-FFF2-40B4-BE49-F238E27FC236}">
                <a16:creationId xmlns:a16="http://schemas.microsoft.com/office/drawing/2014/main" id="{C288D29F-A6C0-203E-E352-8A03BD2BB4E3}"/>
              </a:ext>
            </a:extLst>
          </p:cNvPr>
          <p:cNvSpPr txBox="1"/>
          <p:nvPr/>
        </p:nvSpPr>
        <p:spPr>
          <a:xfrm>
            <a:off x="219885" y="263072"/>
            <a:ext cx="8122926" cy="104436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spAutoFit/>
          </a:bodyPr>
          <a:lstStyle/>
          <a:p>
            <a:pPr marL="0" marR="0" lvl="0" indent="0" algn="ctr" defTabSz="609539" rtl="0" fontAlgn="auto" hangingPunct="1">
              <a:lnSpc>
                <a:spcPts val="8585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6000" b="1" i="0" u="none" strike="noStrike" kern="1200" cap="none" spc="0" baseline="0" dirty="0">
                <a:solidFill>
                  <a:srgbClr val="2E4736"/>
                </a:solidFill>
                <a:uFillTx/>
                <a:latin typeface="Calibri"/>
                <a:ea typeface="TAN Angleton"/>
                <a:cs typeface="TAN Angleton"/>
              </a:rPr>
              <a:t>Birth Quality Next Steps</a:t>
            </a:r>
          </a:p>
        </p:txBody>
      </p:sp>
      <p:pic>
        <p:nvPicPr>
          <p:cNvPr id="5" name="Graphic 6" descr="Leaf with solid fill">
            <a:extLst>
              <a:ext uri="{FF2B5EF4-FFF2-40B4-BE49-F238E27FC236}">
                <a16:creationId xmlns:a16="http://schemas.microsoft.com/office/drawing/2014/main" id="{B3BBD64C-3918-489F-8240-81A9C10EB3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66965" y="96207"/>
            <a:ext cx="1578244" cy="1597616"/>
          </a:xfrm>
          <a:prstGeom prst="rect">
            <a:avLst/>
          </a:prstGeom>
        </p:spPr>
      </p:pic>
      <p:pic>
        <p:nvPicPr>
          <p:cNvPr id="6" name="Graphic 5" descr="A maple leaf">
            <a:extLst>
              <a:ext uri="{FF2B5EF4-FFF2-40B4-BE49-F238E27FC236}">
                <a16:creationId xmlns:a16="http://schemas.microsoft.com/office/drawing/2014/main" id="{70645191-485C-6D79-5335-57D2F3D014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-1800000">
            <a:off x="-116002" y="5244355"/>
            <a:ext cx="1678984" cy="1646696"/>
          </a:xfrm>
          <a:prstGeom prst="rect">
            <a:avLst/>
          </a:prstGeom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7EF9600-C7E2-4169-B4F1-544AFB4ACA81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4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67" t="59089" r="7899" b="5367"/>
          <a:stretch>
            <a:fillRect/>
          </a:stretch>
        </p:blipFill>
        <p:spPr>
          <a:xfrm>
            <a:off x="0" y="0"/>
            <a:ext cx="12196977" cy="6863484"/>
          </a:xfrm>
          <a:prstGeom prst="rect">
            <a:avLst/>
          </a:prstGeom>
          <a:ln>
            <a:solidFill>
              <a:schemeClr val="bg1"/>
            </a:solidFill>
          </a:ln>
        </p:spPr>
      </p:pic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9C2FBACE-EDA0-9D16-1A31-57753BC8A5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4373229"/>
              </p:ext>
            </p:extLst>
          </p:nvPr>
        </p:nvGraphicFramePr>
        <p:xfrm>
          <a:off x="1173826" y="1789257"/>
          <a:ext cx="9844347" cy="2496455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5437415">
                  <a:extLst>
                    <a:ext uri="{9D8B030D-6E8A-4147-A177-3AD203B41FA5}">
                      <a16:colId xmlns:a16="http://schemas.microsoft.com/office/drawing/2014/main" val="3830156174"/>
                    </a:ext>
                  </a:extLst>
                </a:gridCol>
                <a:gridCol w="4406932">
                  <a:extLst>
                    <a:ext uri="{9D8B030D-6E8A-4147-A177-3AD203B41FA5}">
                      <a16:colId xmlns:a16="http://schemas.microsoft.com/office/drawing/2014/main" val="203316834"/>
                    </a:ext>
                  </a:extLst>
                </a:gridCol>
              </a:tblGrid>
              <a:tr h="881737">
                <a:tc>
                  <a:txBody>
                    <a:bodyPr/>
                    <a:lstStyle/>
                    <a:p>
                      <a:pPr lvl="0" algn="ctr">
                        <a:lnSpc>
                          <a:spcPts val="4900"/>
                        </a:lnSpc>
                      </a:pPr>
                      <a:r>
                        <a:rPr lang="en-US" sz="2300" b="1" dirty="0">
                          <a:solidFill>
                            <a:srgbClr val="000000"/>
                          </a:solidFill>
                          <a:latin typeface="DM Sans"/>
                          <a:ea typeface="Canva Sans Bold"/>
                          <a:cs typeface="Canva Sans Bold"/>
                        </a:rPr>
                        <a:t>Call Topic</a:t>
                      </a:r>
                      <a:endParaRPr lang="en-US" sz="700" dirty="0">
                        <a:latin typeface="DM Sans"/>
                      </a:endParaRPr>
                    </a:p>
                  </a:txBody>
                  <a:tcPr marL="127001" marR="127001" marT="127001" marB="127001" anchor="ctr">
                    <a:lnL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D8F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ts val="4900"/>
                        </a:lnSpc>
                      </a:pPr>
                      <a:r>
                        <a:rPr lang="en-US" sz="2300" b="1" dirty="0">
                          <a:solidFill>
                            <a:srgbClr val="000000"/>
                          </a:solidFill>
                          <a:latin typeface="DM Sans"/>
                          <a:ea typeface="Canva Sans Bold"/>
                          <a:cs typeface="Canva Sans Bold"/>
                        </a:rPr>
                        <a:t>Date</a:t>
                      </a:r>
                      <a:endParaRPr lang="en-US" sz="700" dirty="0">
                        <a:latin typeface="DM Sans"/>
                      </a:endParaRPr>
                    </a:p>
                  </a:txBody>
                  <a:tcPr marL="127001" marR="127001" marT="127001" marB="127001" anchor="ctr">
                    <a:lnL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D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1517589"/>
                  </a:ext>
                </a:extLst>
              </a:tr>
              <a:tr h="863603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b="0" i="0" u="none" strike="sngStrike" dirty="0">
                          <a:solidFill>
                            <a:srgbClr val="000000"/>
                          </a:solidFill>
                          <a:latin typeface="DM Sans"/>
                        </a:rPr>
                        <a:t>Birth Quality Excellence Award Designation Webinar</a:t>
                      </a:r>
                      <a:endParaRPr lang="en-US" sz="2000" b="0" i="0" u="none" strike="sngStrike" dirty="0">
                        <a:solidFill>
                          <a:srgbClr val="444C55"/>
                        </a:solidFill>
                        <a:latin typeface="DM Sans"/>
                      </a:endParaRPr>
                    </a:p>
                  </a:txBody>
                  <a:tcPr marL="127001" marR="127001" marT="127001" marB="127001" anchor="ctr">
                    <a:lnL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ts val="3220"/>
                        </a:lnSpc>
                      </a:pPr>
                      <a:r>
                        <a:rPr lang="en-US" sz="2000" b="0" strike="sngStrike" dirty="0">
                          <a:solidFill>
                            <a:srgbClr val="000000"/>
                          </a:solidFill>
                          <a:latin typeface="DM Sans"/>
                        </a:rPr>
                        <a:t>September 8th, 2025, 1:00pm</a:t>
                      </a:r>
                    </a:p>
                  </a:txBody>
                  <a:tcPr marL="127001" marR="127001" marT="127001" marB="127001" anchor="ctr">
                    <a:lnL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986673"/>
                  </a:ext>
                </a:extLst>
              </a:tr>
              <a:tr h="751115">
                <a:tc>
                  <a:txBody>
                    <a:bodyPr/>
                    <a:lstStyle/>
                    <a:p>
                      <a:pPr lvl="0" algn="ctr">
                        <a:lnSpc>
                          <a:spcPts val="3220"/>
                        </a:lnSpc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latin typeface="DM Sans"/>
                        </a:rPr>
                        <a:t>First PMH Monthly Webinar</a:t>
                      </a:r>
                    </a:p>
                  </a:txBody>
                  <a:tcPr marL="127001" marR="127001" marT="127001" marB="127001" anchor="ctr">
                    <a:lnL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ts val="3220"/>
                        </a:lnSpc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latin typeface="DM Sans"/>
                          <a:ea typeface="Canva Sans"/>
                          <a:cs typeface="Canva Sans"/>
                        </a:rPr>
                        <a:t>September 22nd, 2025, 12:00pm</a:t>
                      </a:r>
                      <a:endParaRPr lang="en-US" sz="2000" dirty="0">
                        <a:solidFill>
                          <a:srgbClr val="000000"/>
                        </a:solidFill>
                        <a:latin typeface="DM Sans"/>
                      </a:endParaRPr>
                    </a:p>
                  </a:txBody>
                  <a:tcPr marL="127001" marR="127001" marT="127001" marB="127001" anchor="ctr">
                    <a:lnL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0341826"/>
                  </a:ext>
                </a:extLst>
              </a:tr>
            </a:tbl>
          </a:graphicData>
        </a:graphic>
      </p:graphicFrame>
      <p:sp>
        <p:nvSpPr>
          <p:cNvPr id="3" name="TextBox 3">
            <a:extLst>
              <a:ext uri="{FF2B5EF4-FFF2-40B4-BE49-F238E27FC236}">
                <a16:creationId xmlns:a16="http://schemas.microsoft.com/office/drawing/2014/main" id="{744B5447-F319-F47F-0380-6DB250FCE840}"/>
              </a:ext>
            </a:extLst>
          </p:cNvPr>
          <p:cNvSpPr txBox="1"/>
          <p:nvPr/>
        </p:nvSpPr>
        <p:spPr>
          <a:xfrm>
            <a:off x="-77582" y="-23386"/>
            <a:ext cx="8638279" cy="147732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957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800" b="1" dirty="0">
                <a:solidFill>
                  <a:srgbClr val="463A35"/>
                </a:solidFill>
                <a:latin typeface="DM Sans"/>
                <a:ea typeface="Canva Sans Bold"/>
                <a:cs typeface="Canva Sans Bold"/>
              </a:rPr>
              <a:t>Upcoming OB Webinars </a:t>
            </a:r>
            <a:r>
              <a:rPr lang="en-US" sz="6000" b="1" dirty="0">
                <a:solidFill>
                  <a:srgbClr val="463A35"/>
                </a:solidFill>
                <a:latin typeface="DM Sans"/>
                <a:ea typeface="Canva Sans Bold"/>
                <a:cs typeface="Canva Sans Bold"/>
              </a:rPr>
              <a:t> </a:t>
            </a:r>
          </a:p>
          <a:p>
            <a:pPr algn="ctr" defTabSz="60957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600" dirty="0">
                <a:solidFill>
                  <a:srgbClr val="463A35"/>
                </a:solidFill>
                <a:latin typeface="DM Sans"/>
                <a:ea typeface="Canva Sans Bold"/>
                <a:cs typeface="Canva Sans Bold"/>
              </a:rPr>
              <a:t>    </a:t>
            </a:r>
            <a:endParaRPr lang="en-US" sz="6000" dirty="0">
              <a:solidFill>
                <a:srgbClr val="463A35"/>
              </a:solidFill>
              <a:latin typeface="DM Sans"/>
              <a:ea typeface="Canva Sans Bold"/>
              <a:cs typeface="Canva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136109219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7">
          <a:extLst>
            <a:ext uri="{FF2B5EF4-FFF2-40B4-BE49-F238E27FC236}">
              <a16:creationId xmlns:a16="http://schemas.microsoft.com/office/drawing/2014/main" id="{8A30950F-AB30-8BA1-8CC0-11EA771E4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Google Shape;370;p16">
            <a:extLst>
              <a:ext uri="{FF2B5EF4-FFF2-40B4-BE49-F238E27FC236}">
                <a16:creationId xmlns:a16="http://schemas.microsoft.com/office/drawing/2014/main" id="{E56398B0-5FC9-5460-C307-E0F05918F1D8}"/>
              </a:ext>
            </a:extLst>
          </p:cNvPr>
          <p:cNvSpPr txBox="1">
            <a:spLocks noGrp="1"/>
          </p:cNvSpPr>
          <p:nvPr>
            <p:ph type="sldNum" sz="quarter" idx="4294967295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DM Sans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EB3B7"/>
                </a:buClr>
                <a:buSzPts val="1200"/>
                <a:buFont typeface="Calibri"/>
                <a:buNone/>
                <a:tabLst/>
                <a:defRPr/>
              </a:pPr>
              <a:t>45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AEB3B7"/>
              </a:solidFill>
              <a:effectLst/>
              <a:uLnTx/>
              <a:uFillTx/>
              <a:latin typeface="DM Sans" pitchFamily="2" charset="77"/>
              <a:ea typeface="Calibri"/>
              <a:cs typeface="Calibri"/>
              <a:sym typeface="Calibri"/>
            </a:endParaRPr>
          </a:p>
        </p:txBody>
      </p:sp>
      <p:sp>
        <p:nvSpPr>
          <p:cNvPr id="6" name="Google Shape;368;p16">
            <a:extLst>
              <a:ext uri="{FF2B5EF4-FFF2-40B4-BE49-F238E27FC236}">
                <a16:creationId xmlns:a16="http://schemas.microsoft.com/office/drawing/2014/main" id="{CD83162F-8E22-5EE1-B795-F531A800F6E2}"/>
              </a:ext>
            </a:extLst>
          </p:cNvPr>
          <p:cNvSpPr txBox="1">
            <a:spLocks/>
          </p:cNvSpPr>
          <p:nvPr/>
        </p:nvSpPr>
        <p:spPr>
          <a:xfrm>
            <a:off x="8194273" y="3705015"/>
            <a:ext cx="4402346" cy="1325562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The Westin Lombard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F58366"/>
              </a:solidFill>
              <a:effectLst/>
              <a:uLnTx/>
              <a:uFillTx/>
              <a:latin typeface="DM Sans" pitchFamily="2" charset="7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Hotel Room Block</a:t>
            </a:r>
            <a:b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</a:br>
            <a:r>
              <a:rPr lang="en-US" sz="2600" dirty="0">
                <a:solidFill>
                  <a:srgbClr val="F58366"/>
                </a:solidFill>
                <a:latin typeface="DM Sans" pitchFamily="2" charset="77"/>
                <a:ea typeface="Lato Medium"/>
                <a:cs typeface="Lato Medium"/>
              </a:rPr>
              <a:t>will be available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F58366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368" name="Google Shape;368;p16">
            <a:extLst>
              <a:ext uri="{FF2B5EF4-FFF2-40B4-BE49-F238E27FC236}">
                <a16:creationId xmlns:a16="http://schemas.microsoft.com/office/drawing/2014/main" id="{8C50313B-D6E4-4CE1-AE5C-559EDA1E2374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524951" y="2114695"/>
            <a:ext cx="3740990" cy="1325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algn="ctr">
              <a:buClr>
                <a:schemeClr val="accent1"/>
              </a:buClr>
              <a:buSzPts val="4000"/>
            </a:pPr>
            <a:r>
              <a:rPr lang="en-US" sz="4400" dirty="0">
                <a:latin typeface="DM Sans"/>
                <a:ea typeface="Lato Medium"/>
                <a:cs typeface="Lato Medium"/>
              </a:rPr>
              <a:t>Registration </a:t>
            </a:r>
            <a:br>
              <a:rPr lang="en-US" sz="4400" dirty="0">
                <a:latin typeface="DM Sans" pitchFamily="2" charset="77"/>
                <a:ea typeface="Lato Medium"/>
                <a:cs typeface="Lato Medium"/>
              </a:rPr>
            </a:br>
            <a:r>
              <a:rPr lang="en-US" sz="4400" dirty="0">
                <a:latin typeface="DM Sans"/>
                <a:ea typeface="Lato Medium"/>
                <a:cs typeface="Lato Medium"/>
              </a:rPr>
              <a:t>Now Open</a:t>
            </a:r>
            <a:endParaRPr lang="en-US" sz="4400" dirty="0">
              <a:latin typeface="DM Sans" pitchFamily="2" charset="77"/>
              <a:ea typeface="Lato Medium"/>
              <a:cs typeface="Lato Medium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34BA1BE-6ED3-64D4-0D0D-117B48397CF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031" y="765463"/>
            <a:ext cx="8078920" cy="4554638"/>
          </a:xfrm>
          <a:prstGeom prst="rect">
            <a:avLst/>
          </a:prstGeom>
        </p:spPr>
      </p:pic>
      <p:sp>
        <p:nvSpPr>
          <p:cNvPr id="5" name="Rectangle 1">
            <a:extLst>
              <a:ext uri="{FF2B5EF4-FFF2-40B4-BE49-F238E27FC236}">
                <a16:creationId xmlns:a16="http://schemas.microsoft.com/office/drawing/2014/main" id="{D24E3C54-43D2-9707-F886-09EBD704A2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8F31672F-8CFA-95F2-B898-39FB023B9F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-322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00A967CD-D77E-3E8A-8218-6135D94835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00" y="1201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16" name="Freeform 2">
            <a:extLst>
              <a:ext uri="{FF2B5EF4-FFF2-40B4-BE49-F238E27FC236}">
                <a16:creationId xmlns:a16="http://schemas.microsoft.com/office/drawing/2014/main" id="{29B34B4F-D551-AC9E-E2A3-6F715D5A4A58}"/>
              </a:ext>
            </a:extLst>
          </p:cNvPr>
          <p:cNvSpPr/>
          <p:nvPr/>
        </p:nvSpPr>
        <p:spPr>
          <a:xfrm>
            <a:off x="3221816" y="3939227"/>
            <a:ext cx="1801577" cy="2194045"/>
          </a:xfrm>
          <a:custGeom>
            <a:avLst/>
            <a:gdLst/>
            <a:ahLst/>
            <a:cxnLst/>
            <a:rect l="l" t="t" r="r" b="b"/>
            <a:pathLst>
              <a:path w="4407761" h="4369193">
                <a:moveTo>
                  <a:pt x="0" y="0"/>
                </a:moveTo>
                <a:lnTo>
                  <a:pt x="4407761" y="0"/>
                </a:lnTo>
                <a:lnTo>
                  <a:pt x="4407761" y="4369193"/>
                </a:lnTo>
                <a:lnTo>
                  <a:pt x="0" y="4369193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>
              <a:latin typeface="DM Sa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4650411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DM Sans" pitchFamily="2" charset="77"/>
              <a:ea typeface="+mn-ea"/>
              <a:cs typeface="Arial"/>
              <a:sym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cs typeface="Arial"/>
                <a:sym typeface="Arial"/>
              </a:rPr>
              <a:t>Illinois Perinatal Quality Collaborative</a:t>
            </a:r>
          </a:p>
        </p:txBody>
      </p:sp>
      <p:sp>
        <p:nvSpPr>
          <p:cNvPr id="8" name="Google Shape;368;p16"/>
          <p:cNvSpPr txBox="1">
            <a:spLocks/>
          </p:cNvSpPr>
          <p:nvPr/>
        </p:nvSpPr>
        <p:spPr>
          <a:xfrm>
            <a:off x="0" y="2062979"/>
            <a:ext cx="8435788" cy="266007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  <a:sym typeface="Arial"/>
              </a:rPr>
              <a:t>ILPQC Parent Partners 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  <a:sym typeface="Arial"/>
              </a:rPr>
              <a:t>working with an ILPQC hospital are invited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  <a:sym typeface="Arial"/>
              </a:rPr>
              <a:t> to 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  <a:sym typeface="Arial"/>
              </a:rPr>
              <a:t>attend this year’s Annual Conference</a:t>
            </a:r>
            <a:endParaRPr kumimoji="0" lang="en-US" sz="2200" b="1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Lato Medium"/>
              <a:cs typeface="Lato Medium"/>
              <a:sym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0C8D749-49B2-A007-8DFF-3F8E29AB2FD0}"/>
              </a:ext>
            </a:extLst>
          </p:cNvPr>
          <p:cNvSpPr txBox="1">
            <a:spLocks/>
          </p:cNvSpPr>
          <p:nvPr/>
        </p:nvSpPr>
        <p:spPr>
          <a:xfrm>
            <a:off x="265328" y="-1014330"/>
            <a:ext cx="9795553" cy="2696322"/>
          </a:xfrm>
          <a:prstGeom prst="rect">
            <a:avLst/>
          </a:prstGeom>
        </p:spPr>
        <p:txBody>
          <a:bodyPr lIns="91440" tIns="45720" rIns="91440" bIns="45720" anchor="b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500" b="1" i="0" u="none" strike="noStrike" kern="1200" cap="none" spc="0" normalizeH="0" baseline="0" noProof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  <a:sym typeface="Arial"/>
              </a:rPr>
              <a:t>ILPQC Patient/ Parent Partner Opportunity </a:t>
            </a:r>
            <a:endParaRPr kumimoji="0" lang="en-US" sz="3500" b="1" i="0" u="none" strike="noStrike" kern="1200" cap="none" spc="0" normalizeH="0" baseline="0" noProof="0">
              <a:ln>
                <a:noFill/>
              </a:ln>
              <a:solidFill>
                <a:srgbClr val="1C498B"/>
              </a:solidFill>
              <a:effectLst/>
              <a:uLnTx/>
              <a:uFillTx/>
              <a:latin typeface="DM Sans" pitchFamily="2" charset="77"/>
              <a:ea typeface="Lato Medium" panose="020F0502020204030203" pitchFamily="34" charset="0"/>
              <a:cs typeface="Lato Medium" panose="020F0502020204030203" pitchFamily="34" charset="0"/>
              <a:sym typeface="Arial"/>
            </a:endParaRP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22AC606F-A5D8-4CD2-A0B4-A0A01DC0D9CA}"/>
              </a:ext>
            </a:extLst>
          </p:cNvPr>
          <p:cNvSpPr/>
          <p:nvPr/>
        </p:nvSpPr>
        <p:spPr>
          <a:xfrm>
            <a:off x="361458" y="4428565"/>
            <a:ext cx="3775188" cy="1927785"/>
          </a:xfrm>
          <a:custGeom>
            <a:avLst/>
            <a:gdLst/>
            <a:ahLst/>
            <a:cxnLst/>
            <a:rect l="l" t="t" r="r" b="b"/>
            <a:pathLst>
              <a:path w="9705733" h="4598091">
                <a:moveTo>
                  <a:pt x="0" y="0"/>
                </a:moveTo>
                <a:lnTo>
                  <a:pt x="9705733" y="0"/>
                </a:lnTo>
                <a:lnTo>
                  <a:pt x="9705733" y="4598091"/>
                </a:lnTo>
                <a:lnTo>
                  <a:pt x="0" y="4598091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" pitchFamily="2" charset="77"/>
              <a:cs typeface="Arial"/>
              <a:sym typeface="Arial"/>
            </a:endParaRPr>
          </a:p>
        </p:txBody>
      </p:sp>
      <p:sp>
        <p:nvSpPr>
          <p:cNvPr id="12" name="Freeform 4">
            <a:extLst>
              <a:ext uri="{FF2B5EF4-FFF2-40B4-BE49-F238E27FC236}">
                <a16:creationId xmlns:a16="http://schemas.microsoft.com/office/drawing/2014/main" id="{E71FC009-ADF4-40AF-AD7D-FA2E0BB3389C}"/>
              </a:ext>
            </a:extLst>
          </p:cNvPr>
          <p:cNvSpPr/>
          <p:nvPr/>
        </p:nvSpPr>
        <p:spPr>
          <a:xfrm>
            <a:off x="6839249" y="4030404"/>
            <a:ext cx="4366634" cy="2278613"/>
          </a:xfrm>
          <a:custGeom>
            <a:avLst/>
            <a:gdLst/>
            <a:ahLst/>
            <a:cxnLst/>
            <a:rect l="l" t="t" r="r" b="b"/>
            <a:pathLst>
              <a:path w="7315200" h="3577798">
                <a:moveTo>
                  <a:pt x="0" y="0"/>
                </a:moveTo>
                <a:lnTo>
                  <a:pt x="7315200" y="0"/>
                </a:lnTo>
                <a:lnTo>
                  <a:pt x="7315200" y="3577798"/>
                </a:lnTo>
                <a:lnTo>
                  <a:pt x="0" y="3577798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" pitchFamily="2" charset="77"/>
              <a:cs typeface="Arial"/>
              <a:sym typeface="Arial"/>
            </a:endParaRPr>
          </a:p>
        </p:txBody>
      </p:sp>
      <p:sp>
        <p:nvSpPr>
          <p:cNvPr id="5" name="Wave 4">
            <a:extLst>
              <a:ext uri="{FF2B5EF4-FFF2-40B4-BE49-F238E27FC236}">
                <a16:creationId xmlns:a16="http://schemas.microsoft.com/office/drawing/2014/main" id="{824D8D51-2EB1-492B-BF90-107387CF51BA}"/>
              </a:ext>
            </a:extLst>
          </p:cNvPr>
          <p:cNvSpPr/>
          <p:nvPr/>
        </p:nvSpPr>
        <p:spPr>
          <a:xfrm>
            <a:off x="0" y="501650"/>
            <a:ext cx="9130920" cy="1706508"/>
          </a:xfrm>
          <a:prstGeom prst="wave">
            <a:avLst>
              <a:gd name="adj1" fmla="val 12500"/>
              <a:gd name="adj2" fmla="val 229"/>
            </a:avLst>
          </a:prstGeom>
          <a:noFill/>
          <a:ln w="571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" pitchFamily="2" charset="77"/>
              <a:ea typeface="+mn-ea"/>
              <a:cs typeface="+mn-cs"/>
              <a:sym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32008CB-63E2-455E-B3FC-2E758133CE9A}"/>
              </a:ext>
            </a:extLst>
          </p:cNvPr>
          <p:cNvSpPr txBox="1"/>
          <p:nvPr/>
        </p:nvSpPr>
        <p:spPr>
          <a:xfrm>
            <a:off x="8701116" y="2072903"/>
            <a:ext cx="2988859" cy="130093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/>
                <a:ea typeface="Lato Medium"/>
                <a:cs typeface="Lato Medium"/>
                <a:sym typeface="Arial"/>
              </a:rPr>
              <a:t>FREE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/>
                <a:ea typeface="Lato Medium"/>
                <a:cs typeface="Lato Medium"/>
                <a:sym typeface="Arial"/>
              </a:rPr>
              <a:t>Registration &amp;    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/>
                <a:ea typeface="Lato Medium"/>
                <a:cs typeface="Lato Medium"/>
                <a:sym typeface="Arial"/>
              </a:rPr>
              <a:t>  1-night Hotel stay </a:t>
            </a:r>
            <a:endParaRPr lang="en-US" sz="1800" b="1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/>
              <a:ea typeface="Lato Medium"/>
              <a:cs typeface="Lato Medium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  <a:sym typeface="Arial"/>
              </a:rPr>
              <a:t>will be provided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C136B9D-DB73-41A7-BCE9-5B2924598EF2}"/>
              </a:ext>
            </a:extLst>
          </p:cNvPr>
          <p:cNvSpPr/>
          <p:nvPr/>
        </p:nvSpPr>
        <p:spPr>
          <a:xfrm>
            <a:off x="8701116" y="2074885"/>
            <a:ext cx="2976953" cy="128780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" pitchFamily="2" charset="77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068910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6C9B693A-1E47-117F-A949-26C285E5F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116" y="1049334"/>
            <a:ext cx="3925017" cy="3112135"/>
          </a:xfrm>
        </p:spPr>
        <p:txBody>
          <a:bodyPr anchor="ctr">
            <a:normAutofit/>
          </a:bodyPr>
          <a:lstStyle/>
          <a:p>
            <a:r>
              <a:rPr lang="en-US" sz="5400">
                <a:latin typeface="DM Sans" pitchFamily="2" charset="77"/>
                <a:ea typeface="Lato Medium"/>
                <a:cs typeface="Lato Medium"/>
              </a:rPr>
              <a:t>Upcoming Annual Conference Prep</a:t>
            </a:r>
            <a:endParaRPr lang="en-US" sz="5400">
              <a:latin typeface="DM Sans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ED54BC-687B-95DC-B1DF-ECE635CC74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DM Sans" pitchFamily="2" charset="77"/>
              <a:ea typeface="+mn-ea"/>
              <a:cs typeface="Arial"/>
              <a:sym typeface="Arial"/>
            </a:endParaRPr>
          </a:p>
        </p:txBody>
      </p:sp>
      <p:graphicFrame>
        <p:nvGraphicFramePr>
          <p:cNvPr id="9" name="Diagram 9">
            <a:extLst>
              <a:ext uri="{FF2B5EF4-FFF2-40B4-BE49-F238E27FC236}">
                <a16:creationId xmlns:a16="http://schemas.microsoft.com/office/drawing/2014/main" id="{25EB57FC-A0C6-0042-E219-B1DF451890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4903318"/>
              </p:ext>
            </p:extLst>
          </p:nvPr>
        </p:nvGraphicFramePr>
        <p:xfrm>
          <a:off x="4705527" y="554559"/>
          <a:ext cx="7101795" cy="60623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25" name="Rectangle: Rounded Corners 224">
            <a:extLst>
              <a:ext uri="{FF2B5EF4-FFF2-40B4-BE49-F238E27FC236}">
                <a16:creationId xmlns:a16="http://schemas.microsoft.com/office/drawing/2014/main" id="{CB0A0917-AFE1-6BF9-A27E-D2DD2D0CEB28}"/>
              </a:ext>
            </a:extLst>
          </p:cNvPr>
          <p:cNvSpPr/>
          <p:nvPr/>
        </p:nvSpPr>
        <p:spPr>
          <a:xfrm>
            <a:off x="287734" y="4732085"/>
            <a:ext cx="3925017" cy="165339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66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ea typeface="+mn-ea"/>
                <a:cs typeface="Calibri"/>
                <a:sym typeface="Arial"/>
              </a:rPr>
              <a:t>Data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+mn-ea"/>
                <a:cs typeface="Calibri"/>
                <a:sym typeface="Arial"/>
              </a:rPr>
              <a:t>, 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ea typeface="+mn-ea"/>
                <a:cs typeface="Calibri"/>
                <a:sym typeface="Arial"/>
              </a:rPr>
              <a:t>QI Abstracts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+mn-ea"/>
                <a:cs typeface="Calibri"/>
                <a:sym typeface="Arial"/>
              </a:rPr>
              <a:t>, &amp; </a:t>
            </a:r>
            <a:b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+mn-ea"/>
                <a:cs typeface="Calibri"/>
                <a:sym typeface="Arial"/>
              </a:rPr>
            </a:b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ea typeface="+mn-ea"/>
                <a:cs typeface="Calibri"/>
                <a:sym typeface="Arial"/>
              </a:rPr>
              <a:t>AC Teams Survey 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+mn-ea"/>
                <a:cs typeface="Calibri"/>
                <a:sym typeface="Arial"/>
              </a:rPr>
              <a:t>due: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ea typeface="+mn-ea"/>
                <a:cs typeface="Calibri"/>
                <a:sym typeface="Arial"/>
              </a:rPr>
              <a:t>September 30</a:t>
            </a:r>
            <a:r>
              <a:rPr kumimoji="0" lang="en-US" sz="2200" b="1" i="0" u="none" strike="noStrike" kern="1200" cap="none" spc="0" normalizeH="0" baseline="3000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ea typeface="+mn-ea"/>
                <a:cs typeface="Calibri"/>
                <a:sym typeface="Arial"/>
              </a:rPr>
              <a:t>th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ea typeface="+mn-ea"/>
                <a:cs typeface="Calibri"/>
                <a:sym typeface="Arial"/>
              </a:rPr>
              <a:t>, 2025</a:t>
            </a:r>
          </a:p>
        </p:txBody>
      </p:sp>
      <p:sp>
        <p:nvSpPr>
          <p:cNvPr id="10" name="Freeform 2">
            <a:extLst>
              <a:ext uri="{FF2B5EF4-FFF2-40B4-BE49-F238E27FC236}">
                <a16:creationId xmlns:a16="http://schemas.microsoft.com/office/drawing/2014/main" id="{7E38EADE-D379-45E3-A176-FE61D29EEFB8}"/>
              </a:ext>
            </a:extLst>
          </p:cNvPr>
          <p:cNvSpPr/>
          <p:nvPr/>
        </p:nvSpPr>
        <p:spPr>
          <a:xfrm>
            <a:off x="2090300" y="3273146"/>
            <a:ext cx="1304467" cy="1458939"/>
          </a:xfrm>
          <a:custGeom>
            <a:avLst/>
            <a:gdLst/>
            <a:ahLst/>
            <a:cxnLst/>
            <a:rect l="l" t="t" r="r" b="b"/>
            <a:pathLst>
              <a:path w="4407761" h="4369193">
                <a:moveTo>
                  <a:pt x="0" y="0"/>
                </a:moveTo>
                <a:lnTo>
                  <a:pt x="4407761" y="0"/>
                </a:lnTo>
                <a:lnTo>
                  <a:pt x="4407761" y="4369193"/>
                </a:lnTo>
                <a:lnTo>
                  <a:pt x="0" y="4369193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" pitchFamily="2" charset="77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740643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C8D749-49B2-A007-8DFF-3F8E29AB2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159" y="397038"/>
            <a:ext cx="5375016" cy="1956841"/>
          </a:xfrm>
        </p:spPr>
        <p:txBody>
          <a:bodyPr anchor="b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 sz="4200" dirty="0">
                <a:latin typeface="DM Sans" pitchFamily="2" charset="77"/>
                <a:ea typeface="Lato Medium"/>
                <a:cs typeface="Lato Medium"/>
              </a:rPr>
              <a:t>13th Annual Conference </a:t>
            </a:r>
            <a:br>
              <a:rPr lang="en-US" sz="4200" dirty="0">
                <a:solidFill>
                  <a:schemeClr val="tx1"/>
                </a:solidFill>
                <a:latin typeface="DM Sans" pitchFamily="2" charset="77"/>
                <a:ea typeface="Lato Medium"/>
                <a:cs typeface="Lato Medium"/>
              </a:rPr>
            </a:br>
            <a:r>
              <a:rPr lang="en-US" sz="4200" dirty="0">
                <a:solidFill>
                  <a:schemeClr val="accent3"/>
                </a:solidFill>
                <a:latin typeface="DM Sans" pitchFamily="2" charset="77"/>
                <a:ea typeface="Lato Medium"/>
                <a:cs typeface="Lato Medium"/>
              </a:rPr>
              <a:t>Event Committee Volunteers </a:t>
            </a:r>
            <a:endParaRPr lang="en-US" sz="4200" dirty="0">
              <a:solidFill>
                <a:schemeClr val="accent3"/>
              </a:solidFill>
              <a:latin typeface="DM Sans" pitchFamily="2" charset="77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F00FE42-183C-8B65-1DA4-289D0CFB7B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31224" y="185831"/>
            <a:ext cx="6508375" cy="28008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1800" dirty="0">
                <a:latin typeface="DM Sans" pitchFamily="2" charset="77"/>
              </a:rPr>
              <a:t>Join the amazing team that brings the ILPQC AC to life! </a:t>
            </a:r>
          </a:p>
          <a:p>
            <a:r>
              <a:rPr lang="en-US" sz="1800" dirty="0">
                <a:latin typeface="DM Sans" pitchFamily="2" charset="77"/>
              </a:rPr>
              <a:t>Play a key role in making our 13th Annual Conference a meaningful experience for all.</a:t>
            </a:r>
          </a:p>
          <a:p>
            <a:r>
              <a:rPr lang="en-US" sz="1800" dirty="0">
                <a:latin typeface="DM Sans" pitchFamily="2" charset="77"/>
              </a:rPr>
              <a:t>Help ensure a seamless, welcoming, and inspiring day for attendees across Illinois.</a:t>
            </a:r>
          </a:p>
          <a:p>
            <a:r>
              <a:rPr lang="en-US" sz="1800" dirty="0">
                <a:latin typeface="DM Sans" pitchFamily="2" charset="77"/>
              </a:rPr>
              <a:t>From registration to session support, your role keeps the day running smoothly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5EA985-720D-EF1E-8F35-8CE99030E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8400" y="6356350"/>
            <a:ext cx="4114800" cy="365125"/>
          </a:xfrm>
        </p:spPr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F21D11-6F39-D1A6-5D85-A7BF70DC6E8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39400" y="6356350"/>
            <a:ext cx="914400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pic>
        <p:nvPicPr>
          <p:cNvPr id="7" name="Graphic 6" descr="Leaf with solid fill">
            <a:extLst>
              <a:ext uri="{FF2B5EF4-FFF2-40B4-BE49-F238E27FC236}">
                <a16:creationId xmlns:a16="http://schemas.microsoft.com/office/drawing/2014/main" id="{B3BBD64C-3918-489F-8240-81A9C10EB3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16824" y="1605358"/>
            <a:ext cx="914400" cy="9144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4D74CA0-2CD4-4679-99B7-626EE26926C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6109" y="3296468"/>
            <a:ext cx="4673262" cy="3319044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27E6BF03-D3A8-42C6-A93F-59CCEBB5255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864" y="3296468"/>
            <a:ext cx="5276737" cy="3319043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2D179BA0-2003-47D9-A158-4EB2C38BDFF3}"/>
              </a:ext>
            </a:extLst>
          </p:cNvPr>
          <p:cNvSpPr txBox="1"/>
          <p:nvPr/>
        </p:nvSpPr>
        <p:spPr>
          <a:xfrm>
            <a:off x="670109" y="268563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Lato"/>
                <a:cs typeface="Lato"/>
              </a:rPr>
              <a:t>Interested? Email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DM Sans" pitchFamily="2" charset="77"/>
                <a:ea typeface="Lato"/>
                <a:cs typeface="Lato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ilpqc.org</a:t>
            </a:r>
          </a:p>
        </p:txBody>
      </p:sp>
    </p:spTree>
    <p:extLst>
      <p:ext uri="{BB962C8B-B14F-4D97-AF65-F5344CB8AC3E}">
        <p14:creationId xmlns:p14="http://schemas.microsoft.com/office/powerpoint/2010/main" val="35168072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">
          <a:extLst>
            <a:ext uri="{FF2B5EF4-FFF2-40B4-BE49-F238E27FC236}">
              <a16:creationId xmlns:a16="http://schemas.microsoft.com/office/drawing/2014/main" id="{52CF86AE-EC8C-5FDF-B616-D70498DAD6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Google Shape;125;p3">
            <a:extLst>
              <a:ext uri="{FF2B5EF4-FFF2-40B4-BE49-F238E27FC236}">
                <a16:creationId xmlns:a16="http://schemas.microsoft.com/office/drawing/2014/main" id="{60191B25-1B7F-E004-4C16-A65DBD3AB5FF}"/>
              </a:ext>
            </a:extLst>
          </p:cNvPr>
          <p:cNvSpPr/>
          <p:nvPr/>
        </p:nvSpPr>
        <p:spPr>
          <a:xfrm>
            <a:off x="9264319" y="228371"/>
            <a:ext cx="2025315" cy="911940"/>
          </a:xfrm>
          <a:custGeom>
            <a:avLst/>
            <a:gdLst/>
            <a:ahLst/>
            <a:cxnLst/>
            <a:rect l="l" t="t" r="r" b="b"/>
            <a:pathLst>
              <a:path w="3037973" h="1367910" extrusionOk="0">
                <a:moveTo>
                  <a:pt x="0" y="0"/>
                </a:moveTo>
                <a:lnTo>
                  <a:pt x="3037973" y="0"/>
                </a:lnTo>
                <a:lnTo>
                  <a:pt x="3037973" y="1367910"/>
                </a:lnTo>
                <a:lnTo>
                  <a:pt x="0" y="136791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b="-95"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/>
          <a:p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" name="Google Shape;126;p3">
            <a:extLst>
              <a:ext uri="{FF2B5EF4-FFF2-40B4-BE49-F238E27FC236}">
                <a16:creationId xmlns:a16="http://schemas.microsoft.com/office/drawing/2014/main" id="{498C1F09-F275-1C05-7ADD-E38A273BE09E}"/>
              </a:ext>
            </a:extLst>
          </p:cNvPr>
          <p:cNvSpPr/>
          <p:nvPr/>
        </p:nvSpPr>
        <p:spPr>
          <a:xfrm>
            <a:off x="7186640" y="1"/>
            <a:ext cx="5000459" cy="1425992"/>
          </a:xfrm>
          <a:custGeom>
            <a:avLst/>
            <a:gdLst/>
            <a:ahLst/>
            <a:cxnLst/>
            <a:rect l="l" t="t" r="r" b="b"/>
            <a:pathLst>
              <a:path w="7500689" h="2138988" extrusionOk="0">
                <a:moveTo>
                  <a:pt x="0" y="0"/>
                </a:moveTo>
                <a:lnTo>
                  <a:pt x="7500689" y="0"/>
                </a:lnTo>
                <a:lnTo>
                  <a:pt x="7500689" y="2138989"/>
                </a:lnTo>
                <a:lnTo>
                  <a:pt x="0" y="213898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/>
          <a:p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27" name="Google Shape;127;p3">
            <a:extLst>
              <a:ext uri="{FF2B5EF4-FFF2-40B4-BE49-F238E27FC236}">
                <a16:creationId xmlns:a16="http://schemas.microsoft.com/office/drawing/2014/main" id="{9F58B2DB-B549-A9C3-7797-31672CE5FC9E}"/>
              </a:ext>
            </a:extLst>
          </p:cNvPr>
          <p:cNvCxnSpPr/>
          <p:nvPr/>
        </p:nvCxnSpPr>
        <p:spPr>
          <a:xfrm rot="1988">
            <a:off x="606424" y="6335713"/>
            <a:ext cx="10979152" cy="0"/>
          </a:xfrm>
          <a:prstGeom prst="straightConnector1">
            <a:avLst/>
          </a:prstGeom>
          <a:noFill/>
          <a:ln w="9525" cap="rnd" cmpd="sng">
            <a:solidFill>
              <a:srgbClr val="79818A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128" name="Google Shape;128;p3">
            <a:extLst>
              <a:ext uri="{FF2B5EF4-FFF2-40B4-BE49-F238E27FC236}">
                <a16:creationId xmlns:a16="http://schemas.microsoft.com/office/drawing/2014/main" id="{D62364BD-9065-C67C-BDE5-AF904C6ED7D7}"/>
              </a:ext>
            </a:extLst>
          </p:cNvPr>
          <p:cNvGrpSpPr/>
          <p:nvPr/>
        </p:nvGrpSpPr>
        <p:grpSpPr>
          <a:xfrm>
            <a:off x="383381" y="365126"/>
            <a:ext cx="8454887" cy="1444625"/>
            <a:chOff x="-612122" y="0"/>
            <a:chExt cx="22877928" cy="2889250"/>
          </a:xfrm>
        </p:grpSpPr>
        <p:sp>
          <p:nvSpPr>
            <p:cNvPr id="129" name="Google Shape;129;p3">
              <a:extLst>
                <a:ext uri="{FF2B5EF4-FFF2-40B4-BE49-F238E27FC236}">
                  <a16:creationId xmlns:a16="http://schemas.microsoft.com/office/drawing/2014/main" id="{0314FCF3-3236-C3BC-6347-0A6E4742B205}"/>
                </a:ext>
              </a:extLst>
            </p:cNvPr>
            <p:cNvSpPr/>
            <p:nvPr/>
          </p:nvSpPr>
          <p:spPr>
            <a:xfrm>
              <a:off x="0" y="0"/>
              <a:ext cx="21945600" cy="2651126"/>
            </a:xfrm>
            <a:custGeom>
              <a:avLst/>
              <a:gdLst/>
              <a:ahLst/>
              <a:cxnLst/>
              <a:rect l="l" t="t" r="r" b="b"/>
              <a:pathLst>
                <a:path w="21945600" h="2651126" extrusionOk="0">
                  <a:moveTo>
                    <a:pt x="0" y="0"/>
                  </a:moveTo>
                  <a:lnTo>
                    <a:pt x="21945600" y="0"/>
                  </a:lnTo>
                  <a:lnTo>
                    <a:pt x="21945600" y="2651126"/>
                  </a:lnTo>
                  <a:lnTo>
                    <a:pt x="0" y="2651126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130;p3">
              <a:extLst>
                <a:ext uri="{FF2B5EF4-FFF2-40B4-BE49-F238E27FC236}">
                  <a16:creationId xmlns:a16="http://schemas.microsoft.com/office/drawing/2014/main" id="{1611CD69-CAA2-60AF-120E-EA1A2ED15549}"/>
                </a:ext>
              </a:extLst>
            </p:cNvPr>
            <p:cNvSpPr txBox="1"/>
            <p:nvPr/>
          </p:nvSpPr>
          <p:spPr>
            <a:xfrm>
              <a:off x="-612122" y="238124"/>
              <a:ext cx="22877928" cy="265112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sz="3600" b="1" dirty="0">
                  <a:solidFill>
                    <a:srgbClr val="1C498B"/>
                  </a:solidFill>
                  <a:latin typeface="Arial"/>
                  <a:ea typeface="Arial"/>
                  <a:cs typeface="Arial"/>
                  <a:sym typeface="Arial"/>
                </a:rPr>
                <a:t>Staff supporting the Illinois Birthing Hospital Quality Designation Program!</a:t>
              </a:r>
              <a:endParaRPr lang="en-US" sz="1200" dirty="0"/>
            </a:p>
          </p:txBody>
        </p:sp>
      </p:grpSp>
      <p:grpSp>
        <p:nvGrpSpPr>
          <p:cNvPr id="131" name="Google Shape;131;p3">
            <a:extLst>
              <a:ext uri="{FF2B5EF4-FFF2-40B4-BE49-F238E27FC236}">
                <a16:creationId xmlns:a16="http://schemas.microsoft.com/office/drawing/2014/main" id="{3ABF2D48-111B-1CDD-F056-41A9D0566B6A}"/>
              </a:ext>
            </a:extLst>
          </p:cNvPr>
          <p:cNvGrpSpPr/>
          <p:nvPr/>
        </p:nvGrpSpPr>
        <p:grpSpPr>
          <a:xfrm>
            <a:off x="1148631" y="2353369"/>
            <a:ext cx="7482952" cy="3848850"/>
            <a:chOff x="-823357" y="0"/>
            <a:chExt cx="22768957" cy="9850473"/>
          </a:xfrm>
        </p:grpSpPr>
        <p:sp>
          <p:nvSpPr>
            <p:cNvPr id="132" name="Google Shape;132;p3">
              <a:extLst>
                <a:ext uri="{FF2B5EF4-FFF2-40B4-BE49-F238E27FC236}">
                  <a16:creationId xmlns:a16="http://schemas.microsoft.com/office/drawing/2014/main" id="{32F352AD-FA98-0614-4C6E-C05D71746041}"/>
                </a:ext>
              </a:extLst>
            </p:cNvPr>
            <p:cNvSpPr/>
            <p:nvPr/>
          </p:nvSpPr>
          <p:spPr>
            <a:xfrm>
              <a:off x="0" y="0"/>
              <a:ext cx="21945600" cy="8702676"/>
            </a:xfrm>
            <a:custGeom>
              <a:avLst/>
              <a:gdLst/>
              <a:ahLst/>
              <a:cxnLst/>
              <a:rect l="l" t="t" r="r" b="b"/>
              <a:pathLst>
                <a:path w="21945600" h="8702676" extrusionOk="0">
                  <a:moveTo>
                    <a:pt x="0" y="0"/>
                  </a:moveTo>
                  <a:lnTo>
                    <a:pt x="21945600" y="0"/>
                  </a:lnTo>
                  <a:lnTo>
                    <a:pt x="21945600" y="8702676"/>
                  </a:lnTo>
                  <a:lnTo>
                    <a:pt x="0" y="8702676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133;p3">
              <a:extLst>
                <a:ext uri="{FF2B5EF4-FFF2-40B4-BE49-F238E27FC236}">
                  <a16:creationId xmlns:a16="http://schemas.microsoft.com/office/drawing/2014/main" id="{D6B281F3-C2F2-7023-1D4B-F48EB3CA833E}"/>
                </a:ext>
              </a:extLst>
            </p:cNvPr>
            <p:cNvSpPr txBox="1"/>
            <p:nvPr/>
          </p:nvSpPr>
          <p:spPr>
            <a:xfrm>
              <a:off x="-823357" y="7421871"/>
              <a:ext cx="12732220" cy="242860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fontAlgn="base">
                <a:lnSpc>
                  <a:spcPts val="2200"/>
                </a:lnSpc>
              </a:pPr>
              <a:r>
                <a:rPr lang="en-US" sz="1600" b="1">
                  <a:solidFill>
                    <a:srgbClr val="1C498B"/>
                  </a:solidFill>
                  <a:latin typeface="Calibri" panose="020F0502020204030204" pitchFamily="34" charset="0"/>
                </a:rPr>
                <a:t>Maria Villagomez</a:t>
              </a:r>
              <a:r>
                <a:rPr lang="en-US" sz="1600">
                  <a:solidFill>
                    <a:srgbClr val="444C55"/>
                  </a:solidFill>
                  <a:latin typeface="Calibri" panose="020F0502020204030204" pitchFamily="34" charset="0"/>
                </a:rPr>
                <a:t>​</a:t>
              </a:r>
              <a:endParaRPr lang="en-US" sz="1600">
                <a:solidFill>
                  <a:srgbClr val="444C55"/>
                </a:solidFill>
                <a:latin typeface="Segoe UI" panose="020B0502040204020203" pitchFamily="34" charset="0"/>
              </a:endParaRPr>
            </a:p>
            <a:p>
              <a:pPr algn="ctr" fontAlgn="base">
                <a:lnSpc>
                  <a:spcPts val="2200"/>
                </a:lnSpc>
              </a:pPr>
              <a:r>
                <a:rPr lang="en-US" sz="1600" b="1">
                  <a:solidFill>
                    <a:srgbClr val="1C498B"/>
                  </a:solidFill>
                  <a:latin typeface="Calibri" panose="020F0502020204030204" pitchFamily="34" charset="0"/>
                </a:rPr>
                <a:t>ILPQC RN Quality Improvement</a:t>
              </a:r>
              <a:r>
                <a:rPr lang="en-US" sz="1600">
                  <a:solidFill>
                    <a:srgbClr val="444C55"/>
                  </a:solidFill>
                  <a:latin typeface="Calibri" panose="020F0502020204030204" pitchFamily="34" charset="0"/>
                </a:rPr>
                <a:t>​</a:t>
              </a:r>
              <a:r>
                <a:rPr lang="en-US" sz="1600">
                  <a:solidFill>
                    <a:srgbClr val="444C55"/>
                  </a:solidFill>
                  <a:latin typeface="Segoe UI" panose="020B0502040204020203" pitchFamily="34" charset="0"/>
                </a:rPr>
                <a:t> </a:t>
              </a:r>
              <a:r>
                <a:rPr lang="en-US" sz="1600" b="1">
                  <a:solidFill>
                    <a:srgbClr val="1C498B"/>
                  </a:solidFill>
                  <a:latin typeface="Calibri" panose="020F0502020204030204" pitchFamily="34" charset="0"/>
                </a:rPr>
                <a:t>Coordinator</a:t>
              </a:r>
            </a:p>
            <a:p>
              <a:pPr algn="ctr" fontAlgn="base">
                <a:lnSpc>
                  <a:spcPts val="2200"/>
                </a:lnSpc>
              </a:pPr>
              <a:r>
                <a:rPr lang="en-US" sz="1600">
                  <a:solidFill>
                    <a:srgbClr val="1C498B"/>
                  </a:solidFill>
                  <a:latin typeface="Calibri" panose="020F0502020204030204" pitchFamily="34" charset="0"/>
                </a:rPr>
                <a:t>Email: mvillagomez@northshore.org </a:t>
              </a:r>
              <a:endParaRPr lang="en-US" sz="1600">
                <a:solidFill>
                  <a:srgbClr val="444C55"/>
                </a:solidFill>
                <a:latin typeface="Segoe UI" panose="020B0502040204020203" pitchFamily="34" charset="0"/>
              </a:endParaRPr>
            </a:p>
            <a:p>
              <a:pPr marL="434362" lvl="1" indent="-217180">
                <a:lnSpc>
                  <a:spcPct val="12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444C55"/>
                </a:buClr>
                <a:buSzPts val="3600"/>
                <a:buFont typeface="Arial"/>
                <a:buChar char="•"/>
              </a:pPr>
              <a:endParaRPr sz="2400">
                <a:solidFill>
                  <a:srgbClr val="444C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34" name="Google Shape;134;p3">
            <a:extLst>
              <a:ext uri="{FF2B5EF4-FFF2-40B4-BE49-F238E27FC236}">
                <a16:creationId xmlns:a16="http://schemas.microsoft.com/office/drawing/2014/main" id="{6E08A8BC-E783-4343-0E64-AAA8F5B9B97F}"/>
              </a:ext>
            </a:extLst>
          </p:cNvPr>
          <p:cNvGrpSpPr/>
          <p:nvPr/>
        </p:nvGrpSpPr>
        <p:grpSpPr>
          <a:xfrm>
            <a:off x="8839200" y="6356351"/>
            <a:ext cx="2743200" cy="365125"/>
            <a:chOff x="0" y="0"/>
            <a:chExt cx="5486400" cy="730250"/>
          </a:xfrm>
        </p:grpSpPr>
        <p:sp>
          <p:nvSpPr>
            <p:cNvPr id="135" name="Google Shape;135;p3">
              <a:extLst>
                <a:ext uri="{FF2B5EF4-FFF2-40B4-BE49-F238E27FC236}">
                  <a16:creationId xmlns:a16="http://schemas.microsoft.com/office/drawing/2014/main" id="{C9AE4841-A1A5-9975-6768-71EE0FE7AC4F}"/>
                </a:ext>
              </a:extLst>
            </p:cNvPr>
            <p:cNvSpPr/>
            <p:nvPr/>
          </p:nvSpPr>
          <p:spPr>
            <a:xfrm>
              <a:off x="0" y="0"/>
              <a:ext cx="5486400" cy="730250"/>
            </a:xfrm>
            <a:custGeom>
              <a:avLst/>
              <a:gdLst/>
              <a:ahLst/>
              <a:cxnLst/>
              <a:rect l="l" t="t" r="r" b="b"/>
              <a:pathLst>
                <a:path w="5486400" h="730250" extrusionOk="0">
                  <a:moveTo>
                    <a:pt x="0" y="0"/>
                  </a:moveTo>
                  <a:lnTo>
                    <a:pt x="5486400" y="0"/>
                  </a:lnTo>
                  <a:lnTo>
                    <a:pt x="54864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136;p3">
              <a:extLst>
                <a:ext uri="{FF2B5EF4-FFF2-40B4-BE49-F238E27FC236}">
                  <a16:creationId xmlns:a16="http://schemas.microsoft.com/office/drawing/2014/main" id="{AF1916D8-4D66-D231-F092-7B16910357D1}"/>
                </a:ext>
              </a:extLst>
            </p:cNvPr>
            <p:cNvSpPr txBox="1"/>
            <p:nvPr/>
          </p:nvSpPr>
          <p:spPr>
            <a:xfrm>
              <a:off x="0" y="0"/>
              <a:ext cx="54864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sz="1200">
                  <a:solidFill>
                    <a:srgbClr val="AFB3B9"/>
                  </a:solidFill>
                  <a:latin typeface="Arial"/>
                  <a:ea typeface="Arial"/>
                  <a:cs typeface="Arial"/>
                  <a:sym typeface="Arial"/>
                </a:rPr>
                <a:t>2</a:t>
              </a:r>
              <a:endParaRPr sz="1200"/>
            </a:p>
          </p:txBody>
        </p:sp>
      </p:grpSp>
      <p:grpSp>
        <p:nvGrpSpPr>
          <p:cNvPr id="137" name="Google Shape;137;p3">
            <a:extLst>
              <a:ext uri="{FF2B5EF4-FFF2-40B4-BE49-F238E27FC236}">
                <a16:creationId xmlns:a16="http://schemas.microsoft.com/office/drawing/2014/main" id="{B9B42F02-9CE3-9480-7462-6AF6C3AD9060}"/>
              </a:ext>
            </a:extLst>
          </p:cNvPr>
          <p:cNvGrpSpPr/>
          <p:nvPr/>
        </p:nvGrpSpPr>
        <p:grpSpPr>
          <a:xfrm>
            <a:off x="609600" y="6356350"/>
            <a:ext cx="4114800" cy="365125"/>
            <a:chOff x="0" y="0"/>
            <a:chExt cx="8229600" cy="730250"/>
          </a:xfrm>
        </p:grpSpPr>
        <p:sp>
          <p:nvSpPr>
            <p:cNvPr id="138" name="Google Shape;138;p3">
              <a:extLst>
                <a:ext uri="{FF2B5EF4-FFF2-40B4-BE49-F238E27FC236}">
                  <a16:creationId xmlns:a16="http://schemas.microsoft.com/office/drawing/2014/main" id="{682B9468-9B2B-FB78-C908-8CE43E9AB122}"/>
                </a:ext>
              </a:extLst>
            </p:cNvPr>
            <p:cNvSpPr/>
            <p:nvPr/>
          </p:nvSpPr>
          <p:spPr>
            <a:xfrm>
              <a:off x="0" y="0"/>
              <a:ext cx="8229600" cy="730250"/>
            </a:xfrm>
            <a:custGeom>
              <a:avLst/>
              <a:gdLst/>
              <a:ahLst/>
              <a:cxnLst/>
              <a:rect l="l" t="t" r="r" b="b"/>
              <a:pathLst>
                <a:path w="8229600" h="730250" extrusionOk="0">
                  <a:moveTo>
                    <a:pt x="0" y="0"/>
                  </a:moveTo>
                  <a:lnTo>
                    <a:pt x="8229600" y="0"/>
                  </a:lnTo>
                  <a:lnTo>
                    <a:pt x="8229600" y="730250"/>
                  </a:lnTo>
                  <a:lnTo>
                    <a:pt x="0" y="73025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139;p3">
              <a:extLst>
                <a:ext uri="{FF2B5EF4-FFF2-40B4-BE49-F238E27FC236}">
                  <a16:creationId xmlns:a16="http://schemas.microsoft.com/office/drawing/2014/main" id="{D4600ACD-AD82-3279-B573-76592A87C438}"/>
                </a:ext>
              </a:extLst>
            </p:cNvPr>
            <p:cNvSpPr txBox="1"/>
            <p:nvPr/>
          </p:nvSpPr>
          <p:spPr>
            <a:xfrm>
              <a:off x="0" y="0"/>
              <a:ext cx="8229600" cy="730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>
                  <a:solidFill>
                    <a:srgbClr val="939699"/>
                  </a:solidFill>
                  <a:latin typeface="Arial"/>
                  <a:ea typeface="Arial"/>
                  <a:cs typeface="Arial"/>
                  <a:sym typeface="Arial"/>
                </a:rPr>
                <a:t>Illinois Perinatal Quality Collaborative</a:t>
              </a:r>
              <a:endParaRPr sz="1200"/>
            </a:p>
          </p:txBody>
        </p:sp>
      </p:grpSp>
      <p:sp>
        <p:nvSpPr>
          <p:cNvPr id="2" name="Google Shape;133;p3">
            <a:extLst>
              <a:ext uri="{FF2B5EF4-FFF2-40B4-BE49-F238E27FC236}">
                <a16:creationId xmlns:a16="http://schemas.microsoft.com/office/drawing/2014/main" id="{58D94AFA-3F03-4501-63F1-94C064A1905A}"/>
              </a:ext>
            </a:extLst>
          </p:cNvPr>
          <p:cNvSpPr txBox="1"/>
          <p:nvPr/>
        </p:nvSpPr>
        <p:spPr>
          <a:xfrm>
            <a:off x="6315788" y="5253298"/>
            <a:ext cx="3772450" cy="12143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 fontAlgn="base">
              <a:lnSpc>
                <a:spcPts val="1733"/>
              </a:lnSpc>
            </a:pPr>
            <a:r>
              <a:rPr lang="en-US" sz="1600" b="1">
                <a:solidFill>
                  <a:srgbClr val="1C498B"/>
                </a:solidFill>
                <a:latin typeface="Calibri" panose="020F0502020204030204" pitchFamily="34" charset="0"/>
              </a:rPr>
              <a:t>Owusu </a:t>
            </a:r>
            <a:r>
              <a:rPr lang="en-US" sz="1600" b="1" err="1">
                <a:solidFill>
                  <a:srgbClr val="1C498B"/>
                </a:solidFill>
                <a:latin typeface="Calibri" panose="020F0502020204030204" pitchFamily="34" charset="0"/>
              </a:rPr>
              <a:t>Bekoe</a:t>
            </a:r>
            <a:endParaRPr lang="en-US" sz="1600" b="1">
              <a:solidFill>
                <a:srgbClr val="444C55"/>
              </a:solidFill>
              <a:latin typeface="Segoe UI" panose="020B0502040204020203" pitchFamily="34" charset="0"/>
            </a:endParaRPr>
          </a:p>
          <a:p>
            <a:pPr algn="ctr" fontAlgn="base">
              <a:lnSpc>
                <a:spcPts val="1733"/>
              </a:lnSpc>
            </a:pPr>
            <a:r>
              <a:rPr lang="en-US" sz="1600" b="1">
                <a:solidFill>
                  <a:srgbClr val="1C498B"/>
                </a:solidFill>
                <a:latin typeface="Calibri" panose="020F0502020204030204" pitchFamily="34" charset="0"/>
              </a:rPr>
              <a:t>ILPQC Senior Program Coordinator</a:t>
            </a:r>
          </a:p>
          <a:p>
            <a:pPr algn="ctr" fontAlgn="base">
              <a:lnSpc>
                <a:spcPts val="1733"/>
              </a:lnSpc>
            </a:pPr>
            <a:r>
              <a:rPr lang="en-US" sz="1600">
                <a:solidFill>
                  <a:srgbClr val="1C498B"/>
                </a:solidFill>
                <a:latin typeface="Calibri" panose="020F0502020204030204" pitchFamily="34" charset="0"/>
              </a:rPr>
              <a:t>Email: Owusu.Bekoe@northwestern.edu</a:t>
            </a:r>
            <a:r>
              <a:rPr lang="en-US" sz="1600">
                <a:solidFill>
                  <a:srgbClr val="444C55"/>
                </a:solidFill>
                <a:latin typeface="Calibri" panose="020F0502020204030204" pitchFamily="34" charset="0"/>
              </a:rPr>
              <a:t>​</a:t>
            </a:r>
            <a:endParaRPr lang="en-US" sz="1600">
              <a:solidFill>
                <a:srgbClr val="444C55"/>
              </a:solidFill>
              <a:latin typeface="Segoe UI" panose="020B0502040204020203" pitchFamily="34" charset="0"/>
            </a:endParaRPr>
          </a:p>
          <a:p>
            <a:pPr marL="434362" lvl="1" indent="-217180"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buClr>
                <a:srgbClr val="444C55"/>
              </a:buClr>
              <a:buSzPts val="3600"/>
              <a:buFont typeface="Arial"/>
              <a:buChar char="•"/>
            </a:pPr>
            <a:endParaRPr sz="2400">
              <a:solidFill>
                <a:srgbClr val="444C5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1DC99A84-733E-4BFB-2499-BCB91235A1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62230" y="2498528"/>
            <a:ext cx="1957207" cy="2609610"/>
          </a:xfrm>
          <a:prstGeom prst="rect">
            <a:avLst/>
          </a:prstGeom>
          <a:noFill/>
          <a:ln w="57150"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Owusu Bekoe">
            <a:extLst>
              <a:ext uri="{FF2B5EF4-FFF2-40B4-BE49-F238E27FC236}">
                <a16:creationId xmlns:a16="http://schemas.microsoft.com/office/drawing/2014/main" id="{D1847DA5-D53F-FE7A-CF71-2D4D95748B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99994" y="2497188"/>
            <a:ext cx="2604037" cy="2604037"/>
          </a:xfrm>
          <a:prstGeom prst="rect">
            <a:avLst/>
          </a:prstGeom>
          <a:noFill/>
          <a:ln w="57150"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70674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4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9" name="Google Shape;4199;p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DM Sans" pitchFamily="2" charset="77"/>
            </a:endParaRPr>
          </a:p>
        </p:txBody>
      </p:sp>
      <p:grpSp>
        <p:nvGrpSpPr>
          <p:cNvPr id="4200" name="Google Shape;4200;p4"/>
          <p:cNvGrpSpPr/>
          <p:nvPr/>
        </p:nvGrpSpPr>
        <p:grpSpPr>
          <a:xfrm>
            <a:off x="0" y="5019724"/>
            <a:ext cx="12192000" cy="1838895"/>
            <a:chOff x="0" y="5019724"/>
            <a:chExt cx="12192000" cy="1838895"/>
          </a:xfrm>
        </p:grpSpPr>
        <p:sp>
          <p:nvSpPr>
            <p:cNvPr id="4201" name="Google Shape;4201;p4"/>
            <p:cNvSpPr/>
            <p:nvPr/>
          </p:nvSpPr>
          <p:spPr>
            <a:xfrm>
              <a:off x="0" y="5095859"/>
              <a:ext cx="7115175" cy="1762760"/>
            </a:xfrm>
            <a:custGeom>
              <a:avLst/>
              <a:gdLst/>
              <a:ahLst/>
              <a:cxnLst/>
              <a:rect l="l" t="t" r="r" b="b"/>
              <a:pathLst>
                <a:path w="7115175" h="1762759" extrusionOk="0">
                  <a:moveTo>
                    <a:pt x="612604" y="79"/>
                  </a:moveTo>
                  <a:lnTo>
                    <a:pt x="558749" y="0"/>
                  </a:lnTo>
                  <a:lnTo>
                    <a:pt x="504757" y="343"/>
                  </a:lnTo>
                  <a:lnTo>
                    <a:pt x="450629" y="1113"/>
                  </a:lnTo>
                  <a:lnTo>
                    <a:pt x="396364" y="2315"/>
                  </a:lnTo>
                  <a:lnTo>
                    <a:pt x="341960" y="3952"/>
                  </a:lnTo>
                  <a:lnTo>
                    <a:pt x="293138" y="5835"/>
                  </a:lnTo>
                  <a:lnTo>
                    <a:pt x="244415" y="8110"/>
                  </a:lnTo>
                  <a:lnTo>
                    <a:pt x="195788" y="10784"/>
                  </a:lnTo>
                  <a:lnTo>
                    <a:pt x="147255" y="13859"/>
                  </a:lnTo>
                  <a:lnTo>
                    <a:pt x="98813" y="17341"/>
                  </a:lnTo>
                  <a:lnTo>
                    <a:pt x="50462" y="21234"/>
                  </a:lnTo>
                  <a:lnTo>
                    <a:pt x="0" y="25796"/>
                  </a:lnTo>
                  <a:lnTo>
                    <a:pt x="0" y="1762140"/>
                  </a:lnTo>
                  <a:lnTo>
                    <a:pt x="7115175" y="1762140"/>
                  </a:lnTo>
                  <a:lnTo>
                    <a:pt x="6704330" y="1640990"/>
                  </a:lnTo>
                  <a:lnTo>
                    <a:pt x="6611056" y="1611866"/>
                  </a:lnTo>
                  <a:lnTo>
                    <a:pt x="6471146" y="1567351"/>
                  </a:lnTo>
                  <a:lnTo>
                    <a:pt x="6331190" y="1521903"/>
                  </a:lnTo>
                  <a:lnTo>
                    <a:pt x="6191135" y="1475584"/>
                  </a:lnTo>
                  <a:lnTo>
                    <a:pt x="6004150" y="1412585"/>
                  </a:lnTo>
                  <a:lnTo>
                    <a:pt x="5769847" y="1332062"/>
                  </a:lnTo>
                  <a:lnTo>
                    <a:pt x="5487521" y="1233227"/>
                  </a:lnTo>
                  <a:lnTo>
                    <a:pt x="4288404" y="806749"/>
                  </a:lnTo>
                  <a:lnTo>
                    <a:pt x="3992903" y="703643"/>
                  </a:lnTo>
                  <a:lnTo>
                    <a:pt x="3743724" y="618298"/>
                  </a:lnTo>
                  <a:lnTo>
                    <a:pt x="3545715" y="551785"/>
                  </a:lnTo>
                  <a:lnTo>
                    <a:pt x="3451294" y="520764"/>
                  </a:lnTo>
                  <a:lnTo>
                    <a:pt x="3356611" y="490258"/>
                  </a:lnTo>
                  <a:lnTo>
                    <a:pt x="3261657" y="460304"/>
                  </a:lnTo>
                  <a:lnTo>
                    <a:pt x="3166423" y="430941"/>
                  </a:lnTo>
                  <a:lnTo>
                    <a:pt x="3070900" y="402207"/>
                  </a:lnTo>
                  <a:lnTo>
                    <a:pt x="2975079" y="374140"/>
                  </a:lnTo>
                  <a:lnTo>
                    <a:pt x="2878951" y="346778"/>
                  </a:lnTo>
                  <a:lnTo>
                    <a:pt x="2782506" y="320160"/>
                  </a:lnTo>
                  <a:lnTo>
                    <a:pt x="2685737" y="294324"/>
                  </a:lnTo>
                  <a:lnTo>
                    <a:pt x="2588633" y="269308"/>
                  </a:lnTo>
                  <a:lnTo>
                    <a:pt x="2491186" y="245151"/>
                  </a:lnTo>
                  <a:lnTo>
                    <a:pt x="2393387" y="221889"/>
                  </a:lnTo>
                  <a:lnTo>
                    <a:pt x="2295227" y="199563"/>
                  </a:lnTo>
                  <a:lnTo>
                    <a:pt x="2246009" y="188762"/>
                  </a:lnTo>
                  <a:lnTo>
                    <a:pt x="2196697" y="178209"/>
                  </a:lnTo>
                  <a:lnTo>
                    <a:pt x="2147290" y="167909"/>
                  </a:lnTo>
                  <a:lnTo>
                    <a:pt x="2097787" y="157866"/>
                  </a:lnTo>
                  <a:lnTo>
                    <a:pt x="2048188" y="148086"/>
                  </a:lnTo>
                  <a:lnTo>
                    <a:pt x="1998490" y="138573"/>
                  </a:lnTo>
                  <a:lnTo>
                    <a:pt x="1948692" y="129332"/>
                  </a:lnTo>
                  <a:lnTo>
                    <a:pt x="1898795" y="120368"/>
                  </a:lnTo>
                  <a:lnTo>
                    <a:pt x="1848796" y="111684"/>
                  </a:lnTo>
                  <a:lnTo>
                    <a:pt x="1798694" y="103288"/>
                  </a:lnTo>
                  <a:lnTo>
                    <a:pt x="1748488" y="95182"/>
                  </a:lnTo>
                  <a:lnTo>
                    <a:pt x="1698178" y="87372"/>
                  </a:lnTo>
                  <a:lnTo>
                    <a:pt x="1647761" y="79862"/>
                  </a:lnTo>
                  <a:lnTo>
                    <a:pt x="1597238" y="72658"/>
                  </a:lnTo>
                  <a:lnTo>
                    <a:pt x="1546606" y="65763"/>
                  </a:lnTo>
                  <a:lnTo>
                    <a:pt x="1495864" y="59184"/>
                  </a:lnTo>
                  <a:lnTo>
                    <a:pt x="1445012" y="52924"/>
                  </a:lnTo>
                  <a:lnTo>
                    <a:pt x="1394049" y="46989"/>
                  </a:lnTo>
                  <a:lnTo>
                    <a:pt x="1342972" y="41383"/>
                  </a:lnTo>
                  <a:lnTo>
                    <a:pt x="1291782" y="36111"/>
                  </a:lnTo>
                  <a:lnTo>
                    <a:pt x="1240477" y="31178"/>
                  </a:lnTo>
                  <a:lnTo>
                    <a:pt x="1189055" y="26588"/>
                  </a:lnTo>
                  <a:lnTo>
                    <a:pt x="1137516" y="22346"/>
                  </a:lnTo>
                  <a:lnTo>
                    <a:pt x="1085859" y="18458"/>
                  </a:lnTo>
                  <a:lnTo>
                    <a:pt x="1034082" y="14927"/>
                  </a:lnTo>
                  <a:lnTo>
                    <a:pt x="982185" y="11759"/>
                  </a:lnTo>
                  <a:lnTo>
                    <a:pt x="930166" y="8959"/>
                  </a:lnTo>
                  <a:lnTo>
                    <a:pt x="878024" y="6530"/>
                  </a:lnTo>
                  <a:lnTo>
                    <a:pt x="825757" y="4479"/>
                  </a:lnTo>
                  <a:lnTo>
                    <a:pt x="773366" y="2809"/>
                  </a:lnTo>
                  <a:lnTo>
                    <a:pt x="719912" y="1489"/>
                  </a:lnTo>
                  <a:lnTo>
                    <a:pt x="666325" y="577"/>
                  </a:lnTo>
                  <a:lnTo>
                    <a:pt x="61260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DM Sans" pitchFamily="2" charset="77"/>
              </a:endParaRPr>
            </a:p>
          </p:txBody>
        </p:sp>
        <p:pic>
          <p:nvPicPr>
            <p:cNvPr id="4202" name="Google Shape;4202;p4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041899"/>
              <a:ext cx="12192000" cy="18161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203" name="Google Shape;4203;p4"/>
            <p:cNvSpPr/>
            <p:nvPr/>
          </p:nvSpPr>
          <p:spPr>
            <a:xfrm>
              <a:off x="0" y="5019724"/>
              <a:ext cx="12192000" cy="1838325"/>
            </a:xfrm>
            <a:custGeom>
              <a:avLst/>
              <a:gdLst/>
              <a:ahLst/>
              <a:cxnLst/>
              <a:rect l="l" t="t" r="r" b="b"/>
              <a:pathLst>
                <a:path w="12192000" h="1838325" extrusionOk="0">
                  <a:moveTo>
                    <a:pt x="682693" y="0"/>
                  </a:moveTo>
                  <a:lnTo>
                    <a:pt x="631977" y="203"/>
                  </a:lnTo>
                  <a:lnTo>
                    <a:pt x="584149" y="711"/>
                  </a:lnTo>
                  <a:lnTo>
                    <a:pt x="536385" y="1596"/>
                  </a:lnTo>
                  <a:lnTo>
                    <a:pt x="488688" y="2855"/>
                  </a:lnTo>
                  <a:lnTo>
                    <a:pt x="441056" y="4484"/>
                  </a:lnTo>
                  <a:lnTo>
                    <a:pt x="393493" y="6480"/>
                  </a:lnTo>
                  <a:lnTo>
                    <a:pt x="345998" y="8839"/>
                  </a:lnTo>
                  <a:lnTo>
                    <a:pt x="0" y="38176"/>
                  </a:lnTo>
                  <a:lnTo>
                    <a:pt x="0" y="105613"/>
                  </a:lnTo>
                  <a:lnTo>
                    <a:pt x="50435" y="101051"/>
                  </a:lnTo>
                  <a:lnTo>
                    <a:pt x="98760" y="97161"/>
                  </a:lnTo>
                  <a:lnTo>
                    <a:pt x="147174" y="93686"/>
                  </a:lnTo>
                  <a:lnTo>
                    <a:pt x="195680" y="90624"/>
                  </a:lnTo>
                  <a:lnTo>
                    <a:pt x="244279" y="87974"/>
                  </a:lnTo>
                  <a:lnTo>
                    <a:pt x="292975" y="85732"/>
                  </a:lnTo>
                  <a:lnTo>
                    <a:pt x="341769" y="83896"/>
                  </a:lnTo>
                  <a:lnTo>
                    <a:pt x="394500" y="82301"/>
                  </a:lnTo>
                  <a:lnTo>
                    <a:pt x="447100" y="81115"/>
                  </a:lnTo>
                  <a:lnTo>
                    <a:pt x="499570" y="80333"/>
                  </a:lnTo>
                  <a:lnTo>
                    <a:pt x="551912" y="79951"/>
                  </a:lnTo>
                  <a:lnTo>
                    <a:pt x="604125" y="79965"/>
                  </a:lnTo>
                  <a:lnTo>
                    <a:pt x="656212" y="80369"/>
                  </a:lnTo>
                  <a:lnTo>
                    <a:pt x="708174" y="81159"/>
                  </a:lnTo>
                  <a:lnTo>
                    <a:pt x="760011" y="82330"/>
                  </a:lnTo>
                  <a:lnTo>
                    <a:pt x="811724" y="83878"/>
                  </a:lnTo>
                  <a:lnTo>
                    <a:pt x="863316" y="85799"/>
                  </a:lnTo>
                  <a:lnTo>
                    <a:pt x="914786" y="88087"/>
                  </a:lnTo>
                  <a:lnTo>
                    <a:pt x="966136" y="90738"/>
                  </a:lnTo>
                  <a:lnTo>
                    <a:pt x="1017368" y="93748"/>
                  </a:lnTo>
                  <a:lnTo>
                    <a:pt x="1068481" y="97112"/>
                  </a:lnTo>
                  <a:lnTo>
                    <a:pt x="1119477" y="100826"/>
                  </a:lnTo>
                  <a:lnTo>
                    <a:pt x="1170358" y="104884"/>
                  </a:lnTo>
                  <a:lnTo>
                    <a:pt x="1221124" y="109282"/>
                  </a:lnTo>
                  <a:lnTo>
                    <a:pt x="1271777" y="114016"/>
                  </a:lnTo>
                  <a:lnTo>
                    <a:pt x="1322317" y="119081"/>
                  </a:lnTo>
                  <a:lnTo>
                    <a:pt x="1372746" y="124473"/>
                  </a:lnTo>
                  <a:lnTo>
                    <a:pt x="1423064" y="130186"/>
                  </a:lnTo>
                  <a:lnTo>
                    <a:pt x="1473274" y="136217"/>
                  </a:lnTo>
                  <a:lnTo>
                    <a:pt x="1523375" y="142560"/>
                  </a:lnTo>
                  <a:lnTo>
                    <a:pt x="1573369" y="149212"/>
                  </a:lnTo>
                  <a:lnTo>
                    <a:pt x="1623258" y="156167"/>
                  </a:lnTo>
                  <a:lnTo>
                    <a:pt x="1673041" y="163421"/>
                  </a:lnTo>
                  <a:lnTo>
                    <a:pt x="1722721" y="170970"/>
                  </a:lnTo>
                  <a:lnTo>
                    <a:pt x="1772298" y="178808"/>
                  </a:lnTo>
                  <a:lnTo>
                    <a:pt x="1821774" y="186932"/>
                  </a:lnTo>
                  <a:lnTo>
                    <a:pt x="1871149" y="195336"/>
                  </a:lnTo>
                  <a:lnTo>
                    <a:pt x="1920424" y="204016"/>
                  </a:lnTo>
                  <a:lnTo>
                    <a:pt x="1969602" y="212968"/>
                  </a:lnTo>
                  <a:lnTo>
                    <a:pt x="2018682" y="222187"/>
                  </a:lnTo>
                  <a:lnTo>
                    <a:pt x="2067666" y="231668"/>
                  </a:lnTo>
                  <a:lnTo>
                    <a:pt x="2116555" y="241407"/>
                  </a:lnTo>
                  <a:lnTo>
                    <a:pt x="2165350" y="251399"/>
                  </a:lnTo>
                  <a:lnTo>
                    <a:pt x="2214052" y="261639"/>
                  </a:lnTo>
                  <a:lnTo>
                    <a:pt x="2262663" y="272124"/>
                  </a:lnTo>
                  <a:lnTo>
                    <a:pt x="2359613" y="293806"/>
                  </a:lnTo>
                  <a:lnTo>
                    <a:pt x="2456209" y="316410"/>
                  </a:lnTo>
                  <a:lnTo>
                    <a:pt x="2552460" y="339898"/>
                  </a:lnTo>
                  <a:lnTo>
                    <a:pt x="2648374" y="364234"/>
                  </a:lnTo>
                  <a:lnTo>
                    <a:pt x="2743961" y="389381"/>
                  </a:lnTo>
                  <a:lnTo>
                    <a:pt x="2839228" y="415302"/>
                  </a:lnTo>
                  <a:lnTo>
                    <a:pt x="2934185" y="441961"/>
                  </a:lnTo>
                  <a:lnTo>
                    <a:pt x="3028841" y="469321"/>
                  </a:lnTo>
                  <a:lnTo>
                    <a:pt x="3123203" y="497346"/>
                  </a:lnTo>
                  <a:lnTo>
                    <a:pt x="3217281" y="525998"/>
                  </a:lnTo>
                  <a:lnTo>
                    <a:pt x="3311083" y="555241"/>
                  </a:lnTo>
                  <a:lnTo>
                    <a:pt x="3404619" y="585039"/>
                  </a:lnTo>
                  <a:lnTo>
                    <a:pt x="3497896" y="615354"/>
                  </a:lnTo>
                  <a:lnTo>
                    <a:pt x="3590925" y="646151"/>
                  </a:lnTo>
                  <a:lnTo>
                    <a:pt x="3791765" y="713839"/>
                  </a:lnTo>
                  <a:lnTo>
                    <a:pt x="4040248" y="799137"/>
                  </a:lnTo>
                  <a:lnTo>
                    <a:pt x="4334983" y="902103"/>
                  </a:lnTo>
                  <a:lnTo>
                    <a:pt x="5625855" y="1360072"/>
                  </a:lnTo>
                  <a:lnTo>
                    <a:pt x="5907361" y="1457546"/>
                  </a:lnTo>
                  <a:lnTo>
                    <a:pt x="6094434" y="1521066"/>
                  </a:lnTo>
                  <a:lnTo>
                    <a:pt x="6281174" y="1583235"/>
                  </a:lnTo>
                  <a:lnTo>
                    <a:pt x="6421086" y="1628884"/>
                  </a:lnTo>
                  <a:lnTo>
                    <a:pt x="6560935" y="1673621"/>
                  </a:lnTo>
                  <a:lnTo>
                    <a:pt x="6700774" y="1717382"/>
                  </a:lnTo>
                  <a:lnTo>
                    <a:pt x="7111365" y="1838274"/>
                  </a:lnTo>
                  <a:lnTo>
                    <a:pt x="12192000" y="1838274"/>
                  </a:lnTo>
                  <a:lnTo>
                    <a:pt x="12192000" y="1009003"/>
                  </a:lnTo>
                  <a:lnTo>
                    <a:pt x="12147974" y="1028041"/>
                  </a:lnTo>
                  <a:lnTo>
                    <a:pt x="12103691" y="1046752"/>
                  </a:lnTo>
                  <a:lnTo>
                    <a:pt x="12059157" y="1065136"/>
                  </a:lnTo>
                  <a:lnTo>
                    <a:pt x="12014376" y="1083194"/>
                  </a:lnTo>
                  <a:lnTo>
                    <a:pt x="11969352" y="1100926"/>
                  </a:lnTo>
                  <a:lnTo>
                    <a:pt x="11924092" y="1118334"/>
                  </a:lnTo>
                  <a:lnTo>
                    <a:pt x="11878600" y="1135416"/>
                  </a:lnTo>
                  <a:lnTo>
                    <a:pt x="11832881" y="1152175"/>
                  </a:lnTo>
                  <a:lnTo>
                    <a:pt x="11786940" y="1168610"/>
                  </a:lnTo>
                  <a:lnTo>
                    <a:pt x="11740782" y="1184722"/>
                  </a:lnTo>
                  <a:lnTo>
                    <a:pt x="11694411" y="1200512"/>
                  </a:lnTo>
                  <a:lnTo>
                    <a:pt x="11647834" y="1215980"/>
                  </a:lnTo>
                  <a:lnTo>
                    <a:pt x="11601055" y="1231126"/>
                  </a:lnTo>
                  <a:lnTo>
                    <a:pt x="11554079" y="1245952"/>
                  </a:lnTo>
                  <a:lnTo>
                    <a:pt x="11506910" y="1260457"/>
                  </a:lnTo>
                  <a:lnTo>
                    <a:pt x="11459555" y="1274642"/>
                  </a:lnTo>
                  <a:lnTo>
                    <a:pt x="11412017" y="1288509"/>
                  </a:lnTo>
                  <a:lnTo>
                    <a:pt x="11364303" y="1302056"/>
                  </a:lnTo>
                  <a:lnTo>
                    <a:pt x="11316416" y="1315285"/>
                  </a:lnTo>
                  <a:lnTo>
                    <a:pt x="11268362" y="1328197"/>
                  </a:lnTo>
                  <a:lnTo>
                    <a:pt x="11220147" y="1340792"/>
                  </a:lnTo>
                  <a:lnTo>
                    <a:pt x="11171774" y="1353070"/>
                  </a:lnTo>
                  <a:lnTo>
                    <a:pt x="11123248" y="1365031"/>
                  </a:lnTo>
                  <a:lnTo>
                    <a:pt x="11074576" y="1376678"/>
                  </a:lnTo>
                  <a:lnTo>
                    <a:pt x="11025762" y="1388009"/>
                  </a:lnTo>
                  <a:lnTo>
                    <a:pt x="10976810" y="1399026"/>
                  </a:lnTo>
                  <a:lnTo>
                    <a:pt x="10927726" y="1409729"/>
                  </a:lnTo>
                  <a:lnTo>
                    <a:pt x="10878515" y="1420119"/>
                  </a:lnTo>
                  <a:lnTo>
                    <a:pt x="10829182" y="1430195"/>
                  </a:lnTo>
                  <a:lnTo>
                    <a:pt x="10779731" y="1439960"/>
                  </a:lnTo>
                  <a:lnTo>
                    <a:pt x="10730169" y="1449413"/>
                  </a:lnTo>
                  <a:lnTo>
                    <a:pt x="10680499" y="1458554"/>
                  </a:lnTo>
                  <a:lnTo>
                    <a:pt x="10630726" y="1467385"/>
                  </a:lnTo>
                  <a:lnTo>
                    <a:pt x="10580857" y="1475905"/>
                  </a:lnTo>
                  <a:lnTo>
                    <a:pt x="10530895" y="1484116"/>
                  </a:lnTo>
                  <a:lnTo>
                    <a:pt x="10480846" y="1492017"/>
                  </a:lnTo>
                  <a:lnTo>
                    <a:pt x="10430715" y="1499610"/>
                  </a:lnTo>
                  <a:lnTo>
                    <a:pt x="10380506" y="1506895"/>
                  </a:lnTo>
                  <a:lnTo>
                    <a:pt x="10330225" y="1513873"/>
                  </a:lnTo>
                  <a:lnTo>
                    <a:pt x="10279877" y="1520543"/>
                  </a:lnTo>
                  <a:lnTo>
                    <a:pt x="10229466" y="1526907"/>
                  </a:lnTo>
                  <a:lnTo>
                    <a:pt x="10178998" y="1532965"/>
                  </a:lnTo>
                  <a:lnTo>
                    <a:pt x="10128478" y="1538718"/>
                  </a:lnTo>
                  <a:lnTo>
                    <a:pt x="10077910" y="1544166"/>
                  </a:lnTo>
                  <a:lnTo>
                    <a:pt x="10027300" y="1549309"/>
                  </a:lnTo>
                  <a:lnTo>
                    <a:pt x="9976653" y="1554149"/>
                  </a:lnTo>
                  <a:lnTo>
                    <a:pt x="9925973" y="1558685"/>
                  </a:lnTo>
                  <a:lnTo>
                    <a:pt x="9875266" y="1562919"/>
                  </a:lnTo>
                  <a:lnTo>
                    <a:pt x="9824536" y="1566851"/>
                  </a:lnTo>
                  <a:lnTo>
                    <a:pt x="9773789" y="1570480"/>
                  </a:lnTo>
                  <a:lnTo>
                    <a:pt x="9723029" y="1573809"/>
                  </a:lnTo>
                  <a:lnTo>
                    <a:pt x="9672262" y="1576837"/>
                  </a:lnTo>
                  <a:lnTo>
                    <a:pt x="9621493" y="1579565"/>
                  </a:lnTo>
                  <a:lnTo>
                    <a:pt x="9570726" y="1581994"/>
                  </a:lnTo>
                  <a:lnTo>
                    <a:pt x="9519966" y="1584123"/>
                  </a:lnTo>
                  <a:lnTo>
                    <a:pt x="9469219" y="1585954"/>
                  </a:lnTo>
                  <a:lnTo>
                    <a:pt x="9418490" y="1587487"/>
                  </a:lnTo>
                  <a:lnTo>
                    <a:pt x="9367782" y="1588723"/>
                  </a:lnTo>
                  <a:lnTo>
                    <a:pt x="9317103" y="1589661"/>
                  </a:lnTo>
                  <a:lnTo>
                    <a:pt x="9266456" y="1590304"/>
                  </a:lnTo>
                  <a:lnTo>
                    <a:pt x="9215846" y="1590650"/>
                  </a:lnTo>
                  <a:lnTo>
                    <a:pt x="9165279" y="1590702"/>
                  </a:lnTo>
                  <a:lnTo>
                    <a:pt x="9114759" y="1590458"/>
                  </a:lnTo>
                  <a:lnTo>
                    <a:pt x="9064291" y="1589921"/>
                  </a:lnTo>
                  <a:lnTo>
                    <a:pt x="9013881" y="1589089"/>
                  </a:lnTo>
                  <a:lnTo>
                    <a:pt x="8963534" y="1587965"/>
                  </a:lnTo>
                  <a:lnTo>
                    <a:pt x="8913253" y="1586548"/>
                  </a:lnTo>
                  <a:lnTo>
                    <a:pt x="8863046" y="1584839"/>
                  </a:lnTo>
                  <a:lnTo>
                    <a:pt x="8812915" y="1582838"/>
                  </a:lnTo>
                  <a:lnTo>
                    <a:pt x="8762867" y="1580546"/>
                  </a:lnTo>
                  <a:lnTo>
                    <a:pt x="8712906" y="1577964"/>
                  </a:lnTo>
                  <a:lnTo>
                    <a:pt x="8663037" y="1575092"/>
                  </a:lnTo>
                  <a:lnTo>
                    <a:pt x="8613266" y="1571930"/>
                  </a:lnTo>
                  <a:lnTo>
                    <a:pt x="8563597" y="1568480"/>
                  </a:lnTo>
                  <a:lnTo>
                    <a:pt x="8514035" y="1564741"/>
                  </a:lnTo>
                  <a:lnTo>
                    <a:pt x="8464586" y="1560714"/>
                  </a:lnTo>
                  <a:lnTo>
                    <a:pt x="8415254" y="1556401"/>
                  </a:lnTo>
                  <a:lnTo>
                    <a:pt x="8366044" y="1551800"/>
                  </a:lnTo>
                  <a:lnTo>
                    <a:pt x="8316961" y="1546913"/>
                  </a:lnTo>
                  <a:lnTo>
                    <a:pt x="8268011" y="1541740"/>
                  </a:lnTo>
                  <a:lnTo>
                    <a:pt x="8219198" y="1536283"/>
                  </a:lnTo>
                  <a:lnTo>
                    <a:pt x="8170527" y="1530540"/>
                  </a:lnTo>
                  <a:lnTo>
                    <a:pt x="8122003" y="1524514"/>
                  </a:lnTo>
                  <a:lnTo>
                    <a:pt x="8073632" y="1518204"/>
                  </a:lnTo>
                  <a:lnTo>
                    <a:pt x="8025417" y="1511611"/>
                  </a:lnTo>
                  <a:lnTo>
                    <a:pt x="7977365" y="1504736"/>
                  </a:lnTo>
                  <a:lnTo>
                    <a:pt x="7929480" y="1497578"/>
                  </a:lnTo>
                  <a:lnTo>
                    <a:pt x="7881767" y="1490139"/>
                  </a:lnTo>
                  <a:lnTo>
                    <a:pt x="7834231" y="1482420"/>
                  </a:lnTo>
                  <a:lnTo>
                    <a:pt x="7786878" y="1474419"/>
                  </a:lnTo>
                  <a:lnTo>
                    <a:pt x="7738102" y="1465911"/>
                  </a:lnTo>
                  <a:lnTo>
                    <a:pt x="7640468" y="1448268"/>
                  </a:lnTo>
                  <a:lnTo>
                    <a:pt x="7542730" y="1429817"/>
                  </a:lnTo>
                  <a:lnTo>
                    <a:pt x="7444891" y="1410588"/>
                  </a:lnTo>
                  <a:lnTo>
                    <a:pt x="7346956" y="1390615"/>
                  </a:lnTo>
                  <a:lnTo>
                    <a:pt x="7248928" y="1369929"/>
                  </a:lnTo>
                  <a:lnTo>
                    <a:pt x="7150812" y="1348563"/>
                  </a:lnTo>
                  <a:lnTo>
                    <a:pt x="7052613" y="1326549"/>
                  </a:lnTo>
                  <a:lnTo>
                    <a:pt x="6954334" y="1303918"/>
                  </a:lnTo>
                  <a:lnTo>
                    <a:pt x="6855980" y="1280704"/>
                  </a:lnTo>
                  <a:lnTo>
                    <a:pt x="6757555" y="1256937"/>
                  </a:lnTo>
                  <a:lnTo>
                    <a:pt x="6609794" y="1220322"/>
                  </a:lnTo>
                  <a:lnTo>
                    <a:pt x="6461898" y="1182646"/>
                  </a:lnTo>
                  <a:lnTo>
                    <a:pt x="6313880" y="1144018"/>
                  </a:lnTo>
                  <a:lnTo>
                    <a:pt x="6116360" y="1091217"/>
                  </a:lnTo>
                  <a:lnTo>
                    <a:pt x="5918684" y="1037173"/>
                  </a:lnTo>
                  <a:lnTo>
                    <a:pt x="5671422" y="968259"/>
                  </a:lnTo>
                  <a:lnTo>
                    <a:pt x="4632356" y="673291"/>
                  </a:lnTo>
                  <a:lnTo>
                    <a:pt x="4335773" y="590842"/>
                  </a:lnTo>
                  <a:lnTo>
                    <a:pt x="4138233" y="537158"/>
                  </a:lnTo>
                  <a:lnTo>
                    <a:pt x="3940879" y="484797"/>
                  </a:lnTo>
                  <a:lnTo>
                    <a:pt x="3793006" y="446551"/>
                  </a:lnTo>
                  <a:lnTo>
                    <a:pt x="3645271" y="409303"/>
                  </a:lnTo>
                  <a:lnTo>
                    <a:pt x="3497689" y="373160"/>
                  </a:lnTo>
                  <a:lnTo>
                    <a:pt x="3399392" y="349734"/>
                  </a:lnTo>
                  <a:lnTo>
                    <a:pt x="3301174" y="326879"/>
                  </a:lnTo>
                  <a:lnTo>
                    <a:pt x="3203039" y="304628"/>
                  </a:lnTo>
                  <a:lnTo>
                    <a:pt x="3104991" y="283014"/>
                  </a:lnTo>
                  <a:lnTo>
                    <a:pt x="3007034" y="262067"/>
                  </a:lnTo>
                  <a:lnTo>
                    <a:pt x="2909172" y="241822"/>
                  </a:lnTo>
                  <a:lnTo>
                    <a:pt x="2811410" y="222308"/>
                  </a:lnTo>
                  <a:lnTo>
                    <a:pt x="2713753" y="203560"/>
                  </a:lnTo>
                  <a:lnTo>
                    <a:pt x="2616204" y="185608"/>
                  </a:lnTo>
                  <a:lnTo>
                    <a:pt x="2518767" y="168485"/>
                  </a:lnTo>
                  <a:lnTo>
                    <a:pt x="2421447" y="152222"/>
                  </a:lnTo>
                  <a:lnTo>
                    <a:pt x="2324248" y="136853"/>
                  </a:lnTo>
                  <a:lnTo>
                    <a:pt x="2227175" y="122410"/>
                  </a:lnTo>
                  <a:lnTo>
                    <a:pt x="2130231" y="108923"/>
                  </a:lnTo>
                  <a:lnTo>
                    <a:pt x="2033421" y="96426"/>
                  </a:lnTo>
                  <a:lnTo>
                    <a:pt x="1936750" y="84950"/>
                  </a:lnTo>
                  <a:lnTo>
                    <a:pt x="1888467" y="79606"/>
                  </a:lnTo>
                  <a:lnTo>
                    <a:pt x="1840221" y="74528"/>
                  </a:lnTo>
                  <a:lnTo>
                    <a:pt x="1792011" y="69722"/>
                  </a:lnTo>
                  <a:lnTo>
                    <a:pt x="1743838" y="65192"/>
                  </a:lnTo>
                  <a:lnTo>
                    <a:pt x="1695704" y="60941"/>
                  </a:lnTo>
                  <a:lnTo>
                    <a:pt x="1647607" y="56974"/>
                  </a:lnTo>
                  <a:lnTo>
                    <a:pt x="1599549" y="53294"/>
                  </a:lnTo>
                  <a:lnTo>
                    <a:pt x="1551531" y="49905"/>
                  </a:lnTo>
                  <a:lnTo>
                    <a:pt x="1503553" y="46812"/>
                  </a:lnTo>
                  <a:lnTo>
                    <a:pt x="1451758" y="41342"/>
                  </a:lnTo>
                  <a:lnTo>
                    <a:pt x="1400026" y="36186"/>
                  </a:lnTo>
                  <a:lnTo>
                    <a:pt x="1348357" y="31349"/>
                  </a:lnTo>
                  <a:lnTo>
                    <a:pt x="1296752" y="26837"/>
                  </a:lnTo>
                  <a:lnTo>
                    <a:pt x="1245210" y="22655"/>
                  </a:lnTo>
                  <a:lnTo>
                    <a:pt x="1193734" y="18809"/>
                  </a:lnTo>
                  <a:lnTo>
                    <a:pt x="1142323" y="15303"/>
                  </a:lnTo>
                  <a:lnTo>
                    <a:pt x="1090978" y="12145"/>
                  </a:lnTo>
                  <a:lnTo>
                    <a:pt x="1039701" y="9338"/>
                  </a:lnTo>
                  <a:lnTo>
                    <a:pt x="988491" y="6888"/>
                  </a:lnTo>
                  <a:lnTo>
                    <a:pt x="937350" y="4801"/>
                  </a:lnTo>
                  <a:lnTo>
                    <a:pt x="886277" y="3083"/>
                  </a:lnTo>
                  <a:lnTo>
                    <a:pt x="835275" y="1738"/>
                  </a:lnTo>
                  <a:lnTo>
                    <a:pt x="784343" y="772"/>
                  </a:lnTo>
                  <a:lnTo>
                    <a:pt x="733482" y="191"/>
                  </a:lnTo>
                  <a:lnTo>
                    <a:pt x="682693" y="0"/>
                  </a:lnTo>
                  <a:close/>
                </a:path>
              </a:pathLst>
            </a:custGeom>
            <a:solidFill>
              <a:srgbClr val="1C488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DM Sans" pitchFamily="2" charset="77"/>
              </a:endParaRPr>
            </a:p>
          </p:txBody>
        </p:sp>
        <p:pic>
          <p:nvPicPr>
            <p:cNvPr id="4204" name="Google Shape;4204;p4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14325" y="5562599"/>
              <a:ext cx="2028825" cy="9144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205" name="Google Shape;4205;p4"/>
          <p:cNvSpPr txBox="1">
            <a:spLocks noGrp="1"/>
          </p:cNvSpPr>
          <p:nvPr>
            <p:ph type="title"/>
          </p:nvPr>
        </p:nvSpPr>
        <p:spPr>
          <a:xfrm>
            <a:off x="980757" y="1942262"/>
            <a:ext cx="3574500" cy="5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2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chemeClr val="accent1"/>
                </a:solidFill>
                <a:latin typeface="DM Sans"/>
                <a:ea typeface="DM Sans"/>
                <a:cs typeface="DM Sans"/>
                <a:sym typeface="DM Sans"/>
              </a:rPr>
              <a:t>Attendance Poll</a:t>
            </a:r>
            <a:endParaRPr sz="3600" b="1" dirty="0">
              <a:solidFill>
                <a:schemeClr val="accent1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4206" name="Google Shape;4206;p4"/>
          <p:cNvSpPr txBox="1"/>
          <p:nvPr/>
        </p:nvSpPr>
        <p:spPr>
          <a:xfrm>
            <a:off x="12003658" y="6434454"/>
            <a:ext cx="118110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919396"/>
                </a:solidFill>
                <a:latin typeface="DM Sans" pitchFamily="2" charset="77"/>
                <a:sym typeface="Arial"/>
              </a:rPr>
              <a:t>4</a:t>
            </a:r>
            <a:endParaRPr sz="1200">
              <a:latin typeface="DM Sans" pitchFamily="2" charset="77"/>
              <a:sym typeface="Arial"/>
            </a:endParaRPr>
          </a:p>
        </p:txBody>
      </p:sp>
      <p:sp>
        <p:nvSpPr>
          <p:cNvPr id="4207" name="Google Shape;4207;p4"/>
          <p:cNvSpPr txBox="1"/>
          <p:nvPr/>
        </p:nvSpPr>
        <p:spPr>
          <a:xfrm>
            <a:off x="78739" y="6434454"/>
            <a:ext cx="2623820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919396"/>
                </a:solidFill>
                <a:latin typeface="DM Sans" pitchFamily="2" charset="77"/>
                <a:sym typeface="Arial"/>
              </a:rPr>
              <a:t>Illinois Perinatal Quality Collaborative</a:t>
            </a:r>
            <a:endParaRPr sz="1200">
              <a:latin typeface="DM Sans" pitchFamily="2" charset="77"/>
              <a:sym typeface="Arial"/>
            </a:endParaRPr>
          </a:p>
        </p:txBody>
      </p:sp>
      <p:sp>
        <p:nvSpPr>
          <p:cNvPr id="4208" name="Google Shape;4208;p4"/>
          <p:cNvSpPr txBox="1"/>
          <p:nvPr/>
        </p:nvSpPr>
        <p:spPr>
          <a:xfrm>
            <a:off x="980757" y="3164157"/>
            <a:ext cx="9949200" cy="1021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12700"/>
            <a:r>
              <a:rPr lang="en-US" sz="2150" i="1" dirty="0">
                <a:solidFill>
                  <a:srgbClr val="444B54"/>
                </a:solidFill>
                <a:latin typeface="DM Sans"/>
                <a:ea typeface="DM Sans"/>
                <a:cs typeface="DM Sans"/>
                <a:sym typeface="DM Sans"/>
              </a:rPr>
              <a:t>Please fill out the poll so that we can track hospital team attendance for Quality Designation Webinars. If unable to complete poll, please email </a:t>
            </a:r>
            <a:r>
              <a:rPr lang="en-US" sz="2150" i="1" u="sng" dirty="0" err="1">
                <a:solidFill>
                  <a:srgbClr val="444B54"/>
                </a:solidFill>
                <a:latin typeface="DM Sans"/>
                <a:ea typeface="DM Sans"/>
                <a:cs typeface="DM Sans"/>
                <a:sym typeface="DM Sans"/>
              </a:rPr>
              <a:t>mvillagomez</a:t>
            </a:r>
            <a:r>
              <a:rPr lang="en-US" sz="2150" i="1" u="sng" dirty="0">
                <a:solidFill>
                  <a:srgbClr val="444B54"/>
                </a:solidFill>
                <a:latin typeface="DM Sans"/>
                <a:ea typeface="DM Sans"/>
                <a:cs typeface="DM Sans"/>
                <a:sym typeface="DM San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northshore.org</a:t>
            </a:r>
            <a:endParaRPr lang="en-US" sz="2150" u="sng" dirty="0">
              <a:latin typeface="DM Sans"/>
              <a:ea typeface="DM Sans"/>
              <a:cs typeface="DM Sans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UW Health Theme">
  <a:themeElements>
    <a:clrScheme name="UW Health 1">
      <a:dk1>
        <a:srgbClr val="191919"/>
      </a:dk1>
      <a:lt1>
        <a:srgbClr val="FFFFFF"/>
      </a:lt1>
      <a:dk2>
        <a:srgbClr val="495965"/>
      </a:dk2>
      <a:lt2>
        <a:srgbClr val="EDF5F7"/>
      </a:lt2>
      <a:accent1>
        <a:srgbClr val="055EBA"/>
      </a:accent1>
      <a:accent2>
        <a:srgbClr val="31C4F0"/>
      </a:accent2>
      <a:accent3>
        <a:srgbClr val="22C4BF"/>
      </a:accent3>
      <a:accent4>
        <a:srgbClr val="EF2842"/>
      </a:accent4>
      <a:accent5>
        <a:srgbClr val="C5050C"/>
      </a:accent5>
      <a:accent6>
        <a:srgbClr val="A6AFB2"/>
      </a:accent6>
      <a:hlink>
        <a:srgbClr val="001964"/>
      </a:hlink>
      <a:folHlink>
        <a:srgbClr val="001964"/>
      </a:folHlink>
    </a:clrScheme>
    <a:fontScheme name="UW Health">
      <a:majorFont>
        <a:latin typeface="Spectral ExtraBold"/>
        <a:ea typeface=""/>
        <a:cs typeface=""/>
      </a:majorFont>
      <a:minorFont>
        <a:latin typeface="Metropoli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normAutofit/>
      </a:bodyPr>
      <a:lstStyle>
        <a:defPPr marL="571500" marR="0" indent="-571500" algn="l" defTabSz="914400" rtl="0" eaLnBrk="1" fontAlgn="ctr" latinLnBrk="0" hangingPunct="1">
          <a:lnSpc>
            <a:spcPct val="112000"/>
          </a:lnSpc>
          <a:spcBef>
            <a:spcPts val="0"/>
          </a:spcBef>
          <a:spcAft>
            <a:spcPts val="600"/>
          </a:spcAft>
          <a:buClr>
            <a:srgbClr val="055EBA"/>
          </a:buClr>
          <a:buSzPct val="120000"/>
          <a:buFont typeface="System Font Regular"/>
          <a:buChar char="○"/>
          <a:tabLst/>
          <a:defRPr kumimoji="0" sz="3600" b="1" i="0" u="none" strike="noStrike" kern="1200" cap="none" spc="0" normalizeH="0" baseline="0" noProof="0" dirty="0" smtClean="0">
            <a:ln>
              <a:noFill/>
            </a:ln>
            <a:solidFill>
              <a:srgbClr val="191919">
                <a:lumMod val="90000"/>
                <a:lumOff val="10000"/>
              </a:srgbClr>
            </a:solidFill>
            <a:effectLst/>
            <a:uLnTx/>
            <a:uFillTx/>
            <a:latin typeface="Metropolis Light" pitchFamily="2" charset="77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A-458768-20 uwhealth.potx" id="{85534CA5-12C9-40B3-B488-B70B3BC8B9BB}" vid="{FDA7F7C9-121D-430D-A8BE-AF49E8ABE5C8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88</TotalTime>
  <Words>2142</Words>
  <Application>Microsoft Office PowerPoint</Application>
  <PresentationFormat>Widescreen</PresentationFormat>
  <Paragraphs>330</Paragraphs>
  <Slides>45</Slides>
  <Notes>34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45</vt:i4>
      </vt:variant>
    </vt:vector>
  </HeadingPairs>
  <TitlesOfParts>
    <vt:vector size="49" baseType="lpstr">
      <vt:lpstr>office theme</vt:lpstr>
      <vt:lpstr>1_Office Theme</vt:lpstr>
      <vt:lpstr>2_Office Theme</vt:lpstr>
      <vt:lpstr>UW Health Theme</vt:lpstr>
      <vt:lpstr>PowerPoint Presentation</vt:lpstr>
      <vt:lpstr>Upcoming ILPQC 13th Annual Conference</vt:lpstr>
      <vt:lpstr>Registration  Now Open</vt:lpstr>
      <vt:lpstr>PowerPoint Presentation</vt:lpstr>
      <vt:lpstr>PowerPoint Presentation</vt:lpstr>
      <vt:lpstr>Upcoming Annual Conference Prep</vt:lpstr>
      <vt:lpstr>13th Annual Conference  Event Committee Volunteers </vt:lpstr>
      <vt:lpstr>PowerPoint Presentation</vt:lpstr>
      <vt:lpstr>Attendance Po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2025 ILPQC Birth Quality Designation Application 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eam Talk</vt:lpstr>
      <vt:lpstr>UW Health SwedishAmerican Hospital Rockford, IL Using Mini-Grant Funds and Pathway towards Designation</vt:lpstr>
      <vt:lpstr>HOSPITAL DEMOGRAPHICS</vt:lpstr>
      <vt:lpstr>QI TEAM MEMBERS</vt:lpstr>
      <vt:lpstr>ILPQC Resource Binder</vt:lpstr>
      <vt:lpstr>Respectful Care Breakfast April 1, 2025</vt:lpstr>
      <vt:lpstr>Respectful Care Coffee Hour August 19, 2025</vt:lpstr>
      <vt:lpstr>ILPQC Birth Quality Designation</vt:lpstr>
      <vt:lpstr>ILPQC Birth Quality Excellence Designation:  Engaging Patient and Community Partners</vt:lpstr>
      <vt:lpstr>Thank you!</vt:lpstr>
      <vt:lpstr>PowerPoint Presentation</vt:lpstr>
      <vt:lpstr>PowerPoint Presentation</vt:lpstr>
      <vt:lpstr>Registration  Now Op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illagomez, Maria</dc:creator>
  <cp:lastModifiedBy>Villagomez, Maria</cp:lastModifiedBy>
  <cp:revision>1755</cp:revision>
  <dcterms:created xsi:type="dcterms:W3CDTF">2013-07-15T20:26:40Z</dcterms:created>
  <dcterms:modified xsi:type="dcterms:W3CDTF">2025-09-11T16:42:40Z</dcterms:modified>
</cp:coreProperties>
</file>